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8.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9.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0.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2.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4.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5.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6.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7.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8.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20.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1.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22.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2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24.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25.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2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27.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28.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29.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30.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31.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32.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33.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34.xml" ContentType="application/vnd.openxmlformats-officedocument.presentationml.notesSlid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35.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notesSlides/notesSlide36.xml" ContentType="application/vnd.openxmlformats-officedocument.presentationml.notesSlide+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37.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38.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39.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40.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notesSlides/notesSlide41.xml" ContentType="application/vnd.openxmlformats-officedocument.presentationml.notesSlide+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42.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43.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notesSlides/notesSlide44.xml" ContentType="application/vnd.openxmlformats-officedocument.presentationml.notesSlide+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45.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46.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47.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notesSlides/notesSlide48.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notesSlides/notesSlide4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720" r:id="rId5"/>
  </p:sldMasterIdLst>
  <p:notesMasterIdLst>
    <p:notesMasterId r:id="rId63"/>
  </p:notesMasterIdLst>
  <p:handoutMasterIdLst>
    <p:handoutMasterId r:id="rId64"/>
  </p:handoutMasterIdLst>
  <p:sldIdLst>
    <p:sldId id="256" r:id="rId6"/>
    <p:sldId id="8550" r:id="rId7"/>
    <p:sldId id="8503" r:id="rId8"/>
    <p:sldId id="257" r:id="rId9"/>
    <p:sldId id="258" r:id="rId10"/>
    <p:sldId id="264" r:id="rId11"/>
    <p:sldId id="8500" r:id="rId12"/>
    <p:sldId id="265" r:id="rId13"/>
    <p:sldId id="8505" r:id="rId14"/>
    <p:sldId id="282" r:id="rId15"/>
    <p:sldId id="288" r:id="rId16"/>
    <p:sldId id="8501" r:id="rId17"/>
    <p:sldId id="8527" r:id="rId18"/>
    <p:sldId id="8506" r:id="rId19"/>
    <p:sldId id="8540" r:id="rId20"/>
    <p:sldId id="8544" r:id="rId21"/>
    <p:sldId id="8545" r:id="rId22"/>
    <p:sldId id="8508" r:id="rId23"/>
    <p:sldId id="8502" r:id="rId24"/>
    <p:sldId id="8542" r:id="rId25"/>
    <p:sldId id="8548" r:id="rId26"/>
    <p:sldId id="8509" r:id="rId27"/>
    <p:sldId id="8530" r:id="rId28"/>
    <p:sldId id="8531" r:id="rId29"/>
    <p:sldId id="8532" r:id="rId30"/>
    <p:sldId id="8510" r:id="rId31"/>
    <p:sldId id="8516" r:id="rId32"/>
    <p:sldId id="8518" r:id="rId33"/>
    <p:sldId id="8514" r:id="rId34"/>
    <p:sldId id="8520" r:id="rId35"/>
    <p:sldId id="8519" r:id="rId36"/>
    <p:sldId id="8517" r:id="rId37"/>
    <p:sldId id="8522" r:id="rId38"/>
    <p:sldId id="8515" r:id="rId39"/>
    <p:sldId id="8521" r:id="rId40"/>
    <p:sldId id="8511" r:id="rId41"/>
    <p:sldId id="8524" r:id="rId42"/>
    <p:sldId id="8525" r:id="rId43"/>
    <p:sldId id="8513" r:id="rId44"/>
    <p:sldId id="8534" r:id="rId45"/>
    <p:sldId id="8535" r:id="rId46"/>
    <p:sldId id="8536" r:id="rId47"/>
    <p:sldId id="8537" r:id="rId48"/>
    <p:sldId id="8538" r:id="rId49"/>
    <p:sldId id="351" r:id="rId50"/>
    <p:sldId id="352" r:id="rId51"/>
    <p:sldId id="8551" r:id="rId52"/>
    <p:sldId id="8533" r:id="rId53"/>
    <p:sldId id="8523" r:id="rId54"/>
    <p:sldId id="8526" r:id="rId55"/>
    <p:sldId id="8539" r:id="rId56"/>
    <p:sldId id="8493" r:id="rId57"/>
    <p:sldId id="8528" r:id="rId58"/>
    <p:sldId id="8496" r:id="rId59"/>
    <p:sldId id="8547" r:id="rId60"/>
    <p:sldId id="8549" r:id="rId61"/>
    <p:sldId id="350" r:id="rId62"/>
  </p:sldIdLst>
  <p:sldSz cx="12192000" cy="6858000"/>
  <p:notesSz cx="12192000" cy="6858000"/>
  <p:defaultTextStyle>
    <a:defPPr>
      <a:defRPr kern="0"/>
    </a:defPPr>
  </p:defaultTextStyle>
  <p:extLst>
    <p:ext uri="{521415D9-36F7-43E2-AB2F-B90AF26B5E84}">
      <p14:sectionLst xmlns:p14="http://schemas.microsoft.com/office/powerpoint/2010/main">
        <p14:section name="Contenu" id="{C4489118-221D-F145-A656-070172F33B3B}">
          <p14:sldIdLst>
            <p14:sldId id="256"/>
            <p14:sldId id="8550"/>
            <p14:sldId id="8503"/>
            <p14:sldId id="257"/>
            <p14:sldId id="258"/>
            <p14:sldId id="264"/>
            <p14:sldId id="8500"/>
            <p14:sldId id="265"/>
            <p14:sldId id="8505"/>
            <p14:sldId id="282"/>
            <p14:sldId id="288"/>
            <p14:sldId id="8501"/>
            <p14:sldId id="8527"/>
            <p14:sldId id="8506"/>
            <p14:sldId id="8540"/>
            <p14:sldId id="8544"/>
            <p14:sldId id="8545"/>
            <p14:sldId id="8508"/>
            <p14:sldId id="8502"/>
            <p14:sldId id="8542"/>
            <p14:sldId id="8548"/>
            <p14:sldId id="8509"/>
            <p14:sldId id="8530"/>
            <p14:sldId id="8531"/>
            <p14:sldId id="8532"/>
            <p14:sldId id="8510"/>
            <p14:sldId id="8516"/>
            <p14:sldId id="8518"/>
            <p14:sldId id="8514"/>
            <p14:sldId id="8520"/>
            <p14:sldId id="8519"/>
            <p14:sldId id="8517"/>
            <p14:sldId id="8522"/>
            <p14:sldId id="8515"/>
            <p14:sldId id="8521"/>
            <p14:sldId id="8511"/>
            <p14:sldId id="8524"/>
            <p14:sldId id="8525"/>
            <p14:sldId id="8513"/>
            <p14:sldId id="8534"/>
            <p14:sldId id="8535"/>
            <p14:sldId id="8536"/>
            <p14:sldId id="8537"/>
            <p14:sldId id="8538"/>
            <p14:sldId id="351"/>
            <p14:sldId id="352"/>
            <p14:sldId id="8551"/>
            <p14:sldId id="8533"/>
            <p14:sldId id="8523"/>
            <p14:sldId id="8526"/>
            <p14:sldId id="8539"/>
            <p14:sldId id="8493"/>
            <p14:sldId id="8528"/>
            <p14:sldId id="8496"/>
            <p14:sldId id="8547"/>
            <p14:sldId id="8549"/>
            <p14:sldId id="350"/>
          </p14:sldIdLst>
        </p14:section>
        <p14:section name="Designs / Exemples / Inspiration" id="{604027B5-C658-4047-992E-A22212563DC1}">
          <p14:sldIdLst/>
        </p14:section>
      </p14:sectionLst>
    </p:ex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118B44B-3482-B5ED-39B0-1102E7E43F3E}" name="Ariane Larochelle" initials="AL" userId="S::alarochelle@aqpp.qc.ca::be1f1a4b-15ef-4c12-91f3-4eb144cfc071" providerId="AD"/>
  <p188:author id="{2A22727D-7F37-3F2E-A2B9-8CAF0AB5BF1B}" name="Diane De Bonville" initials="DD" userId="S::ddebonville@aqpp.qc.ca::47d5a1d5-a64f-4762-bcf2-abd8c086cd8d" providerId="AD"/>
  <p188:author id="{96C1308B-B478-6B76-87DB-659FD72038F0}" name="Marie-Pascale Beaulieu" initials="MB" userId="S::mpbeaulieu@aqpp.qc.ca::7bd54d51-9d04-4e25-a25f-c305ead0d20e" providerId="AD"/>
  <p188:author id="{1F95718D-8354-7F50-0D6F-D4CC25D024A2}" name="Sarah Bergeron" initials="SB" userId="S::sbergeron@aqpp.qc.ca::7bff30ca-245d-4020-be37-df3d93aef93a" providerId="AD"/>
  <p188:author id="{FF4108DF-D3DB-8D2D-AE96-9A5A00B0A85C}" name="Françoise Courchesne" initials="FC" userId="S::fcourchesne@aqpp.qc.ca::8ccb5600-aa06-450d-9ea7-e8bb942a0810" providerId="AD"/>
  <p188:author id="{02975CFD-A9AD-68F3-70F6-60E5DAB38974}" name="Geneviève Virgili" initials="GV" userId="S::gvirgili@aqpp.qc.ca::3c2b64d6-28ab-4553-9da9-df25ca7ef78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3BBB"/>
    <a:srgbClr val="A267CF"/>
    <a:srgbClr val="BF96DE"/>
    <a:srgbClr val="DCC5ED"/>
    <a:srgbClr val="FFC000"/>
    <a:srgbClr val="F4AAB5"/>
    <a:srgbClr val="FFF2CC"/>
    <a:srgbClr val="FFCCCC"/>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Style foncé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2881" autoAdjust="0"/>
  </p:normalViewPr>
  <p:slideViewPr>
    <p:cSldViewPr snapToGrid="0">
      <p:cViewPr varScale="1">
        <p:scale>
          <a:sx n="60" d="100"/>
          <a:sy n="60" d="100"/>
        </p:scale>
        <p:origin x="1522" y="38"/>
      </p:cViewPr>
      <p:guideLst>
        <p:guide orient="horz" pos="2880"/>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handoutMaster" Target="handoutMasters/handoutMaster1.xml"/><Relationship Id="rId69"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diagrams/_rels/data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4" Type="http://schemas.openxmlformats.org/officeDocument/2006/relationships/image" Target="../media/image16.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4" Type="http://schemas.openxmlformats.org/officeDocument/2006/relationships/image" Target="../media/image16.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7FDEB3-F2E7-4AE5-8A5F-3774CFE10162}"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F58F508D-DC6E-4C24-ADDE-D6143820E5DF}">
      <dgm:prSet/>
      <dgm:spPr/>
      <dgm:t>
        <a:bodyPr/>
        <a:lstStyle/>
        <a:p>
          <a:pPr>
            <a:lnSpc>
              <a:spcPct val="100000"/>
            </a:lnSpc>
          </a:pPr>
          <a:r>
            <a:rPr lang="en-US" err="1"/>
            <a:t>Permettre</a:t>
          </a:r>
          <a:r>
            <a:rPr lang="en-US"/>
            <a:t> aux participants de </a:t>
          </a:r>
          <a:r>
            <a:rPr lang="en-US" err="1"/>
            <a:t>mieux</a:t>
          </a:r>
          <a:r>
            <a:rPr lang="en-US"/>
            <a:t> </a:t>
          </a:r>
          <a:r>
            <a:rPr lang="en-US" err="1"/>
            <a:t>comprendre</a:t>
          </a:r>
          <a:r>
            <a:rPr lang="en-US"/>
            <a:t> la </a:t>
          </a:r>
          <a:r>
            <a:rPr lang="en-US" err="1"/>
            <a:t>facturation</a:t>
          </a:r>
          <a:r>
            <a:rPr lang="en-US"/>
            <a:t> des services </a:t>
          </a:r>
          <a:r>
            <a:rPr lang="en-US" err="1"/>
            <a:t>professionnels</a:t>
          </a:r>
          <a:r>
            <a:rPr lang="en-US"/>
            <a:t> </a:t>
          </a:r>
          <a:r>
            <a:rPr lang="en-US" err="1"/>
            <a:t>en</a:t>
          </a:r>
          <a:r>
            <a:rPr lang="en-US"/>
            <a:t> </a:t>
          </a:r>
          <a:r>
            <a:rPr lang="en-US" err="1"/>
            <a:t>pharmacie</a:t>
          </a:r>
          <a:r>
            <a:rPr lang="en-US"/>
            <a:t>.</a:t>
          </a:r>
        </a:p>
      </dgm:t>
    </dgm:pt>
    <dgm:pt modelId="{9B2435D0-4D63-409F-B052-1C5CA08DCD39}" type="parTrans" cxnId="{2126A88C-CEB2-463B-A253-4C1783BD0234}">
      <dgm:prSet/>
      <dgm:spPr/>
      <dgm:t>
        <a:bodyPr/>
        <a:lstStyle/>
        <a:p>
          <a:endParaRPr lang="en-US"/>
        </a:p>
      </dgm:t>
    </dgm:pt>
    <dgm:pt modelId="{8911648F-BBEA-46F1-9170-B4B086B2BD51}" type="sibTrans" cxnId="{2126A88C-CEB2-463B-A253-4C1783BD0234}">
      <dgm:prSet/>
      <dgm:spPr/>
      <dgm:t>
        <a:bodyPr/>
        <a:lstStyle/>
        <a:p>
          <a:endParaRPr lang="en-US"/>
        </a:p>
      </dgm:t>
    </dgm:pt>
    <dgm:pt modelId="{921F3DAD-C5F2-4FAC-8C82-DB696453A2FA}">
      <dgm:prSet/>
      <dgm:spPr/>
      <dgm:t>
        <a:bodyPr/>
        <a:lstStyle/>
        <a:p>
          <a:pPr>
            <a:lnSpc>
              <a:spcPct val="100000"/>
            </a:lnSpc>
          </a:pPr>
          <a:r>
            <a:rPr lang="fr-CA"/>
            <a:t>Identifier les situations pouvant mener à une facturation à partir du besoin du patient.</a:t>
          </a:r>
          <a:endParaRPr lang="en-US"/>
        </a:p>
      </dgm:t>
    </dgm:pt>
    <dgm:pt modelId="{FB633F06-E0DF-40BA-A61B-0095A6C5889A}" type="parTrans" cxnId="{FF9CB51F-EBD2-4806-8B4C-67E5D4561D98}">
      <dgm:prSet/>
      <dgm:spPr/>
      <dgm:t>
        <a:bodyPr/>
        <a:lstStyle/>
        <a:p>
          <a:endParaRPr lang="en-US"/>
        </a:p>
      </dgm:t>
    </dgm:pt>
    <dgm:pt modelId="{73F707E9-B146-45DB-8E5F-8F72E53AA564}" type="sibTrans" cxnId="{FF9CB51F-EBD2-4806-8B4C-67E5D4561D98}">
      <dgm:prSet/>
      <dgm:spPr/>
      <dgm:t>
        <a:bodyPr/>
        <a:lstStyle/>
        <a:p>
          <a:endParaRPr lang="en-US"/>
        </a:p>
      </dgm:t>
    </dgm:pt>
    <dgm:pt modelId="{5DEDE9DB-26BD-4A6E-8739-2C99A0B0106F}" type="pres">
      <dgm:prSet presAssocID="{827FDEB3-F2E7-4AE5-8A5F-3774CFE10162}" presName="root" presStyleCnt="0">
        <dgm:presLayoutVars>
          <dgm:dir/>
          <dgm:resizeHandles val="exact"/>
        </dgm:presLayoutVars>
      </dgm:prSet>
      <dgm:spPr/>
    </dgm:pt>
    <dgm:pt modelId="{59D330C9-CDC1-455E-9D76-EBD6C8F7C984}" type="pres">
      <dgm:prSet presAssocID="{F58F508D-DC6E-4C24-ADDE-D6143820E5DF}" presName="compNode" presStyleCnt="0"/>
      <dgm:spPr/>
    </dgm:pt>
    <dgm:pt modelId="{122EE659-DE73-4444-B38A-C4385DC5CC97}" type="pres">
      <dgm:prSet presAssocID="{F58F508D-DC6E-4C24-ADDE-D6143820E5DF}" presName="bgRect" presStyleLbl="bgShp" presStyleIdx="0" presStyleCnt="2"/>
      <dgm:spPr/>
    </dgm:pt>
    <dgm:pt modelId="{19CEC7DA-3A68-4FF3-8ED8-4F5FF7EF713A}" type="pres">
      <dgm:prSet presAssocID="{F58F508D-DC6E-4C24-ADDE-D6143820E5DF}"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édecine"/>
        </a:ext>
      </dgm:extLst>
    </dgm:pt>
    <dgm:pt modelId="{E9421580-E0B4-4EBB-B695-08145D471301}" type="pres">
      <dgm:prSet presAssocID="{F58F508D-DC6E-4C24-ADDE-D6143820E5DF}" presName="spaceRect" presStyleCnt="0"/>
      <dgm:spPr/>
    </dgm:pt>
    <dgm:pt modelId="{E604455D-A819-4228-897F-A39D7FB4ACD1}" type="pres">
      <dgm:prSet presAssocID="{F58F508D-DC6E-4C24-ADDE-D6143820E5DF}" presName="parTx" presStyleLbl="revTx" presStyleIdx="0" presStyleCnt="2">
        <dgm:presLayoutVars>
          <dgm:chMax val="0"/>
          <dgm:chPref val="0"/>
        </dgm:presLayoutVars>
      </dgm:prSet>
      <dgm:spPr/>
    </dgm:pt>
    <dgm:pt modelId="{60EB9EB0-AEC6-42E7-B143-51956FFC2569}" type="pres">
      <dgm:prSet presAssocID="{8911648F-BBEA-46F1-9170-B4B086B2BD51}" presName="sibTrans" presStyleCnt="0"/>
      <dgm:spPr/>
    </dgm:pt>
    <dgm:pt modelId="{4C365093-186F-4B64-A5E0-11AB74E3FF73}" type="pres">
      <dgm:prSet presAssocID="{921F3DAD-C5F2-4FAC-8C82-DB696453A2FA}" presName="compNode" presStyleCnt="0"/>
      <dgm:spPr/>
    </dgm:pt>
    <dgm:pt modelId="{40295A74-EBD9-4FEB-9EC1-EDD58AFF4A5D}" type="pres">
      <dgm:prSet presAssocID="{921F3DAD-C5F2-4FAC-8C82-DB696453A2FA}" presName="bgRect" presStyleLbl="bgShp" presStyleIdx="1" presStyleCnt="2"/>
      <dgm:spPr/>
    </dgm:pt>
    <dgm:pt modelId="{B023CD38-9377-4CA0-BB57-E34728DA8874}" type="pres">
      <dgm:prSet presAssocID="{921F3DAD-C5F2-4FAC-8C82-DB696453A2FA}"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oche"/>
        </a:ext>
      </dgm:extLst>
    </dgm:pt>
    <dgm:pt modelId="{72F0CA26-E39D-41EB-9D1D-1BE28BA96681}" type="pres">
      <dgm:prSet presAssocID="{921F3DAD-C5F2-4FAC-8C82-DB696453A2FA}" presName="spaceRect" presStyleCnt="0"/>
      <dgm:spPr/>
    </dgm:pt>
    <dgm:pt modelId="{65BB46C6-791C-48C9-B940-A65C1AB25F48}" type="pres">
      <dgm:prSet presAssocID="{921F3DAD-C5F2-4FAC-8C82-DB696453A2FA}" presName="parTx" presStyleLbl="revTx" presStyleIdx="1" presStyleCnt="2">
        <dgm:presLayoutVars>
          <dgm:chMax val="0"/>
          <dgm:chPref val="0"/>
        </dgm:presLayoutVars>
      </dgm:prSet>
      <dgm:spPr/>
    </dgm:pt>
  </dgm:ptLst>
  <dgm:cxnLst>
    <dgm:cxn modelId="{1FD1F701-64D9-4C40-A4F8-BE8DD9851F62}" type="presOf" srcId="{F58F508D-DC6E-4C24-ADDE-D6143820E5DF}" destId="{E604455D-A819-4228-897F-A39D7FB4ACD1}" srcOrd="0" destOrd="0" presId="urn:microsoft.com/office/officeart/2018/2/layout/IconVerticalSolidList"/>
    <dgm:cxn modelId="{FF9CB51F-EBD2-4806-8B4C-67E5D4561D98}" srcId="{827FDEB3-F2E7-4AE5-8A5F-3774CFE10162}" destId="{921F3DAD-C5F2-4FAC-8C82-DB696453A2FA}" srcOrd="1" destOrd="0" parTransId="{FB633F06-E0DF-40BA-A61B-0095A6C5889A}" sibTransId="{73F707E9-B146-45DB-8E5F-8F72E53AA564}"/>
    <dgm:cxn modelId="{0A8A9B59-F94F-48FD-A6C9-3EAEAB006A87}" type="presOf" srcId="{921F3DAD-C5F2-4FAC-8C82-DB696453A2FA}" destId="{65BB46C6-791C-48C9-B940-A65C1AB25F48}" srcOrd="0" destOrd="0" presId="urn:microsoft.com/office/officeart/2018/2/layout/IconVerticalSolidList"/>
    <dgm:cxn modelId="{2126A88C-CEB2-463B-A253-4C1783BD0234}" srcId="{827FDEB3-F2E7-4AE5-8A5F-3774CFE10162}" destId="{F58F508D-DC6E-4C24-ADDE-D6143820E5DF}" srcOrd="0" destOrd="0" parTransId="{9B2435D0-4D63-409F-B052-1C5CA08DCD39}" sibTransId="{8911648F-BBEA-46F1-9170-B4B086B2BD51}"/>
    <dgm:cxn modelId="{150CA2AF-8635-4757-A0E5-6E0839DFF1AF}" type="presOf" srcId="{827FDEB3-F2E7-4AE5-8A5F-3774CFE10162}" destId="{5DEDE9DB-26BD-4A6E-8739-2C99A0B0106F}" srcOrd="0" destOrd="0" presId="urn:microsoft.com/office/officeart/2018/2/layout/IconVerticalSolidList"/>
    <dgm:cxn modelId="{C7512459-C4FD-45AE-89CE-4C377A58DF29}" type="presParOf" srcId="{5DEDE9DB-26BD-4A6E-8739-2C99A0B0106F}" destId="{59D330C9-CDC1-455E-9D76-EBD6C8F7C984}" srcOrd="0" destOrd="0" presId="urn:microsoft.com/office/officeart/2018/2/layout/IconVerticalSolidList"/>
    <dgm:cxn modelId="{868830BF-07A4-4E7A-9962-00CCD6663B0D}" type="presParOf" srcId="{59D330C9-CDC1-455E-9D76-EBD6C8F7C984}" destId="{122EE659-DE73-4444-B38A-C4385DC5CC97}" srcOrd="0" destOrd="0" presId="urn:microsoft.com/office/officeart/2018/2/layout/IconVerticalSolidList"/>
    <dgm:cxn modelId="{F0AF4294-26DA-4DE0-909D-ED7CFFAB9473}" type="presParOf" srcId="{59D330C9-CDC1-455E-9D76-EBD6C8F7C984}" destId="{19CEC7DA-3A68-4FF3-8ED8-4F5FF7EF713A}" srcOrd="1" destOrd="0" presId="urn:microsoft.com/office/officeart/2018/2/layout/IconVerticalSolidList"/>
    <dgm:cxn modelId="{9217AC8D-EAA5-43D3-A415-CE75632C8F92}" type="presParOf" srcId="{59D330C9-CDC1-455E-9D76-EBD6C8F7C984}" destId="{E9421580-E0B4-4EBB-B695-08145D471301}" srcOrd="2" destOrd="0" presId="urn:microsoft.com/office/officeart/2018/2/layout/IconVerticalSolidList"/>
    <dgm:cxn modelId="{C630ABC5-539C-471F-82C7-5E99B3752FA1}" type="presParOf" srcId="{59D330C9-CDC1-455E-9D76-EBD6C8F7C984}" destId="{E604455D-A819-4228-897F-A39D7FB4ACD1}" srcOrd="3" destOrd="0" presId="urn:microsoft.com/office/officeart/2018/2/layout/IconVerticalSolidList"/>
    <dgm:cxn modelId="{1424763B-3BB8-43A8-9A2B-39C019F86569}" type="presParOf" srcId="{5DEDE9DB-26BD-4A6E-8739-2C99A0B0106F}" destId="{60EB9EB0-AEC6-42E7-B143-51956FFC2569}" srcOrd="1" destOrd="0" presId="urn:microsoft.com/office/officeart/2018/2/layout/IconVerticalSolidList"/>
    <dgm:cxn modelId="{EB560DC7-88E4-40BC-A005-0746AAC6EA4B}" type="presParOf" srcId="{5DEDE9DB-26BD-4A6E-8739-2C99A0B0106F}" destId="{4C365093-186F-4B64-A5E0-11AB74E3FF73}" srcOrd="2" destOrd="0" presId="urn:microsoft.com/office/officeart/2018/2/layout/IconVerticalSolidList"/>
    <dgm:cxn modelId="{343C6614-0296-4442-B34C-852B9927E3C4}" type="presParOf" srcId="{4C365093-186F-4B64-A5E0-11AB74E3FF73}" destId="{40295A74-EBD9-4FEB-9EC1-EDD58AFF4A5D}" srcOrd="0" destOrd="0" presId="urn:microsoft.com/office/officeart/2018/2/layout/IconVerticalSolidList"/>
    <dgm:cxn modelId="{81525376-A380-4140-8016-05363A94CC2E}" type="presParOf" srcId="{4C365093-186F-4B64-A5E0-11AB74E3FF73}" destId="{B023CD38-9377-4CA0-BB57-E34728DA8874}" srcOrd="1" destOrd="0" presId="urn:microsoft.com/office/officeart/2018/2/layout/IconVerticalSolidList"/>
    <dgm:cxn modelId="{89D546A6-D135-4BC6-BB29-FF39A8D037F3}" type="presParOf" srcId="{4C365093-186F-4B64-A5E0-11AB74E3FF73}" destId="{72F0CA26-E39D-41EB-9D1D-1BE28BA96681}" srcOrd="2" destOrd="0" presId="urn:microsoft.com/office/officeart/2018/2/layout/IconVerticalSolidList"/>
    <dgm:cxn modelId="{501E32AD-455A-433D-9CA9-55EA98F9990F}" type="presParOf" srcId="{4C365093-186F-4B64-A5E0-11AB74E3FF73}" destId="{65BB46C6-791C-48C9-B940-A65C1AB25F48}" srcOrd="3" destOrd="0" presId="urn:microsoft.com/office/officeart/2018/2/layout/IconVerticalSoli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2DB1C28-1D3A-4EA1-9663-FD2652591CD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fr-CA"/>
        </a:p>
      </dgm:t>
    </dgm:pt>
    <dgm:pt modelId="{B3273796-3B56-4B6A-9D6B-EB4AC662625D}">
      <dgm:prSet phldrT="[Texte]" custT="1"/>
      <dgm:spPr>
        <a:solidFill>
          <a:schemeClr val="bg1"/>
        </a:solidFill>
        <a:ln>
          <a:solidFill>
            <a:schemeClr val="accent4"/>
          </a:solidFill>
        </a:ln>
      </dgm:spPr>
      <dgm:t>
        <a:bodyPr/>
        <a:lstStyle/>
        <a:p>
          <a:r>
            <a:rPr lang="fr-CA" sz="2000" b="1" u="none">
              <a:solidFill>
                <a:schemeClr val="accent4"/>
              </a:solidFill>
              <a:latin typeface="Arial"/>
              <a:cs typeface="Arial"/>
            </a:rPr>
            <a:t>Partenariat</a:t>
          </a:r>
          <a:r>
            <a:rPr lang="fr-CA" sz="1800" b="1" u="none">
              <a:solidFill>
                <a:schemeClr val="accent4"/>
              </a:solidFill>
              <a:latin typeface="Arial"/>
              <a:cs typeface="Arial"/>
            </a:rPr>
            <a:t> fédéral</a:t>
          </a:r>
        </a:p>
      </dgm:t>
    </dgm:pt>
    <dgm:pt modelId="{AFA0FE32-5B75-4298-B847-61A22A2E9B23}" type="parTrans" cxnId="{96762DA3-54FA-46EF-8DD2-D22B5451F43C}">
      <dgm:prSet/>
      <dgm:spPr/>
      <dgm:t>
        <a:bodyPr/>
        <a:lstStyle/>
        <a:p>
          <a:endParaRPr lang="fr-CA"/>
        </a:p>
      </dgm:t>
    </dgm:pt>
    <dgm:pt modelId="{4ECDF63A-8DC3-41B3-B2AB-59C11A6E78CF}" type="sibTrans" cxnId="{96762DA3-54FA-46EF-8DD2-D22B5451F43C}">
      <dgm:prSet/>
      <dgm:spPr/>
      <dgm:t>
        <a:bodyPr/>
        <a:lstStyle/>
        <a:p>
          <a:endParaRPr lang="fr-CA"/>
        </a:p>
      </dgm:t>
    </dgm:pt>
    <dgm:pt modelId="{93FF0E44-8EC9-4BF0-B0D2-D907FC073244}" type="asst">
      <dgm:prSet phldrT="[Texte]" custT="1"/>
      <dgm:spPr>
        <a:solidFill>
          <a:schemeClr val="bg1"/>
        </a:solidFill>
        <a:ln>
          <a:solidFill>
            <a:schemeClr val="accent4"/>
          </a:solidFill>
        </a:ln>
      </dgm:spPr>
      <dgm:t>
        <a:bodyPr/>
        <a:lstStyle/>
        <a:p>
          <a:r>
            <a:rPr lang="fr-CA" sz="2000">
              <a:solidFill>
                <a:schemeClr val="accent4"/>
              </a:solidFill>
              <a:latin typeface="Arial"/>
              <a:cs typeface="Arial"/>
            </a:rPr>
            <a:t>Anciens Combattants</a:t>
          </a:r>
        </a:p>
      </dgm:t>
    </dgm:pt>
    <dgm:pt modelId="{2E39DEFA-28B5-4210-B626-4CCEE82DEC9F}" type="parTrans" cxnId="{3C749041-CFA6-4D66-9BB9-068E911C223A}">
      <dgm:prSet/>
      <dgm:spPr>
        <a:ln>
          <a:solidFill>
            <a:schemeClr val="accent4"/>
          </a:solidFill>
        </a:ln>
      </dgm:spPr>
      <dgm:t>
        <a:bodyPr/>
        <a:lstStyle/>
        <a:p>
          <a:endParaRPr lang="fr-CA"/>
        </a:p>
      </dgm:t>
    </dgm:pt>
    <dgm:pt modelId="{B6289291-19AC-4044-9E03-F387D7635CAC}" type="sibTrans" cxnId="{3C749041-CFA6-4D66-9BB9-068E911C223A}">
      <dgm:prSet/>
      <dgm:spPr/>
      <dgm:t>
        <a:bodyPr/>
        <a:lstStyle/>
        <a:p>
          <a:endParaRPr lang="fr-CA"/>
        </a:p>
      </dgm:t>
    </dgm:pt>
    <dgm:pt modelId="{FC6E32A7-3D1E-4F63-9662-1E9338647DAF}" type="asst">
      <dgm:prSet phldrT="[Texte]" custT="1"/>
      <dgm:spPr>
        <a:solidFill>
          <a:schemeClr val="bg1"/>
        </a:solidFill>
        <a:ln>
          <a:solidFill>
            <a:schemeClr val="accent4"/>
          </a:solidFill>
        </a:ln>
      </dgm:spPr>
      <dgm:t>
        <a:bodyPr/>
        <a:lstStyle/>
        <a:p>
          <a:r>
            <a:rPr lang="fr-CA" sz="2000">
              <a:solidFill>
                <a:schemeClr val="accent4"/>
              </a:solidFill>
              <a:latin typeface="Arial"/>
              <a:cs typeface="Arial"/>
            </a:rPr>
            <a:t>Services aux Autochtones</a:t>
          </a:r>
          <a:endParaRPr lang="fr-CA" sz="4000">
            <a:solidFill>
              <a:schemeClr val="accent4"/>
            </a:solidFill>
            <a:latin typeface="Arial"/>
            <a:cs typeface="Arial"/>
          </a:endParaRPr>
        </a:p>
      </dgm:t>
    </dgm:pt>
    <dgm:pt modelId="{BF28B40C-DFB2-49B4-BD0D-545822E8FAAE}" type="parTrans" cxnId="{BD431ECA-1D8F-4149-89A4-A2B829A97321}">
      <dgm:prSet/>
      <dgm:spPr>
        <a:ln>
          <a:solidFill>
            <a:schemeClr val="accent4"/>
          </a:solidFill>
        </a:ln>
      </dgm:spPr>
      <dgm:t>
        <a:bodyPr/>
        <a:lstStyle/>
        <a:p>
          <a:endParaRPr lang="fr-CA"/>
        </a:p>
      </dgm:t>
    </dgm:pt>
    <dgm:pt modelId="{A5881811-FC84-4A8A-9F60-DA14D4C8E4F3}" type="sibTrans" cxnId="{BD431ECA-1D8F-4149-89A4-A2B829A97321}">
      <dgm:prSet/>
      <dgm:spPr/>
      <dgm:t>
        <a:bodyPr/>
        <a:lstStyle/>
        <a:p>
          <a:endParaRPr lang="fr-CA"/>
        </a:p>
      </dgm:t>
    </dgm:pt>
    <dgm:pt modelId="{ACBC14FD-6FF9-41F8-AC22-B39784D6874B}" type="asst">
      <dgm:prSet phldrT="[Texte]" custT="1"/>
      <dgm:spPr>
        <a:solidFill>
          <a:schemeClr val="bg1"/>
        </a:solidFill>
        <a:ln>
          <a:solidFill>
            <a:schemeClr val="accent4"/>
          </a:solidFill>
        </a:ln>
      </dgm:spPr>
      <dgm:t>
        <a:bodyPr/>
        <a:lstStyle/>
        <a:p>
          <a:r>
            <a:rPr lang="fr-CA" sz="2000">
              <a:solidFill>
                <a:schemeClr val="accent4"/>
              </a:solidFill>
              <a:latin typeface="Arial"/>
              <a:cs typeface="Arial"/>
            </a:rPr>
            <a:t>GRC</a:t>
          </a:r>
        </a:p>
      </dgm:t>
    </dgm:pt>
    <dgm:pt modelId="{A88F794E-A432-4A44-9C81-51F84FF2DA93}" type="parTrans" cxnId="{76685467-0D5F-4E1E-9E53-CA40F8956672}">
      <dgm:prSet/>
      <dgm:spPr>
        <a:ln>
          <a:solidFill>
            <a:schemeClr val="accent4"/>
          </a:solidFill>
        </a:ln>
      </dgm:spPr>
      <dgm:t>
        <a:bodyPr/>
        <a:lstStyle/>
        <a:p>
          <a:endParaRPr lang="fr-CA"/>
        </a:p>
      </dgm:t>
    </dgm:pt>
    <dgm:pt modelId="{D53A8067-ED3F-4D17-8D8B-4F3C650A54D0}" type="sibTrans" cxnId="{76685467-0D5F-4E1E-9E53-CA40F8956672}">
      <dgm:prSet/>
      <dgm:spPr/>
      <dgm:t>
        <a:bodyPr/>
        <a:lstStyle/>
        <a:p>
          <a:endParaRPr lang="fr-CA"/>
        </a:p>
      </dgm:t>
    </dgm:pt>
    <dgm:pt modelId="{98085A91-3B45-4294-B776-65801959FBED}" type="asst">
      <dgm:prSet phldrT="[Texte]" custT="1"/>
      <dgm:spPr>
        <a:solidFill>
          <a:schemeClr val="bg1"/>
        </a:solidFill>
        <a:ln>
          <a:solidFill>
            <a:schemeClr val="accent4"/>
          </a:solidFill>
        </a:ln>
      </dgm:spPr>
      <dgm:t>
        <a:bodyPr/>
        <a:lstStyle/>
        <a:p>
          <a:r>
            <a:rPr lang="fr-CA" sz="2000">
              <a:solidFill>
                <a:schemeClr val="accent4"/>
              </a:solidFill>
              <a:latin typeface="Arial" panose="020B0604020202020204" pitchFamily="34" charset="0"/>
              <a:cs typeface="Arial" panose="020B0604020202020204" pitchFamily="34" charset="0"/>
            </a:rPr>
            <a:t>Défense nationale</a:t>
          </a:r>
        </a:p>
      </dgm:t>
    </dgm:pt>
    <dgm:pt modelId="{F7F7FBA4-46E7-4F6B-A755-4FA6F7975A40}" type="parTrans" cxnId="{269E90A3-55D7-46A0-A4A1-64F3E6D5D495}">
      <dgm:prSet/>
      <dgm:spPr>
        <a:ln>
          <a:solidFill>
            <a:schemeClr val="accent4"/>
          </a:solidFill>
        </a:ln>
      </dgm:spPr>
      <dgm:t>
        <a:bodyPr/>
        <a:lstStyle/>
        <a:p>
          <a:endParaRPr lang="fr-CA"/>
        </a:p>
      </dgm:t>
    </dgm:pt>
    <dgm:pt modelId="{45AD0135-2A80-40F0-BA94-577967EF30F7}" type="sibTrans" cxnId="{269E90A3-55D7-46A0-A4A1-64F3E6D5D495}">
      <dgm:prSet/>
      <dgm:spPr/>
      <dgm:t>
        <a:bodyPr/>
        <a:lstStyle/>
        <a:p>
          <a:endParaRPr lang="fr-CA"/>
        </a:p>
      </dgm:t>
    </dgm:pt>
    <dgm:pt modelId="{8F31849B-6A7D-4F10-919E-871C855C7DA4}" type="asst">
      <dgm:prSet phldrT="[Texte]" custT="1"/>
      <dgm:spPr>
        <a:solidFill>
          <a:schemeClr val="bg1"/>
        </a:solidFill>
        <a:ln>
          <a:solidFill>
            <a:schemeClr val="accent4"/>
          </a:solidFill>
        </a:ln>
      </dgm:spPr>
      <dgm:t>
        <a:bodyPr/>
        <a:lstStyle/>
        <a:p>
          <a:r>
            <a:rPr lang="fr-CA" sz="2000">
              <a:solidFill>
                <a:schemeClr val="accent4"/>
              </a:solidFill>
              <a:latin typeface="Arial" panose="020B0604020202020204" pitchFamily="34" charset="0"/>
              <a:cs typeface="Arial" panose="020B0604020202020204" pitchFamily="34" charset="0"/>
            </a:rPr>
            <a:t>Refugiés</a:t>
          </a:r>
        </a:p>
      </dgm:t>
    </dgm:pt>
    <dgm:pt modelId="{05042F22-994F-46B0-B833-82B5EA8197C5}" type="parTrans" cxnId="{5706433C-4CAA-47B0-B8AE-457BA3D76A87}">
      <dgm:prSet/>
      <dgm:spPr>
        <a:solidFill>
          <a:schemeClr val="accent4"/>
        </a:solidFill>
        <a:ln>
          <a:solidFill>
            <a:schemeClr val="accent4"/>
          </a:solidFill>
        </a:ln>
      </dgm:spPr>
      <dgm:t>
        <a:bodyPr/>
        <a:lstStyle/>
        <a:p>
          <a:endParaRPr lang="fr-CA"/>
        </a:p>
      </dgm:t>
    </dgm:pt>
    <dgm:pt modelId="{CA1DEE35-0642-4AF9-9927-E4CF6C7B4E67}" type="sibTrans" cxnId="{5706433C-4CAA-47B0-B8AE-457BA3D76A87}">
      <dgm:prSet/>
      <dgm:spPr/>
      <dgm:t>
        <a:bodyPr/>
        <a:lstStyle/>
        <a:p>
          <a:endParaRPr lang="fr-CA"/>
        </a:p>
      </dgm:t>
    </dgm:pt>
    <dgm:pt modelId="{90255B59-C54B-479E-8AC3-CB0DF951AB74}" type="pres">
      <dgm:prSet presAssocID="{32DB1C28-1D3A-4EA1-9663-FD2652591CDD}" presName="hierChild1" presStyleCnt="0">
        <dgm:presLayoutVars>
          <dgm:orgChart val="1"/>
          <dgm:chPref val="1"/>
          <dgm:dir/>
          <dgm:animOne val="branch"/>
          <dgm:animLvl val="lvl"/>
          <dgm:resizeHandles/>
        </dgm:presLayoutVars>
      </dgm:prSet>
      <dgm:spPr/>
    </dgm:pt>
    <dgm:pt modelId="{CCC7F1AE-7572-4606-A4D7-FDE3EA91DE7F}" type="pres">
      <dgm:prSet presAssocID="{B3273796-3B56-4B6A-9D6B-EB4AC662625D}" presName="hierRoot1" presStyleCnt="0">
        <dgm:presLayoutVars>
          <dgm:hierBranch val="init"/>
        </dgm:presLayoutVars>
      </dgm:prSet>
      <dgm:spPr/>
    </dgm:pt>
    <dgm:pt modelId="{96D8C02A-8BA7-449E-BCE6-AE43CB942EF0}" type="pres">
      <dgm:prSet presAssocID="{B3273796-3B56-4B6A-9D6B-EB4AC662625D}" presName="rootComposite1" presStyleCnt="0"/>
      <dgm:spPr/>
    </dgm:pt>
    <dgm:pt modelId="{3D462A01-3060-4E28-8B49-B07ADD68D5CB}" type="pres">
      <dgm:prSet presAssocID="{B3273796-3B56-4B6A-9D6B-EB4AC662625D}" presName="rootText1" presStyleLbl="node0" presStyleIdx="0" presStyleCnt="1" custScaleX="135028">
        <dgm:presLayoutVars>
          <dgm:chPref val="3"/>
        </dgm:presLayoutVars>
      </dgm:prSet>
      <dgm:spPr/>
    </dgm:pt>
    <dgm:pt modelId="{4D1AD3C8-8301-4EC3-9900-7CB629EBB95B}" type="pres">
      <dgm:prSet presAssocID="{B3273796-3B56-4B6A-9D6B-EB4AC662625D}" presName="rootConnector1" presStyleLbl="node1" presStyleIdx="0" presStyleCnt="0"/>
      <dgm:spPr/>
    </dgm:pt>
    <dgm:pt modelId="{6BF49282-0799-4D37-8DAF-51063F677F5C}" type="pres">
      <dgm:prSet presAssocID="{B3273796-3B56-4B6A-9D6B-EB4AC662625D}" presName="hierChild2" presStyleCnt="0"/>
      <dgm:spPr/>
    </dgm:pt>
    <dgm:pt modelId="{C958FF6A-CE53-4F13-83DF-B032864771CE}" type="pres">
      <dgm:prSet presAssocID="{B3273796-3B56-4B6A-9D6B-EB4AC662625D}" presName="hierChild3" presStyleCnt="0"/>
      <dgm:spPr/>
    </dgm:pt>
    <dgm:pt modelId="{8464D183-00BE-471E-A654-94AA8D3EB119}" type="pres">
      <dgm:prSet presAssocID="{2E39DEFA-28B5-4210-B626-4CCEE82DEC9F}" presName="Name111" presStyleLbl="parChTrans1D2" presStyleIdx="0" presStyleCnt="5"/>
      <dgm:spPr/>
    </dgm:pt>
    <dgm:pt modelId="{68624233-936E-4147-8A2C-B48F950C1DAE}" type="pres">
      <dgm:prSet presAssocID="{93FF0E44-8EC9-4BF0-B0D2-D907FC073244}" presName="hierRoot3" presStyleCnt="0">
        <dgm:presLayoutVars>
          <dgm:hierBranch val="init"/>
        </dgm:presLayoutVars>
      </dgm:prSet>
      <dgm:spPr/>
    </dgm:pt>
    <dgm:pt modelId="{B7466D8F-CF73-492E-A652-6542C949E865}" type="pres">
      <dgm:prSet presAssocID="{93FF0E44-8EC9-4BF0-B0D2-D907FC073244}" presName="rootComposite3" presStyleCnt="0"/>
      <dgm:spPr/>
    </dgm:pt>
    <dgm:pt modelId="{23B01CB5-D387-4742-8B41-C55CF53CDEFE}" type="pres">
      <dgm:prSet presAssocID="{93FF0E44-8EC9-4BF0-B0D2-D907FC073244}" presName="rootText3" presStyleLbl="asst1" presStyleIdx="0" presStyleCnt="5" custScaleX="125225" custScaleY="149958">
        <dgm:presLayoutVars>
          <dgm:chPref val="3"/>
        </dgm:presLayoutVars>
      </dgm:prSet>
      <dgm:spPr/>
    </dgm:pt>
    <dgm:pt modelId="{EFCFA26B-68C5-488A-BD03-EE0E10E84186}" type="pres">
      <dgm:prSet presAssocID="{93FF0E44-8EC9-4BF0-B0D2-D907FC073244}" presName="rootConnector3" presStyleLbl="asst1" presStyleIdx="0" presStyleCnt="5"/>
      <dgm:spPr/>
    </dgm:pt>
    <dgm:pt modelId="{C72DA65D-F8B7-4B0F-8997-21383DAEB581}" type="pres">
      <dgm:prSet presAssocID="{93FF0E44-8EC9-4BF0-B0D2-D907FC073244}" presName="hierChild6" presStyleCnt="0"/>
      <dgm:spPr/>
    </dgm:pt>
    <dgm:pt modelId="{B7C939B3-AC1F-4505-94FB-179702D1E3AE}" type="pres">
      <dgm:prSet presAssocID="{93FF0E44-8EC9-4BF0-B0D2-D907FC073244}" presName="hierChild7" presStyleCnt="0"/>
      <dgm:spPr/>
    </dgm:pt>
    <dgm:pt modelId="{D17A66BE-CB8B-47AC-8C8F-0929DD9A79AD}" type="pres">
      <dgm:prSet presAssocID="{BF28B40C-DFB2-49B4-BD0D-545822E8FAAE}" presName="Name111" presStyleLbl="parChTrans1D2" presStyleIdx="1" presStyleCnt="5"/>
      <dgm:spPr/>
    </dgm:pt>
    <dgm:pt modelId="{816BA81E-1A82-4439-928C-03404E2133AD}" type="pres">
      <dgm:prSet presAssocID="{FC6E32A7-3D1E-4F63-9662-1E9338647DAF}" presName="hierRoot3" presStyleCnt="0">
        <dgm:presLayoutVars>
          <dgm:hierBranch val="init"/>
        </dgm:presLayoutVars>
      </dgm:prSet>
      <dgm:spPr/>
    </dgm:pt>
    <dgm:pt modelId="{8A63FB95-2B78-45AF-BBB9-67CAC4986292}" type="pres">
      <dgm:prSet presAssocID="{FC6E32A7-3D1E-4F63-9662-1E9338647DAF}" presName="rootComposite3" presStyleCnt="0"/>
      <dgm:spPr/>
    </dgm:pt>
    <dgm:pt modelId="{721F69D5-8A86-4D75-A802-71BEA76B01E1}" type="pres">
      <dgm:prSet presAssocID="{FC6E32A7-3D1E-4F63-9662-1E9338647DAF}" presName="rootText3" presStyleLbl="asst1" presStyleIdx="1" presStyleCnt="5" custScaleX="136745" custScaleY="123769">
        <dgm:presLayoutVars>
          <dgm:chPref val="3"/>
        </dgm:presLayoutVars>
      </dgm:prSet>
      <dgm:spPr/>
    </dgm:pt>
    <dgm:pt modelId="{317E2BD5-D69A-489A-BE78-C2D816FCDCC4}" type="pres">
      <dgm:prSet presAssocID="{FC6E32A7-3D1E-4F63-9662-1E9338647DAF}" presName="rootConnector3" presStyleLbl="asst1" presStyleIdx="1" presStyleCnt="5"/>
      <dgm:spPr/>
    </dgm:pt>
    <dgm:pt modelId="{DF901D35-2250-4BAD-9EC3-273CA55F7AFC}" type="pres">
      <dgm:prSet presAssocID="{FC6E32A7-3D1E-4F63-9662-1E9338647DAF}" presName="hierChild6" presStyleCnt="0"/>
      <dgm:spPr/>
    </dgm:pt>
    <dgm:pt modelId="{A3834A58-9A63-4DF6-8C2E-CF8329A11332}" type="pres">
      <dgm:prSet presAssocID="{FC6E32A7-3D1E-4F63-9662-1E9338647DAF}" presName="hierChild7" presStyleCnt="0"/>
      <dgm:spPr/>
    </dgm:pt>
    <dgm:pt modelId="{9CF44D85-FADC-45D9-91C7-361C70E0F0A4}" type="pres">
      <dgm:prSet presAssocID="{A88F794E-A432-4A44-9C81-51F84FF2DA93}" presName="Name111" presStyleLbl="parChTrans1D2" presStyleIdx="2" presStyleCnt="5"/>
      <dgm:spPr/>
    </dgm:pt>
    <dgm:pt modelId="{8640C9FE-BE55-49A1-9FC4-FCE0FCD5F00D}" type="pres">
      <dgm:prSet presAssocID="{ACBC14FD-6FF9-41F8-AC22-B39784D6874B}" presName="hierRoot3" presStyleCnt="0">
        <dgm:presLayoutVars>
          <dgm:hierBranch val="init"/>
        </dgm:presLayoutVars>
      </dgm:prSet>
      <dgm:spPr/>
    </dgm:pt>
    <dgm:pt modelId="{490895E9-F222-4D65-8E81-1520A17790EE}" type="pres">
      <dgm:prSet presAssocID="{ACBC14FD-6FF9-41F8-AC22-B39784D6874B}" presName="rootComposite3" presStyleCnt="0"/>
      <dgm:spPr/>
    </dgm:pt>
    <dgm:pt modelId="{67A9B026-D2FE-4301-AF9D-D5AABF8EA64B}" type="pres">
      <dgm:prSet presAssocID="{ACBC14FD-6FF9-41F8-AC22-B39784D6874B}" presName="rootText3" presStyleLbl="asst1" presStyleIdx="2" presStyleCnt="5">
        <dgm:presLayoutVars>
          <dgm:chPref val="3"/>
        </dgm:presLayoutVars>
      </dgm:prSet>
      <dgm:spPr/>
    </dgm:pt>
    <dgm:pt modelId="{035EE18F-06DB-4DAB-84F7-3523CD4F1977}" type="pres">
      <dgm:prSet presAssocID="{ACBC14FD-6FF9-41F8-AC22-B39784D6874B}" presName="rootConnector3" presStyleLbl="asst1" presStyleIdx="2" presStyleCnt="5"/>
      <dgm:spPr/>
    </dgm:pt>
    <dgm:pt modelId="{CED4862A-B924-4EC8-8FE5-97F01AE57E20}" type="pres">
      <dgm:prSet presAssocID="{ACBC14FD-6FF9-41F8-AC22-B39784D6874B}" presName="hierChild6" presStyleCnt="0"/>
      <dgm:spPr/>
    </dgm:pt>
    <dgm:pt modelId="{56924C09-B5B7-4ED7-AE30-9209A88EEB78}" type="pres">
      <dgm:prSet presAssocID="{ACBC14FD-6FF9-41F8-AC22-B39784D6874B}" presName="hierChild7" presStyleCnt="0"/>
      <dgm:spPr/>
    </dgm:pt>
    <dgm:pt modelId="{01F72531-876C-4665-BAB3-DF123A139550}" type="pres">
      <dgm:prSet presAssocID="{F7F7FBA4-46E7-4F6B-A755-4FA6F7975A40}" presName="Name111" presStyleLbl="parChTrans1D2" presStyleIdx="3" presStyleCnt="5"/>
      <dgm:spPr/>
    </dgm:pt>
    <dgm:pt modelId="{FB24AB98-DB8E-4D7D-BB9B-8DD2D7409CE6}" type="pres">
      <dgm:prSet presAssocID="{98085A91-3B45-4294-B776-65801959FBED}" presName="hierRoot3" presStyleCnt="0">
        <dgm:presLayoutVars>
          <dgm:hierBranch val="init"/>
        </dgm:presLayoutVars>
      </dgm:prSet>
      <dgm:spPr/>
    </dgm:pt>
    <dgm:pt modelId="{A94F4EC5-7C59-4F20-8B65-F745CE25EF36}" type="pres">
      <dgm:prSet presAssocID="{98085A91-3B45-4294-B776-65801959FBED}" presName="rootComposite3" presStyleCnt="0"/>
      <dgm:spPr/>
    </dgm:pt>
    <dgm:pt modelId="{DED1F959-3207-455D-9F15-22FC26279807}" type="pres">
      <dgm:prSet presAssocID="{98085A91-3B45-4294-B776-65801959FBED}" presName="rootText3" presStyleLbl="asst1" presStyleIdx="3" presStyleCnt="5">
        <dgm:presLayoutVars>
          <dgm:chPref val="3"/>
        </dgm:presLayoutVars>
      </dgm:prSet>
      <dgm:spPr/>
    </dgm:pt>
    <dgm:pt modelId="{82AAAF70-8A42-454D-A86B-81A457762D1D}" type="pres">
      <dgm:prSet presAssocID="{98085A91-3B45-4294-B776-65801959FBED}" presName="rootConnector3" presStyleLbl="asst1" presStyleIdx="3" presStyleCnt="5"/>
      <dgm:spPr/>
    </dgm:pt>
    <dgm:pt modelId="{703FA47F-B9D4-4D39-98BE-05D40286E0CF}" type="pres">
      <dgm:prSet presAssocID="{98085A91-3B45-4294-B776-65801959FBED}" presName="hierChild6" presStyleCnt="0"/>
      <dgm:spPr/>
    </dgm:pt>
    <dgm:pt modelId="{2F735E3A-9ADD-4571-948A-83165BCC7FF8}" type="pres">
      <dgm:prSet presAssocID="{98085A91-3B45-4294-B776-65801959FBED}" presName="hierChild7" presStyleCnt="0"/>
      <dgm:spPr/>
    </dgm:pt>
    <dgm:pt modelId="{B57E1901-2E4D-4D59-A041-60A56FF2498B}" type="pres">
      <dgm:prSet presAssocID="{05042F22-994F-46B0-B833-82B5EA8197C5}" presName="Name111" presStyleLbl="parChTrans1D2" presStyleIdx="4" presStyleCnt="5"/>
      <dgm:spPr/>
    </dgm:pt>
    <dgm:pt modelId="{1318F2DF-8D52-4CEF-BDE3-A80C70431428}" type="pres">
      <dgm:prSet presAssocID="{8F31849B-6A7D-4F10-919E-871C855C7DA4}" presName="hierRoot3" presStyleCnt="0">
        <dgm:presLayoutVars>
          <dgm:hierBranch val="init"/>
        </dgm:presLayoutVars>
      </dgm:prSet>
      <dgm:spPr/>
    </dgm:pt>
    <dgm:pt modelId="{E4EE557E-DE13-45CA-9D10-CF3F57E637E4}" type="pres">
      <dgm:prSet presAssocID="{8F31849B-6A7D-4F10-919E-871C855C7DA4}" presName="rootComposite3" presStyleCnt="0"/>
      <dgm:spPr/>
    </dgm:pt>
    <dgm:pt modelId="{A5611738-DFC9-47A7-82B7-6BEC818C5BFC}" type="pres">
      <dgm:prSet presAssocID="{8F31849B-6A7D-4F10-919E-871C855C7DA4}" presName="rootText3" presStyleLbl="asst1" presStyleIdx="4" presStyleCnt="5">
        <dgm:presLayoutVars>
          <dgm:chPref val="3"/>
        </dgm:presLayoutVars>
      </dgm:prSet>
      <dgm:spPr/>
    </dgm:pt>
    <dgm:pt modelId="{297C05B3-38FB-44A0-9DFC-B0724605032E}" type="pres">
      <dgm:prSet presAssocID="{8F31849B-6A7D-4F10-919E-871C855C7DA4}" presName="rootConnector3" presStyleLbl="asst1" presStyleIdx="4" presStyleCnt="5"/>
      <dgm:spPr/>
    </dgm:pt>
    <dgm:pt modelId="{BD5AC61F-AC9E-46D8-909B-373290CD4A36}" type="pres">
      <dgm:prSet presAssocID="{8F31849B-6A7D-4F10-919E-871C855C7DA4}" presName="hierChild6" presStyleCnt="0"/>
      <dgm:spPr/>
    </dgm:pt>
    <dgm:pt modelId="{5BB774DA-D4E7-4B00-A0F9-EE53AC1CFBF8}" type="pres">
      <dgm:prSet presAssocID="{8F31849B-6A7D-4F10-919E-871C855C7DA4}" presName="hierChild7" presStyleCnt="0"/>
      <dgm:spPr/>
    </dgm:pt>
  </dgm:ptLst>
  <dgm:cxnLst>
    <dgm:cxn modelId="{5EDF5124-3342-44F8-8CC7-875540F503CA}" type="presOf" srcId="{32DB1C28-1D3A-4EA1-9663-FD2652591CDD}" destId="{90255B59-C54B-479E-8AC3-CB0DF951AB74}" srcOrd="0" destOrd="0" presId="urn:microsoft.com/office/officeart/2005/8/layout/orgChart1"/>
    <dgm:cxn modelId="{E1FA3E28-F27A-48C5-9168-763F6144986F}" type="presOf" srcId="{ACBC14FD-6FF9-41F8-AC22-B39784D6874B}" destId="{035EE18F-06DB-4DAB-84F7-3523CD4F1977}" srcOrd="1" destOrd="0" presId="urn:microsoft.com/office/officeart/2005/8/layout/orgChart1"/>
    <dgm:cxn modelId="{5706433C-4CAA-47B0-B8AE-457BA3D76A87}" srcId="{B3273796-3B56-4B6A-9D6B-EB4AC662625D}" destId="{8F31849B-6A7D-4F10-919E-871C855C7DA4}" srcOrd="4" destOrd="0" parTransId="{05042F22-994F-46B0-B833-82B5EA8197C5}" sibTransId="{CA1DEE35-0642-4AF9-9927-E4CF6C7B4E67}"/>
    <dgm:cxn modelId="{26A8D840-600F-4A40-8C27-AC87A21FFA20}" type="presOf" srcId="{FC6E32A7-3D1E-4F63-9662-1E9338647DAF}" destId="{721F69D5-8A86-4D75-A802-71BEA76B01E1}" srcOrd="0" destOrd="0" presId="urn:microsoft.com/office/officeart/2005/8/layout/orgChart1"/>
    <dgm:cxn modelId="{3C749041-CFA6-4D66-9BB9-068E911C223A}" srcId="{B3273796-3B56-4B6A-9D6B-EB4AC662625D}" destId="{93FF0E44-8EC9-4BF0-B0D2-D907FC073244}" srcOrd="0" destOrd="0" parTransId="{2E39DEFA-28B5-4210-B626-4CCEE82DEC9F}" sibTransId="{B6289291-19AC-4044-9E03-F387D7635CAC}"/>
    <dgm:cxn modelId="{D6673D42-8E56-44BA-A6A8-B576DCDB82E5}" type="presOf" srcId="{A88F794E-A432-4A44-9C81-51F84FF2DA93}" destId="{9CF44D85-FADC-45D9-91C7-361C70E0F0A4}" srcOrd="0" destOrd="0" presId="urn:microsoft.com/office/officeart/2005/8/layout/orgChart1"/>
    <dgm:cxn modelId="{89BC8D47-630C-4897-A1A3-F8896C183B8A}" type="presOf" srcId="{F7F7FBA4-46E7-4F6B-A755-4FA6F7975A40}" destId="{01F72531-876C-4665-BAB3-DF123A139550}" srcOrd="0" destOrd="0" presId="urn:microsoft.com/office/officeart/2005/8/layout/orgChart1"/>
    <dgm:cxn modelId="{3C74EE4C-9A53-4730-B56B-D143EFA1ECED}" type="presOf" srcId="{ACBC14FD-6FF9-41F8-AC22-B39784D6874B}" destId="{67A9B026-D2FE-4301-AF9D-D5AABF8EA64B}" srcOrd="0" destOrd="0" presId="urn:microsoft.com/office/officeart/2005/8/layout/orgChart1"/>
    <dgm:cxn modelId="{50E5FD66-7C89-4602-8FDE-65DB8318B979}" type="presOf" srcId="{98085A91-3B45-4294-B776-65801959FBED}" destId="{DED1F959-3207-455D-9F15-22FC26279807}" srcOrd="0" destOrd="0" presId="urn:microsoft.com/office/officeart/2005/8/layout/orgChart1"/>
    <dgm:cxn modelId="{76685467-0D5F-4E1E-9E53-CA40F8956672}" srcId="{B3273796-3B56-4B6A-9D6B-EB4AC662625D}" destId="{ACBC14FD-6FF9-41F8-AC22-B39784D6874B}" srcOrd="2" destOrd="0" parTransId="{A88F794E-A432-4A44-9C81-51F84FF2DA93}" sibTransId="{D53A8067-ED3F-4D17-8D8B-4F3C650A54D0}"/>
    <dgm:cxn modelId="{43C39B79-A43E-490B-A91E-5C2BB9F799C7}" type="presOf" srcId="{05042F22-994F-46B0-B833-82B5EA8197C5}" destId="{B57E1901-2E4D-4D59-A041-60A56FF2498B}" srcOrd="0" destOrd="0" presId="urn:microsoft.com/office/officeart/2005/8/layout/orgChart1"/>
    <dgm:cxn modelId="{EFAF8886-A9DE-4E50-AFDC-978D21F107C2}" type="presOf" srcId="{FC6E32A7-3D1E-4F63-9662-1E9338647DAF}" destId="{317E2BD5-D69A-489A-BE78-C2D816FCDCC4}" srcOrd="1" destOrd="0" presId="urn:microsoft.com/office/officeart/2005/8/layout/orgChart1"/>
    <dgm:cxn modelId="{9140A48D-B2B2-47AF-ABB4-239B17D5E975}" type="presOf" srcId="{93FF0E44-8EC9-4BF0-B0D2-D907FC073244}" destId="{23B01CB5-D387-4742-8B41-C55CF53CDEFE}" srcOrd="0" destOrd="0" presId="urn:microsoft.com/office/officeart/2005/8/layout/orgChart1"/>
    <dgm:cxn modelId="{2C39D99B-8885-4A4E-AD4C-A3921C69CF45}" type="presOf" srcId="{93FF0E44-8EC9-4BF0-B0D2-D907FC073244}" destId="{EFCFA26B-68C5-488A-BD03-EE0E10E84186}" srcOrd="1" destOrd="0" presId="urn:microsoft.com/office/officeart/2005/8/layout/orgChart1"/>
    <dgm:cxn modelId="{045F6A9D-8CBB-43CE-84EE-6D45709ECFBA}" type="presOf" srcId="{8F31849B-6A7D-4F10-919E-871C855C7DA4}" destId="{297C05B3-38FB-44A0-9DFC-B0724605032E}" srcOrd="1" destOrd="0" presId="urn:microsoft.com/office/officeart/2005/8/layout/orgChart1"/>
    <dgm:cxn modelId="{A616D4A2-5684-46DD-BFF8-71A646B75F3F}" type="presOf" srcId="{2E39DEFA-28B5-4210-B626-4CCEE82DEC9F}" destId="{8464D183-00BE-471E-A654-94AA8D3EB119}" srcOrd="0" destOrd="0" presId="urn:microsoft.com/office/officeart/2005/8/layout/orgChart1"/>
    <dgm:cxn modelId="{96762DA3-54FA-46EF-8DD2-D22B5451F43C}" srcId="{32DB1C28-1D3A-4EA1-9663-FD2652591CDD}" destId="{B3273796-3B56-4B6A-9D6B-EB4AC662625D}" srcOrd="0" destOrd="0" parTransId="{AFA0FE32-5B75-4298-B847-61A22A2E9B23}" sibTransId="{4ECDF63A-8DC3-41B3-B2AB-59C11A6E78CF}"/>
    <dgm:cxn modelId="{269E90A3-55D7-46A0-A4A1-64F3E6D5D495}" srcId="{B3273796-3B56-4B6A-9D6B-EB4AC662625D}" destId="{98085A91-3B45-4294-B776-65801959FBED}" srcOrd="3" destOrd="0" parTransId="{F7F7FBA4-46E7-4F6B-A755-4FA6F7975A40}" sibTransId="{45AD0135-2A80-40F0-BA94-577967EF30F7}"/>
    <dgm:cxn modelId="{779942AA-852B-4BBE-89B0-578ACD5D9D35}" type="presOf" srcId="{98085A91-3B45-4294-B776-65801959FBED}" destId="{82AAAF70-8A42-454D-A86B-81A457762D1D}" srcOrd="1" destOrd="0" presId="urn:microsoft.com/office/officeart/2005/8/layout/orgChart1"/>
    <dgm:cxn modelId="{39DD53B0-C3FC-4DAC-8335-AC57293A1D52}" type="presOf" srcId="{BF28B40C-DFB2-49B4-BD0D-545822E8FAAE}" destId="{D17A66BE-CB8B-47AC-8C8F-0929DD9A79AD}" srcOrd="0" destOrd="0" presId="urn:microsoft.com/office/officeart/2005/8/layout/orgChart1"/>
    <dgm:cxn modelId="{9BE684C4-1049-4971-B7BC-BB60B114F13C}" type="presOf" srcId="{B3273796-3B56-4B6A-9D6B-EB4AC662625D}" destId="{4D1AD3C8-8301-4EC3-9900-7CB629EBB95B}" srcOrd="1" destOrd="0" presId="urn:microsoft.com/office/officeart/2005/8/layout/orgChart1"/>
    <dgm:cxn modelId="{BD431ECA-1D8F-4149-89A4-A2B829A97321}" srcId="{B3273796-3B56-4B6A-9D6B-EB4AC662625D}" destId="{FC6E32A7-3D1E-4F63-9662-1E9338647DAF}" srcOrd="1" destOrd="0" parTransId="{BF28B40C-DFB2-49B4-BD0D-545822E8FAAE}" sibTransId="{A5881811-FC84-4A8A-9F60-DA14D4C8E4F3}"/>
    <dgm:cxn modelId="{2876B7D2-FC6F-43CA-AFB7-AAEFA7485C40}" type="presOf" srcId="{8F31849B-6A7D-4F10-919E-871C855C7DA4}" destId="{A5611738-DFC9-47A7-82B7-6BEC818C5BFC}" srcOrd="0" destOrd="0" presId="urn:microsoft.com/office/officeart/2005/8/layout/orgChart1"/>
    <dgm:cxn modelId="{FE0912D6-5868-48FA-8B4A-31F575C81D7B}" type="presOf" srcId="{B3273796-3B56-4B6A-9D6B-EB4AC662625D}" destId="{3D462A01-3060-4E28-8B49-B07ADD68D5CB}" srcOrd="0" destOrd="0" presId="urn:microsoft.com/office/officeart/2005/8/layout/orgChart1"/>
    <dgm:cxn modelId="{25F9DFE1-E9D4-47B2-8C62-07F2831AD37E}" type="presParOf" srcId="{90255B59-C54B-479E-8AC3-CB0DF951AB74}" destId="{CCC7F1AE-7572-4606-A4D7-FDE3EA91DE7F}" srcOrd="0" destOrd="0" presId="urn:microsoft.com/office/officeart/2005/8/layout/orgChart1"/>
    <dgm:cxn modelId="{509D4BF9-EEE2-4370-A8D6-FCCE89A3AC99}" type="presParOf" srcId="{CCC7F1AE-7572-4606-A4D7-FDE3EA91DE7F}" destId="{96D8C02A-8BA7-449E-BCE6-AE43CB942EF0}" srcOrd="0" destOrd="0" presId="urn:microsoft.com/office/officeart/2005/8/layout/orgChart1"/>
    <dgm:cxn modelId="{8EDF71BD-B3E1-444D-87ED-DFAA0FB8569A}" type="presParOf" srcId="{96D8C02A-8BA7-449E-BCE6-AE43CB942EF0}" destId="{3D462A01-3060-4E28-8B49-B07ADD68D5CB}" srcOrd="0" destOrd="0" presId="urn:microsoft.com/office/officeart/2005/8/layout/orgChart1"/>
    <dgm:cxn modelId="{0300D67E-963E-4474-ADCE-90AB38A36A66}" type="presParOf" srcId="{96D8C02A-8BA7-449E-BCE6-AE43CB942EF0}" destId="{4D1AD3C8-8301-4EC3-9900-7CB629EBB95B}" srcOrd="1" destOrd="0" presId="urn:microsoft.com/office/officeart/2005/8/layout/orgChart1"/>
    <dgm:cxn modelId="{C3CACE1D-A47D-4F92-9E57-81B080527FFF}" type="presParOf" srcId="{CCC7F1AE-7572-4606-A4D7-FDE3EA91DE7F}" destId="{6BF49282-0799-4D37-8DAF-51063F677F5C}" srcOrd="1" destOrd="0" presId="urn:microsoft.com/office/officeart/2005/8/layout/orgChart1"/>
    <dgm:cxn modelId="{87CB856E-9887-482E-AB1B-C714931AB82C}" type="presParOf" srcId="{CCC7F1AE-7572-4606-A4D7-FDE3EA91DE7F}" destId="{C958FF6A-CE53-4F13-83DF-B032864771CE}" srcOrd="2" destOrd="0" presId="urn:microsoft.com/office/officeart/2005/8/layout/orgChart1"/>
    <dgm:cxn modelId="{D1CE567D-A374-4A55-8D83-E16348F98937}" type="presParOf" srcId="{C958FF6A-CE53-4F13-83DF-B032864771CE}" destId="{8464D183-00BE-471E-A654-94AA8D3EB119}" srcOrd="0" destOrd="0" presId="urn:microsoft.com/office/officeart/2005/8/layout/orgChart1"/>
    <dgm:cxn modelId="{3835599D-E435-4ADB-8858-2546CF22C62A}" type="presParOf" srcId="{C958FF6A-CE53-4F13-83DF-B032864771CE}" destId="{68624233-936E-4147-8A2C-B48F950C1DAE}" srcOrd="1" destOrd="0" presId="urn:microsoft.com/office/officeart/2005/8/layout/orgChart1"/>
    <dgm:cxn modelId="{1308AEBA-2773-44CC-A987-10E2F733D4E0}" type="presParOf" srcId="{68624233-936E-4147-8A2C-B48F950C1DAE}" destId="{B7466D8F-CF73-492E-A652-6542C949E865}" srcOrd="0" destOrd="0" presId="urn:microsoft.com/office/officeart/2005/8/layout/orgChart1"/>
    <dgm:cxn modelId="{3B615AFC-BEDF-4880-B9F0-6845C6B7203B}" type="presParOf" srcId="{B7466D8F-CF73-492E-A652-6542C949E865}" destId="{23B01CB5-D387-4742-8B41-C55CF53CDEFE}" srcOrd="0" destOrd="0" presId="urn:microsoft.com/office/officeart/2005/8/layout/orgChart1"/>
    <dgm:cxn modelId="{0B90C6D6-E54B-4B43-B4B5-E8FDF78B1FEE}" type="presParOf" srcId="{B7466D8F-CF73-492E-A652-6542C949E865}" destId="{EFCFA26B-68C5-488A-BD03-EE0E10E84186}" srcOrd="1" destOrd="0" presId="urn:microsoft.com/office/officeart/2005/8/layout/orgChart1"/>
    <dgm:cxn modelId="{95E7F21E-903A-40D2-9479-068A283C42B6}" type="presParOf" srcId="{68624233-936E-4147-8A2C-B48F950C1DAE}" destId="{C72DA65D-F8B7-4B0F-8997-21383DAEB581}" srcOrd="1" destOrd="0" presId="urn:microsoft.com/office/officeart/2005/8/layout/orgChart1"/>
    <dgm:cxn modelId="{DAFE4A32-0225-4E17-8329-9603F9C72792}" type="presParOf" srcId="{68624233-936E-4147-8A2C-B48F950C1DAE}" destId="{B7C939B3-AC1F-4505-94FB-179702D1E3AE}" srcOrd="2" destOrd="0" presId="urn:microsoft.com/office/officeart/2005/8/layout/orgChart1"/>
    <dgm:cxn modelId="{1AB09065-3C9F-4934-BDEB-4F5F53881687}" type="presParOf" srcId="{C958FF6A-CE53-4F13-83DF-B032864771CE}" destId="{D17A66BE-CB8B-47AC-8C8F-0929DD9A79AD}" srcOrd="2" destOrd="0" presId="urn:microsoft.com/office/officeart/2005/8/layout/orgChart1"/>
    <dgm:cxn modelId="{6058AFFF-9CE3-468B-AA02-A6177A31B3BB}" type="presParOf" srcId="{C958FF6A-CE53-4F13-83DF-B032864771CE}" destId="{816BA81E-1A82-4439-928C-03404E2133AD}" srcOrd="3" destOrd="0" presId="urn:microsoft.com/office/officeart/2005/8/layout/orgChart1"/>
    <dgm:cxn modelId="{30E28EFE-9443-4487-B3F8-AD3D52503C30}" type="presParOf" srcId="{816BA81E-1A82-4439-928C-03404E2133AD}" destId="{8A63FB95-2B78-45AF-BBB9-67CAC4986292}" srcOrd="0" destOrd="0" presId="urn:microsoft.com/office/officeart/2005/8/layout/orgChart1"/>
    <dgm:cxn modelId="{2EAA74E8-4371-464C-B333-46784B0C8006}" type="presParOf" srcId="{8A63FB95-2B78-45AF-BBB9-67CAC4986292}" destId="{721F69D5-8A86-4D75-A802-71BEA76B01E1}" srcOrd="0" destOrd="0" presId="urn:microsoft.com/office/officeart/2005/8/layout/orgChart1"/>
    <dgm:cxn modelId="{959C57D4-1889-431A-86F8-C9E88D4F353D}" type="presParOf" srcId="{8A63FB95-2B78-45AF-BBB9-67CAC4986292}" destId="{317E2BD5-D69A-489A-BE78-C2D816FCDCC4}" srcOrd="1" destOrd="0" presId="urn:microsoft.com/office/officeart/2005/8/layout/orgChart1"/>
    <dgm:cxn modelId="{EC32466E-B180-434F-97A3-338A2F1AE376}" type="presParOf" srcId="{816BA81E-1A82-4439-928C-03404E2133AD}" destId="{DF901D35-2250-4BAD-9EC3-273CA55F7AFC}" srcOrd="1" destOrd="0" presId="urn:microsoft.com/office/officeart/2005/8/layout/orgChart1"/>
    <dgm:cxn modelId="{283E3673-C3A6-4442-8FAE-B35A7CBCC621}" type="presParOf" srcId="{816BA81E-1A82-4439-928C-03404E2133AD}" destId="{A3834A58-9A63-4DF6-8C2E-CF8329A11332}" srcOrd="2" destOrd="0" presId="urn:microsoft.com/office/officeart/2005/8/layout/orgChart1"/>
    <dgm:cxn modelId="{58BA9BB5-1309-49E5-8E64-343760EE4842}" type="presParOf" srcId="{C958FF6A-CE53-4F13-83DF-B032864771CE}" destId="{9CF44D85-FADC-45D9-91C7-361C70E0F0A4}" srcOrd="4" destOrd="0" presId="urn:microsoft.com/office/officeart/2005/8/layout/orgChart1"/>
    <dgm:cxn modelId="{7E5AB8EC-3DA6-4E85-96D6-E2433B21FB40}" type="presParOf" srcId="{C958FF6A-CE53-4F13-83DF-B032864771CE}" destId="{8640C9FE-BE55-49A1-9FC4-FCE0FCD5F00D}" srcOrd="5" destOrd="0" presId="urn:microsoft.com/office/officeart/2005/8/layout/orgChart1"/>
    <dgm:cxn modelId="{54248CDF-1FF4-4A64-814B-504199D29AE5}" type="presParOf" srcId="{8640C9FE-BE55-49A1-9FC4-FCE0FCD5F00D}" destId="{490895E9-F222-4D65-8E81-1520A17790EE}" srcOrd="0" destOrd="0" presId="urn:microsoft.com/office/officeart/2005/8/layout/orgChart1"/>
    <dgm:cxn modelId="{BE6824AC-7F25-41E5-BC0B-E77F6C862E4D}" type="presParOf" srcId="{490895E9-F222-4D65-8E81-1520A17790EE}" destId="{67A9B026-D2FE-4301-AF9D-D5AABF8EA64B}" srcOrd="0" destOrd="0" presId="urn:microsoft.com/office/officeart/2005/8/layout/orgChart1"/>
    <dgm:cxn modelId="{8BEF64BF-9395-4951-B445-0CA69E0ABCC2}" type="presParOf" srcId="{490895E9-F222-4D65-8E81-1520A17790EE}" destId="{035EE18F-06DB-4DAB-84F7-3523CD4F1977}" srcOrd="1" destOrd="0" presId="urn:microsoft.com/office/officeart/2005/8/layout/orgChart1"/>
    <dgm:cxn modelId="{617FCF85-7D8B-4E20-8C6B-E955A9C06BBE}" type="presParOf" srcId="{8640C9FE-BE55-49A1-9FC4-FCE0FCD5F00D}" destId="{CED4862A-B924-4EC8-8FE5-97F01AE57E20}" srcOrd="1" destOrd="0" presId="urn:microsoft.com/office/officeart/2005/8/layout/orgChart1"/>
    <dgm:cxn modelId="{C8DC8A1B-63E5-432D-8830-C60A3C7A4337}" type="presParOf" srcId="{8640C9FE-BE55-49A1-9FC4-FCE0FCD5F00D}" destId="{56924C09-B5B7-4ED7-AE30-9209A88EEB78}" srcOrd="2" destOrd="0" presId="urn:microsoft.com/office/officeart/2005/8/layout/orgChart1"/>
    <dgm:cxn modelId="{99FA1122-A869-4C18-B3B7-D8E2BAA84374}" type="presParOf" srcId="{C958FF6A-CE53-4F13-83DF-B032864771CE}" destId="{01F72531-876C-4665-BAB3-DF123A139550}" srcOrd="6" destOrd="0" presId="urn:microsoft.com/office/officeart/2005/8/layout/orgChart1"/>
    <dgm:cxn modelId="{B9183C98-E8BD-4FE0-AF5C-1B125B75FF81}" type="presParOf" srcId="{C958FF6A-CE53-4F13-83DF-B032864771CE}" destId="{FB24AB98-DB8E-4D7D-BB9B-8DD2D7409CE6}" srcOrd="7" destOrd="0" presId="urn:microsoft.com/office/officeart/2005/8/layout/orgChart1"/>
    <dgm:cxn modelId="{E27F8EE4-4FCE-4D91-AC83-2DEE564F4ED9}" type="presParOf" srcId="{FB24AB98-DB8E-4D7D-BB9B-8DD2D7409CE6}" destId="{A94F4EC5-7C59-4F20-8B65-F745CE25EF36}" srcOrd="0" destOrd="0" presId="urn:microsoft.com/office/officeart/2005/8/layout/orgChart1"/>
    <dgm:cxn modelId="{CAE39471-FC24-467D-963B-0C10E6C063A8}" type="presParOf" srcId="{A94F4EC5-7C59-4F20-8B65-F745CE25EF36}" destId="{DED1F959-3207-455D-9F15-22FC26279807}" srcOrd="0" destOrd="0" presId="urn:microsoft.com/office/officeart/2005/8/layout/orgChart1"/>
    <dgm:cxn modelId="{6FDAD1BB-964E-4741-8C9C-D1E238D0B48A}" type="presParOf" srcId="{A94F4EC5-7C59-4F20-8B65-F745CE25EF36}" destId="{82AAAF70-8A42-454D-A86B-81A457762D1D}" srcOrd="1" destOrd="0" presId="urn:microsoft.com/office/officeart/2005/8/layout/orgChart1"/>
    <dgm:cxn modelId="{C55384C6-1DD2-4AB8-A0AD-DB750E3AD647}" type="presParOf" srcId="{FB24AB98-DB8E-4D7D-BB9B-8DD2D7409CE6}" destId="{703FA47F-B9D4-4D39-98BE-05D40286E0CF}" srcOrd="1" destOrd="0" presId="urn:microsoft.com/office/officeart/2005/8/layout/orgChart1"/>
    <dgm:cxn modelId="{E8CB02E1-C749-453D-952E-B04178EA9430}" type="presParOf" srcId="{FB24AB98-DB8E-4D7D-BB9B-8DD2D7409CE6}" destId="{2F735E3A-9ADD-4571-948A-83165BCC7FF8}" srcOrd="2" destOrd="0" presId="urn:microsoft.com/office/officeart/2005/8/layout/orgChart1"/>
    <dgm:cxn modelId="{2ECBAC79-7B02-4588-BA91-A6797AEA2978}" type="presParOf" srcId="{C958FF6A-CE53-4F13-83DF-B032864771CE}" destId="{B57E1901-2E4D-4D59-A041-60A56FF2498B}" srcOrd="8" destOrd="0" presId="urn:microsoft.com/office/officeart/2005/8/layout/orgChart1"/>
    <dgm:cxn modelId="{CCAEDCED-03A1-4F1F-B185-7ADEE260481C}" type="presParOf" srcId="{C958FF6A-CE53-4F13-83DF-B032864771CE}" destId="{1318F2DF-8D52-4CEF-BDE3-A80C70431428}" srcOrd="9" destOrd="0" presId="urn:microsoft.com/office/officeart/2005/8/layout/orgChart1"/>
    <dgm:cxn modelId="{88001AA5-30F0-48B7-8D39-F58FA2D7058D}" type="presParOf" srcId="{1318F2DF-8D52-4CEF-BDE3-A80C70431428}" destId="{E4EE557E-DE13-45CA-9D10-CF3F57E637E4}" srcOrd="0" destOrd="0" presId="urn:microsoft.com/office/officeart/2005/8/layout/orgChart1"/>
    <dgm:cxn modelId="{4DAD0158-B8F9-40DC-BA6F-B26CD4577679}" type="presParOf" srcId="{E4EE557E-DE13-45CA-9D10-CF3F57E637E4}" destId="{A5611738-DFC9-47A7-82B7-6BEC818C5BFC}" srcOrd="0" destOrd="0" presId="urn:microsoft.com/office/officeart/2005/8/layout/orgChart1"/>
    <dgm:cxn modelId="{94E0FE0B-872A-4407-9FBD-C959C17BA44D}" type="presParOf" srcId="{E4EE557E-DE13-45CA-9D10-CF3F57E637E4}" destId="{297C05B3-38FB-44A0-9DFC-B0724605032E}" srcOrd="1" destOrd="0" presId="urn:microsoft.com/office/officeart/2005/8/layout/orgChart1"/>
    <dgm:cxn modelId="{B6272E8D-95B4-46B2-B7DA-98E0CB7B8A78}" type="presParOf" srcId="{1318F2DF-8D52-4CEF-BDE3-A80C70431428}" destId="{BD5AC61F-AC9E-46D8-909B-373290CD4A36}" srcOrd="1" destOrd="0" presId="urn:microsoft.com/office/officeart/2005/8/layout/orgChart1"/>
    <dgm:cxn modelId="{293D29BF-7AE6-4D46-8E8E-EC0995FE274D}" type="presParOf" srcId="{1318F2DF-8D52-4CEF-BDE3-A80C70431428}" destId="{5BB774DA-D4E7-4B00-A0F9-EE53AC1CFBF8}" srcOrd="2" destOrd="0" presId="urn:microsoft.com/office/officeart/2005/8/layout/orgChart1"/>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2DB1C28-1D3A-4EA1-9663-FD2652591CDD}"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fr-CA"/>
        </a:p>
      </dgm:t>
    </dgm:pt>
    <dgm:pt modelId="{B3273796-3B56-4B6A-9D6B-EB4AC662625D}">
      <dgm:prSet phldrT="[Texte]" custT="1"/>
      <dgm:spPr/>
      <dgm:t>
        <a:bodyPr/>
        <a:lstStyle/>
        <a:p>
          <a:r>
            <a:rPr lang="fr-CA" sz="2000" b="1" u="none">
              <a:solidFill>
                <a:schemeClr val="accent3"/>
              </a:solidFill>
              <a:latin typeface="Arial" panose="020B0604020202020204" pitchFamily="34" charset="0"/>
              <a:cs typeface="Arial" panose="020B0604020202020204" pitchFamily="34" charset="0"/>
            </a:rPr>
            <a:t>Couverture particulière</a:t>
          </a:r>
          <a:endParaRPr lang="fr-CA" sz="1800" b="1" u="none">
            <a:solidFill>
              <a:schemeClr val="accent3"/>
            </a:solidFill>
            <a:latin typeface="Arial" panose="020B0604020202020204" pitchFamily="34" charset="0"/>
            <a:cs typeface="Arial" panose="020B0604020202020204" pitchFamily="34" charset="0"/>
          </a:endParaRPr>
        </a:p>
      </dgm:t>
    </dgm:pt>
    <dgm:pt modelId="{AFA0FE32-5B75-4298-B847-61A22A2E9B23}" type="parTrans" cxnId="{96762DA3-54FA-46EF-8DD2-D22B5451F43C}">
      <dgm:prSet/>
      <dgm:spPr/>
      <dgm:t>
        <a:bodyPr/>
        <a:lstStyle/>
        <a:p>
          <a:endParaRPr lang="fr-CA"/>
        </a:p>
      </dgm:t>
    </dgm:pt>
    <dgm:pt modelId="{4ECDF63A-8DC3-41B3-B2AB-59C11A6E78CF}" type="sibTrans" cxnId="{96762DA3-54FA-46EF-8DD2-D22B5451F43C}">
      <dgm:prSet/>
      <dgm:spPr/>
      <dgm:t>
        <a:bodyPr/>
        <a:lstStyle/>
        <a:p>
          <a:endParaRPr lang="fr-CA"/>
        </a:p>
      </dgm:t>
    </dgm:pt>
    <dgm:pt modelId="{FC6E32A7-3D1E-4F63-9662-1E9338647DAF}" type="asst">
      <dgm:prSet phldrT="[Texte]" custT="1"/>
      <dgm:spPr/>
      <dgm:t>
        <a:bodyPr/>
        <a:lstStyle/>
        <a:p>
          <a:r>
            <a:rPr lang="en-US" sz="2000">
              <a:solidFill>
                <a:schemeClr val="accent3"/>
              </a:solidFill>
              <a:latin typeface="Arial" panose="020B0604020202020204" pitchFamily="34" charset="0"/>
              <a:cs typeface="Arial" panose="020B0604020202020204" pitchFamily="34" charset="0"/>
            </a:rPr>
            <a:t>CNESST</a:t>
          </a:r>
          <a:endParaRPr lang="fr-CA" sz="2000">
            <a:solidFill>
              <a:schemeClr val="accent3"/>
            </a:solidFill>
            <a:latin typeface="Arial" panose="020B0604020202020204" pitchFamily="34" charset="0"/>
            <a:cs typeface="Arial" panose="020B0604020202020204" pitchFamily="34" charset="0"/>
          </a:endParaRPr>
        </a:p>
      </dgm:t>
    </dgm:pt>
    <dgm:pt modelId="{BF28B40C-DFB2-49B4-BD0D-545822E8FAAE}" type="parTrans" cxnId="{BD431ECA-1D8F-4149-89A4-A2B829A97321}">
      <dgm:prSet/>
      <dgm:spPr/>
      <dgm:t>
        <a:bodyPr/>
        <a:lstStyle/>
        <a:p>
          <a:endParaRPr lang="fr-CA"/>
        </a:p>
      </dgm:t>
    </dgm:pt>
    <dgm:pt modelId="{A5881811-FC84-4A8A-9F60-DA14D4C8E4F3}" type="sibTrans" cxnId="{BD431ECA-1D8F-4149-89A4-A2B829A97321}">
      <dgm:prSet/>
      <dgm:spPr/>
      <dgm:t>
        <a:bodyPr/>
        <a:lstStyle/>
        <a:p>
          <a:endParaRPr lang="fr-CA"/>
        </a:p>
      </dgm:t>
    </dgm:pt>
    <dgm:pt modelId="{ABC54951-A469-442E-809E-11D169DE68C7}" type="asst">
      <dgm:prSet phldrT="[Texte]" custT="1"/>
      <dgm:spPr/>
      <dgm:t>
        <a:bodyPr/>
        <a:lstStyle/>
        <a:p>
          <a:r>
            <a:rPr lang="en-US" sz="2000">
              <a:solidFill>
                <a:schemeClr val="accent3"/>
              </a:solidFill>
              <a:latin typeface="Arial" panose="020B0604020202020204" pitchFamily="34" charset="0"/>
              <a:cs typeface="Arial" panose="020B0604020202020204" pitchFamily="34" charset="0"/>
            </a:rPr>
            <a:t>SAAQ</a:t>
          </a:r>
          <a:endParaRPr lang="fr-CA" sz="2000">
            <a:solidFill>
              <a:schemeClr val="accent3"/>
            </a:solidFill>
            <a:latin typeface="Arial" panose="020B0604020202020204" pitchFamily="34" charset="0"/>
            <a:cs typeface="Arial" panose="020B0604020202020204" pitchFamily="34" charset="0"/>
          </a:endParaRPr>
        </a:p>
      </dgm:t>
    </dgm:pt>
    <dgm:pt modelId="{7989B899-49F7-4C69-9FF8-058A8D081F7D}" type="parTrans" cxnId="{32E16496-986E-46E6-9D47-C1C943375021}">
      <dgm:prSet/>
      <dgm:spPr/>
      <dgm:t>
        <a:bodyPr/>
        <a:lstStyle/>
        <a:p>
          <a:endParaRPr lang="fr-CA"/>
        </a:p>
      </dgm:t>
    </dgm:pt>
    <dgm:pt modelId="{829EAEE4-1CB8-490B-A1EB-FD0187794FF0}" type="sibTrans" cxnId="{32E16496-986E-46E6-9D47-C1C943375021}">
      <dgm:prSet/>
      <dgm:spPr/>
      <dgm:t>
        <a:bodyPr/>
        <a:lstStyle/>
        <a:p>
          <a:endParaRPr lang="fr-CA"/>
        </a:p>
      </dgm:t>
    </dgm:pt>
    <dgm:pt modelId="{90255B59-C54B-479E-8AC3-CB0DF951AB74}" type="pres">
      <dgm:prSet presAssocID="{32DB1C28-1D3A-4EA1-9663-FD2652591CDD}" presName="hierChild1" presStyleCnt="0">
        <dgm:presLayoutVars>
          <dgm:orgChart val="1"/>
          <dgm:chPref val="1"/>
          <dgm:dir/>
          <dgm:animOne val="branch"/>
          <dgm:animLvl val="lvl"/>
          <dgm:resizeHandles/>
        </dgm:presLayoutVars>
      </dgm:prSet>
      <dgm:spPr/>
    </dgm:pt>
    <dgm:pt modelId="{CCC7F1AE-7572-4606-A4D7-FDE3EA91DE7F}" type="pres">
      <dgm:prSet presAssocID="{B3273796-3B56-4B6A-9D6B-EB4AC662625D}" presName="hierRoot1" presStyleCnt="0">
        <dgm:presLayoutVars>
          <dgm:hierBranch val="init"/>
        </dgm:presLayoutVars>
      </dgm:prSet>
      <dgm:spPr/>
    </dgm:pt>
    <dgm:pt modelId="{96D8C02A-8BA7-449E-BCE6-AE43CB942EF0}" type="pres">
      <dgm:prSet presAssocID="{B3273796-3B56-4B6A-9D6B-EB4AC662625D}" presName="rootComposite1" presStyleCnt="0"/>
      <dgm:spPr/>
    </dgm:pt>
    <dgm:pt modelId="{3D462A01-3060-4E28-8B49-B07ADD68D5CB}" type="pres">
      <dgm:prSet presAssocID="{B3273796-3B56-4B6A-9D6B-EB4AC662625D}" presName="rootText1" presStyleLbl="node0" presStyleIdx="0" presStyleCnt="1" custScaleX="135028">
        <dgm:presLayoutVars>
          <dgm:chPref val="3"/>
        </dgm:presLayoutVars>
      </dgm:prSet>
      <dgm:spPr/>
    </dgm:pt>
    <dgm:pt modelId="{4D1AD3C8-8301-4EC3-9900-7CB629EBB95B}" type="pres">
      <dgm:prSet presAssocID="{B3273796-3B56-4B6A-9D6B-EB4AC662625D}" presName="rootConnector1" presStyleLbl="node1" presStyleIdx="0" presStyleCnt="0"/>
      <dgm:spPr/>
    </dgm:pt>
    <dgm:pt modelId="{6BF49282-0799-4D37-8DAF-51063F677F5C}" type="pres">
      <dgm:prSet presAssocID="{B3273796-3B56-4B6A-9D6B-EB4AC662625D}" presName="hierChild2" presStyleCnt="0"/>
      <dgm:spPr/>
    </dgm:pt>
    <dgm:pt modelId="{C958FF6A-CE53-4F13-83DF-B032864771CE}" type="pres">
      <dgm:prSet presAssocID="{B3273796-3B56-4B6A-9D6B-EB4AC662625D}" presName="hierChild3" presStyleCnt="0"/>
      <dgm:spPr/>
    </dgm:pt>
    <dgm:pt modelId="{D17A66BE-CB8B-47AC-8C8F-0929DD9A79AD}" type="pres">
      <dgm:prSet presAssocID="{BF28B40C-DFB2-49B4-BD0D-545822E8FAAE}" presName="Name111" presStyleLbl="parChTrans1D2" presStyleIdx="0" presStyleCnt="2"/>
      <dgm:spPr/>
    </dgm:pt>
    <dgm:pt modelId="{816BA81E-1A82-4439-928C-03404E2133AD}" type="pres">
      <dgm:prSet presAssocID="{FC6E32A7-3D1E-4F63-9662-1E9338647DAF}" presName="hierRoot3" presStyleCnt="0">
        <dgm:presLayoutVars>
          <dgm:hierBranch val="init"/>
        </dgm:presLayoutVars>
      </dgm:prSet>
      <dgm:spPr/>
    </dgm:pt>
    <dgm:pt modelId="{8A63FB95-2B78-45AF-BBB9-67CAC4986292}" type="pres">
      <dgm:prSet presAssocID="{FC6E32A7-3D1E-4F63-9662-1E9338647DAF}" presName="rootComposite3" presStyleCnt="0"/>
      <dgm:spPr/>
    </dgm:pt>
    <dgm:pt modelId="{721F69D5-8A86-4D75-A802-71BEA76B01E1}" type="pres">
      <dgm:prSet presAssocID="{FC6E32A7-3D1E-4F63-9662-1E9338647DAF}" presName="rootText3" presStyleLbl="asst1" presStyleIdx="0" presStyleCnt="2" custScaleX="136745" custScaleY="123769">
        <dgm:presLayoutVars>
          <dgm:chPref val="3"/>
        </dgm:presLayoutVars>
      </dgm:prSet>
      <dgm:spPr/>
    </dgm:pt>
    <dgm:pt modelId="{317E2BD5-D69A-489A-BE78-C2D816FCDCC4}" type="pres">
      <dgm:prSet presAssocID="{FC6E32A7-3D1E-4F63-9662-1E9338647DAF}" presName="rootConnector3" presStyleLbl="asst1" presStyleIdx="0" presStyleCnt="2"/>
      <dgm:spPr/>
    </dgm:pt>
    <dgm:pt modelId="{DF901D35-2250-4BAD-9EC3-273CA55F7AFC}" type="pres">
      <dgm:prSet presAssocID="{FC6E32A7-3D1E-4F63-9662-1E9338647DAF}" presName="hierChild6" presStyleCnt="0"/>
      <dgm:spPr/>
    </dgm:pt>
    <dgm:pt modelId="{A3834A58-9A63-4DF6-8C2E-CF8329A11332}" type="pres">
      <dgm:prSet presAssocID="{FC6E32A7-3D1E-4F63-9662-1E9338647DAF}" presName="hierChild7" presStyleCnt="0"/>
      <dgm:spPr/>
    </dgm:pt>
    <dgm:pt modelId="{1642B2DE-3BCB-49AC-B17B-7D331C436F95}" type="pres">
      <dgm:prSet presAssocID="{7989B899-49F7-4C69-9FF8-058A8D081F7D}" presName="Name111" presStyleLbl="parChTrans1D2" presStyleIdx="1" presStyleCnt="2"/>
      <dgm:spPr/>
    </dgm:pt>
    <dgm:pt modelId="{98F4C81A-5541-4ED3-BD57-979770313BFE}" type="pres">
      <dgm:prSet presAssocID="{ABC54951-A469-442E-809E-11D169DE68C7}" presName="hierRoot3" presStyleCnt="0">
        <dgm:presLayoutVars>
          <dgm:hierBranch val="init"/>
        </dgm:presLayoutVars>
      </dgm:prSet>
      <dgm:spPr/>
    </dgm:pt>
    <dgm:pt modelId="{A397D862-F341-4669-B7AA-9F2F598A4E48}" type="pres">
      <dgm:prSet presAssocID="{ABC54951-A469-442E-809E-11D169DE68C7}" presName="rootComposite3" presStyleCnt="0"/>
      <dgm:spPr/>
    </dgm:pt>
    <dgm:pt modelId="{DFA1864D-B2FE-485D-A165-EC885F14CCB3}" type="pres">
      <dgm:prSet presAssocID="{ABC54951-A469-442E-809E-11D169DE68C7}" presName="rootText3" presStyleLbl="asst1" presStyleIdx="1" presStyleCnt="2">
        <dgm:presLayoutVars>
          <dgm:chPref val="3"/>
        </dgm:presLayoutVars>
      </dgm:prSet>
      <dgm:spPr/>
    </dgm:pt>
    <dgm:pt modelId="{E53E012C-AD95-4ECA-814B-0AC25CF24440}" type="pres">
      <dgm:prSet presAssocID="{ABC54951-A469-442E-809E-11D169DE68C7}" presName="rootConnector3" presStyleLbl="asst1" presStyleIdx="1" presStyleCnt="2"/>
      <dgm:spPr/>
    </dgm:pt>
    <dgm:pt modelId="{864FC488-43FE-4086-A19F-9BDE68BCBB39}" type="pres">
      <dgm:prSet presAssocID="{ABC54951-A469-442E-809E-11D169DE68C7}" presName="hierChild6" presStyleCnt="0"/>
      <dgm:spPr/>
    </dgm:pt>
    <dgm:pt modelId="{A2899B77-B1C6-4B1B-BEE3-B3A6DDC159BC}" type="pres">
      <dgm:prSet presAssocID="{ABC54951-A469-442E-809E-11D169DE68C7}" presName="hierChild7" presStyleCnt="0"/>
      <dgm:spPr/>
    </dgm:pt>
  </dgm:ptLst>
  <dgm:cxnLst>
    <dgm:cxn modelId="{5EDF5124-3342-44F8-8CC7-875540F503CA}" type="presOf" srcId="{32DB1C28-1D3A-4EA1-9663-FD2652591CDD}" destId="{90255B59-C54B-479E-8AC3-CB0DF951AB74}" srcOrd="0" destOrd="0" presId="urn:microsoft.com/office/officeart/2005/8/layout/orgChart1"/>
    <dgm:cxn modelId="{A3D6EC2F-854C-4DA9-B75C-33082C95FA97}" type="presOf" srcId="{7989B899-49F7-4C69-9FF8-058A8D081F7D}" destId="{1642B2DE-3BCB-49AC-B17B-7D331C436F95}" srcOrd="0" destOrd="0" presId="urn:microsoft.com/office/officeart/2005/8/layout/orgChart1"/>
    <dgm:cxn modelId="{26A8D840-600F-4A40-8C27-AC87A21FFA20}" type="presOf" srcId="{FC6E32A7-3D1E-4F63-9662-1E9338647DAF}" destId="{721F69D5-8A86-4D75-A802-71BEA76B01E1}" srcOrd="0" destOrd="0" presId="urn:microsoft.com/office/officeart/2005/8/layout/orgChart1"/>
    <dgm:cxn modelId="{EFAF8886-A9DE-4E50-AFDC-978D21F107C2}" type="presOf" srcId="{FC6E32A7-3D1E-4F63-9662-1E9338647DAF}" destId="{317E2BD5-D69A-489A-BE78-C2D816FCDCC4}" srcOrd="1" destOrd="0" presId="urn:microsoft.com/office/officeart/2005/8/layout/orgChart1"/>
    <dgm:cxn modelId="{32E16496-986E-46E6-9D47-C1C943375021}" srcId="{B3273796-3B56-4B6A-9D6B-EB4AC662625D}" destId="{ABC54951-A469-442E-809E-11D169DE68C7}" srcOrd="1" destOrd="0" parTransId="{7989B899-49F7-4C69-9FF8-058A8D081F7D}" sibTransId="{829EAEE4-1CB8-490B-A1EB-FD0187794FF0}"/>
    <dgm:cxn modelId="{AF2C449F-84F2-4ED2-9B78-1B32A316BD34}" type="presOf" srcId="{ABC54951-A469-442E-809E-11D169DE68C7}" destId="{E53E012C-AD95-4ECA-814B-0AC25CF24440}" srcOrd="1" destOrd="0" presId="urn:microsoft.com/office/officeart/2005/8/layout/orgChart1"/>
    <dgm:cxn modelId="{96762DA3-54FA-46EF-8DD2-D22B5451F43C}" srcId="{32DB1C28-1D3A-4EA1-9663-FD2652591CDD}" destId="{B3273796-3B56-4B6A-9D6B-EB4AC662625D}" srcOrd="0" destOrd="0" parTransId="{AFA0FE32-5B75-4298-B847-61A22A2E9B23}" sibTransId="{4ECDF63A-8DC3-41B3-B2AB-59C11A6E78CF}"/>
    <dgm:cxn modelId="{39DD53B0-C3FC-4DAC-8335-AC57293A1D52}" type="presOf" srcId="{BF28B40C-DFB2-49B4-BD0D-545822E8FAAE}" destId="{D17A66BE-CB8B-47AC-8C8F-0929DD9A79AD}" srcOrd="0" destOrd="0" presId="urn:microsoft.com/office/officeart/2005/8/layout/orgChart1"/>
    <dgm:cxn modelId="{9BE684C4-1049-4971-B7BC-BB60B114F13C}" type="presOf" srcId="{B3273796-3B56-4B6A-9D6B-EB4AC662625D}" destId="{4D1AD3C8-8301-4EC3-9900-7CB629EBB95B}" srcOrd="1" destOrd="0" presId="urn:microsoft.com/office/officeart/2005/8/layout/orgChart1"/>
    <dgm:cxn modelId="{BD431ECA-1D8F-4149-89A4-A2B829A97321}" srcId="{B3273796-3B56-4B6A-9D6B-EB4AC662625D}" destId="{FC6E32A7-3D1E-4F63-9662-1E9338647DAF}" srcOrd="0" destOrd="0" parTransId="{BF28B40C-DFB2-49B4-BD0D-545822E8FAAE}" sibTransId="{A5881811-FC84-4A8A-9F60-DA14D4C8E4F3}"/>
    <dgm:cxn modelId="{E94267D2-DBCF-4962-87E3-5EC385029E27}" type="presOf" srcId="{ABC54951-A469-442E-809E-11D169DE68C7}" destId="{DFA1864D-B2FE-485D-A165-EC885F14CCB3}" srcOrd="0" destOrd="0" presId="urn:microsoft.com/office/officeart/2005/8/layout/orgChart1"/>
    <dgm:cxn modelId="{FE0912D6-5868-48FA-8B4A-31F575C81D7B}" type="presOf" srcId="{B3273796-3B56-4B6A-9D6B-EB4AC662625D}" destId="{3D462A01-3060-4E28-8B49-B07ADD68D5CB}" srcOrd="0" destOrd="0" presId="urn:microsoft.com/office/officeart/2005/8/layout/orgChart1"/>
    <dgm:cxn modelId="{25F9DFE1-E9D4-47B2-8C62-07F2831AD37E}" type="presParOf" srcId="{90255B59-C54B-479E-8AC3-CB0DF951AB74}" destId="{CCC7F1AE-7572-4606-A4D7-FDE3EA91DE7F}" srcOrd="0" destOrd="0" presId="urn:microsoft.com/office/officeart/2005/8/layout/orgChart1"/>
    <dgm:cxn modelId="{509D4BF9-EEE2-4370-A8D6-FCCE89A3AC99}" type="presParOf" srcId="{CCC7F1AE-7572-4606-A4D7-FDE3EA91DE7F}" destId="{96D8C02A-8BA7-449E-BCE6-AE43CB942EF0}" srcOrd="0" destOrd="0" presId="urn:microsoft.com/office/officeart/2005/8/layout/orgChart1"/>
    <dgm:cxn modelId="{8EDF71BD-B3E1-444D-87ED-DFAA0FB8569A}" type="presParOf" srcId="{96D8C02A-8BA7-449E-BCE6-AE43CB942EF0}" destId="{3D462A01-3060-4E28-8B49-B07ADD68D5CB}" srcOrd="0" destOrd="0" presId="urn:microsoft.com/office/officeart/2005/8/layout/orgChart1"/>
    <dgm:cxn modelId="{0300D67E-963E-4474-ADCE-90AB38A36A66}" type="presParOf" srcId="{96D8C02A-8BA7-449E-BCE6-AE43CB942EF0}" destId="{4D1AD3C8-8301-4EC3-9900-7CB629EBB95B}" srcOrd="1" destOrd="0" presId="urn:microsoft.com/office/officeart/2005/8/layout/orgChart1"/>
    <dgm:cxn modelId="{C3CACE1D-A47D-4F92-9E57-81B080527FFF}" type="presParOf" srcId="{CCC7F1AE-7572-4606-A4D7-FDE3EA91DE7F}" destId="{6BF49282-0799-4D37-8DAF-51063F677F5C}" srcOrd="1" destOrd="0" presId="urn:microsoft.com/office/officeart/2005/8/layout/orgChart1"/>
    <dgm:cxn modelId="{87CB856E-9887-482E-AB1B-C714931AB82C}" type="presParOf" srcId="{CCC7F1AE-7572-4606-A4D7-FDE3EA91DE7F}" destId="{C958FF6A-CE53-4F13-83DF-B032864771CE}" srcOrd="2" destOrd="0" presId="urn:microsoft.com/office/officeart/2005/8/layout/orgChart1"/>
    <dgm:cxn modelId="{1AB09065-3C9F-4934-BDEB-4F5F53881687}" type="presParOf" srcId="{C958FF6A-CE53-4F13-83DF-B032864771CE}" destId="{D17A66BE-CB8B-47AC-8C8F-0929DD9A79AD}" srcOrd="0" destOrd="0" presId="urn:microsoft.com/office/officeart/2005/8/layout/orgChart1"/>
    <dgm:cxn modelId="{6058AFFF-9CE3-468B-AA02-A6177A31B3BB}" type="presParOf" srcId="{C958FF6A-CE53-4F13-83DF-B032864771CE}" destId="{816BA81E-1A82-4439-928C-03404E2133AD}" srcOrd="1" destOrd="0" presId="urn:microsoft.com/office/officeart/2005/8/layout/orgChart1"/>
    <dgm:cxn modelId="{30E28EFE-9443-4487-B3F8-AD3D52503C30}" type="presParOf" srcId="{816BA81E-1A82-4439-928C-03404E2133AD}" destId="{8A63FB95-2B78-45AF-BBB9-67CAC4986292}" srcOrd="0" destOrd="0" presId="urn:microsoft.com/office/officeart/2005/8/layout/orgChart1"/>
    <dgm:cxn modelId="{2EAA74E8-4371-464C-B333-46784B0C8006}" type="presParOf" srcId="{8A63FB95-2B78-45AF-BBB9-67CAC4986292}" destId="{721F69D5-8A86-4D75-A802-71BEA76B01E1}" srcOrd="0" destOrd="0" presId="urn:microsoft.com/office/officeart/2005/8/layout/orgChart1"/>
    <dgm:cxn modelId="{959C57D4-1889-431A-86F8-C9E88D4F353D}" type="presParOf" srcId="{8A63FB95-2B78-45AF-BBB9-67CAC4986292}" destId="{317E2BD5-D69A-489A-BE78-C2D816FCDCC4}" srcOrd="1" destOrd="0" presId="urn:microsoft.com/office/officeart/2005/8/layout/orgChart1"/>
    <dgm:cxn modelId="{EC32466E-B180-434F-97A3-338A2F1AE376}" type="presParOf" srcId="{816BA81E-1A82-4439-928C-03404E2133AD}" destId="{DF901D35-2250-4BAD-9EC3-273CA55F7AFC}" srcOrd="1" destOrd="0" presId="urn:microsoft.com/office/officeart/2005/8/layout/orgChart1"/>
    <dgm:cxn modelId="{283E3673-C3A6-4442-8FAE-B35A7CBCC621}" type="presParOf" srcId="{816BA81E-1A82-4439-928C-03404E2133AD}" destId="{A3834A58-9A63-4DF6-8C2E-CF8329A11332}" srcOrd="2" destOrd="0" presId="urn:microsoft.com/office/officeart/2005/8/layout/orgChart1"/>
    <dgm:cxn modelId="{985045FB-DD46-4DA4-BE29-3FDE8EC68348}" type="presParOf" srcId="{C958FF6A-CE53-4F13-83DF-B032864771CE}" destId="{1642B2DE-3BCB-49AC-B17B-7D331C436F95}" srcOrd="2" destOrd="0" presId="urn:microsoft.com/office/officeart/2005/8/layout/orgChart1"/>
    <dgm:cxn modelId="{E16EEE12-098F-403B-ADA7-6020DA1D3295}" type="presParOf" srcId="{C958FF6A-CE53-4F13-83DF-B032864771CE}" destId="{98F4C81A-5541-4ED3-BD57-979770313BFE}" srcOrd="3" destOrd="0" presId="urn:microsoft.com/office/officeart/2005/8/layout/orgChart1"/>
    <dgm:cxn modelId="{FF73BED8-E89A-4D75-A52B-5A39DBB516F3}" type="presParOf" srcId="{98F4C81A-5541-4ED3-BD57-979770313BFE}" destId="{A397D862-F341-4669-B7AA-9F2F598A4E48}" srcOrd="0" destOrd="0" presId="urn:microsoft.com/office/officeart/2005/8/layout/orgChart1"/>
    <dgm:cxn modelId="{D5EEB0EE-FF02-4D44-ACE9-22526B1F384F}" type="presParOf" srcId="{A397D862-F341-4669-B7AA-9F2F598A4E48}" destId="{DFA1864D-B2FE-485D-A165-EC885F14CCB3}" srcOrd="0" destOrd="0" presId="urn:microsoft.com/office/officeart/2005/8/layout/orgChart1"/>
    <dgm:cxn modelId="{37055B92-2D5F-49BA-9089-22323A8401B1}" type="presParOf" srcId="{A397D862-F341-4669-B7AA-9F2F598A4E48}" destId="{E53E012C-AD95-4ECA-814B-0AC25CF24440}" srcOrd="1" destOrd="0" presId="urn:microsoft.com/office/officeart/2005/8/layout/orgChart1"/>
    <dgm:cxn modelId="{57A17BDD-EE7F-4552-80B4-74C3AF7DE5DD}" type="presParOf" srcId="{98F4C81A-5541-4ED3-BD57-979770313BFE}" destId="{864FC488-43FE-4086-A19F-9BDE68BCBB39}" srcOrd="1" destOrd="0" presId="urn:microsoft.com/office/officeart/2005/8/layout/orgChart1"/>
    <dgm:cxn modelId="{25D04F1F-6B6B-4E0A-82D3-933BFCA3C96D}" type="presParOf" srcId="{98F4C81A-5541-4ED3-BD57-979770313BFE}" destId="{A2899B77-B1C6-4B1B-BEE3-B3A6DDC159BC}" srcOrd="2" destOrd="0" presId="urn:microsoft.com/office/officeart/2005/8/layout/orgChart1"/>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2EE659-DE73-4444-B38A-C4385DC5CC97}">
      <dsp:nvSpPr>
        <dsp:cNvPr id="0" name=""/>
        <dsp:cNvSpPr/>
      </dsp:nvSpPr>
      <dsp:spPr>
        <a:xfrm>
          <a:off x="0" y="555664"/>
          <a:ext cx="7848601" cy="102584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9CEC7DA-3A68-4FF3-8ED8-4F5FF7EF713A}">
      <dsp:nvSpPr>
        <dsp:cNvPr id="0" name=""/>
        <dsp:cNvSpPr/>
      </dsp:nvSpPr>
      <dsp:spPr>
        <a:xfrm>
          <a:off x="310317" y="786479"/>
          <a:ext cx="564213" cy="56421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604455D-A819-4228-897F-A39D7FB4ACD1}">
      <dsp:nvSpPr>
        <dsp:cNvPr id="0" name=""/>
        <dsp:cNvSpPr/>
      </dsp:nvSpPr>
      <dsp:spPr>
        <a:xfrm>
          <a:off x="1184848" y="555664"/>
          <a:ext cx="6663752" cy="1025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8568" tIns="108568" rIns="108568" bIns="108568" numCol="1" spcCol="1270" anchor="ctr" anchorCtr="0">
          <a:noAutofit/>
        </a:bodyPr>
        <a:lstStyle/>
        <a:p>
          <a:pPr marL="0" lvl="0" indent="0" algn="l" defTabSz="933450">
            <a:lnSpc>
              <a:spcPct val="100000"/>
            </a:lnSpc>
            <a:spcBef>
              <a:spcPct val="0"/>
            </a:spcBef>
            <a:spcAft>
              <a:spcPct val="35000"/>
            </a:spcAft>
            <a:buNone/>
          </a:pPr>
          <a:r>
            <a:rPr lang="en-US" sz="2100" kern="1200" err="1"/>
            <a:t>Permettre</a:t>
          </a:r>
          <a:r>
            <a:rPr lang="en-US" sz="2100" kern="1200"/>
            <a:t> aux participants de </a:t>
          </a:r>
          <a:r>
            <a:rPr lang="en-US" sz="2100" kern="1200" err="1"/>
            <a:t>mieux</a:t>
          </a:r>
          <a:r>
            <a:rPr lang="en-US" sz="2100" kern="1200"/>
            <a:t> </a:t>
          </a:r>
          <a:r>
            <a:rPr lang="en-US" sz="2100" kern="1200" err="1"/>
            <a:t>comprendre</a:t>
          </a:r>
          <a:r>
            <a:rPr lang="en-US" sz="2100" kern="1200"/>
            <a:t> la </a:t>
          </a:r>
          <a:r>
            <a:rPr lang="en-US" sz="2100" kern="1200" err="1"/>
            <a:t>facturation</a:t>
          </a:r>
          <a:r>
            <a:rPr lang="en-US" sz="2100" kern="1200"/>
            <a:t> des services </a:t>
          </a:r>
          <a:r>
            <a:rPr lang="en-US" sz="2100" kern="1200" err="1"/>
            <a:t>professionnels</a:t>
          </a:r>
          <a:r>
            <a:rPr lang="en-US" sz="2100" kern="1200"/>
            <a:t> </a:t>
          </a:r>
          <a:r>
            <a:rPr lang="en-US" sz="2100" kern="1200" err="1"/>
            <a:t>en</a:t>
          </a:r>
          <a:r>
            <a:rPr lang="en-US" sz="2100" kern="1200"/>
            <a:t> </a:t>
          </a:r>
          <a:r>
            <a:rPr lang="en-US" sz="2100" kern="1200" err="1"/>
            <a:t>pharmacie</a:t>
          </a:r>
          <a:r>
            <a:rPr lang="en-US" sz="2100" kern="1200"/>
            <a:t>.</a:t>
          </a:r>
        </a:p>
      </dsp:txBody>
      <dsp:txXfrm>
        <a:off x="1184848" y="555664"/>
        <a:ext cx="6663752" cy="1025842"/>
      </dsp:txXfrm>
    </dsp:sp>
    <dsp:sp modelId="{40295A74-EBD9-4FEB-9EC1-EDD58AFF4A5D}">
      <dsp:nvSpPr>
        <dsp:cNvPr id="0" name=""/>
        <dsp:cNvSpPr/>
      </dsp:nvSpPr>
      <dsp:spPr>
        <a:xfrm>
          <a:off x="0" y="1837967"/>
          <a:ext cx="7848601" cy="102584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23CD38-9377-4CA0-BB57-E34728DA8874}">
      <dsp:nvSpPr>
        <dsp:cNvPr id="0" name=""/>
        <dsp:cNvSpPr/>
      </dsp:nvSpPr>
      <dsp:spPr>
        <a:xfrm>
          <a:off x="310317" y="2068782"/>
          <a:ext cx="564213" cy="56421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5BB46C6-791C-48C9-B940-A65C1AB25F48}">
      <dsp:nvSpPr>
        <dsp:cNvPr id="0" name=""/>
        <dsp:cNvSpPr/>
      </dsp:nvSpPr>
      <dsp:spPr>
        <a:xfrm>
          <a:off x="1184848" y="1837967"/>
          <a:ext cx="6663752" cy="1025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8568" tIns="108568" rIns="108568" bIns="108568" numCol="1" spcCol="1270" anchor="ctr" anchorCtr="0">
          <a:noAutofit/>
        </a:bodyPr>
        <a:lstStyle/>
        <a:p>
          <a:pPr marL="0" lvl="0" indent="0" algn="l" defTabSz="933450">
            <a:lnSpc>
              <a:spcPct val="100000"/>
            </a:lnSpc>
            <a:spcBef>
              <a:spcPct val="0"/>
            </a:spcBef>
            <a:spcAft>
              <a:spcPct val="35000"/>
            </a:spcAft>
            <a:buNone/>
          </a:pPr>
          <a:r>
            <a:rPr lang="fr-CA" sz="2100" kern="1200"/>
            <a:t>Identifier les situations pouvant mener à une facturation à partir du besoin du patient.</a:t>
          </a:r>
          <a:endParaRPr lang="en-US" sz="2100" kern="1200"/>
        </a:p>
      </dsp:txBody>
      <dsp:txXfrm>
        <a:off x="1184848" y="1837967"/>
        <a:ext cx="6663752" cy="10258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7E1901-2E4D-4D59-A041-60A56FF2498B}">
      <dsp:nvSpPr>
        <dsp:cNvPr id="0" name=""/>
        <dsp:cNvSpPr/>
      </dsp:nvSpPr>
      <dsp:spPr>
        <a:xfrm>
          <a:off x="1196933" y="643491"/>
          <a:ext cx="427603" cy="2549208"/>
        </a:xfrm>
        <a:custGeom>
          <a:avLst/>
          <a:gdLst/>
          <a:ahLst/>
          <a:cxnLst/>
          <a:rect l="0" t="0" r="0" b="0"/>
          <a:pathLst>
            <a:path>
              <a:moveTo>
                <a:pt x="427603" y="0"/>
              </a:moveTo>
              <a:lnTo>
                <a:pt x="427603" y="2549208"/>
              </a:lnTo>
              <a:lnTo>
                <a:pt x="0" y="2549208"/>
              </a:lnTo>
            </a:path>
          </a:pathLst>
        </a:custGeom>
        <a:noFill/>
        <a:ln w="25400" cap="flat" cmpd="sng" algn="ctr">
          <a:solidFill>
            <a:schemeClr val="accent4"/>
          </a:solidFill>
          <a:prstDash val="solid"/>
        </a:ln>
        <a:effectLst/>
      </dsp:spPr>
      <dsp:style>
        <a:lnRef idx="2">
          <a:scrgbClr r="0" g="0" b="0"/>
        </a:lnRef>
        <a:fillRef idx="0">
          <a:scrgbClr r="0" g="0" b="0"/>
        </a:fillRef>
        <a:effectRef idx="0">
          <a:scrgbClr r="0" g="0" b="0"/>
        </a:effectRef>
        <a:fontRef idx="minor"/>
      </dsp:style>
    </dsp:sp>
    <dsp:sp modelId="{01F72531-876C-4665-BAB3-DF123A139550}">
      <dsp:nvSpPr>
        <dsp:cNvPr id="0" name=""/>
        <dsp:cNvSpPr/>
      </dsp:nvSpPr>
      <dsp:spPr>
        <a:xfrm>
          <a:off x="1624536" y="643491"/>
          <a:ext cx="125677" cy="1699388"/>
        </a:xfrm>
        <a:custGeom>
          <a:avLst/>
          <a:gdLst/>
          <a:ahLst/>
          <a:cxnLst/>
          <a:rect l="0" t="0" r="0" b="0"/>
          <a:pathLst>
            <a:path>
              <a:moveTo>
                <a:pt x="0" y="0"/>
              </a:moveTo>
              <a:lnTo>
                <a:pt x="0" y="1699388"/>
              </a:lnTo>
              <a:lnTo>
                <a:pt x="125677" y="1699388"/>
              </a:lnTo>
            </a:path>
          </a:pathLst>
        </a:custGeom>
        <a:noFill/>
        <a:ln w="25400" cap="flat" cmpd="sng" algn="ctr">
          <a:solidFill>
            <a:schemeClr val="accent4"/>
          </a:solidFill>
          <a:prstDash val="solid"/>
        </a:ln>
        <a:effectLst/>
      </dsp:spPr>
      <dsp:style>
        <a:lnRef idx="2">
          <a:scrgbClr r="0" g="0" b="0"/>
        </a:lnRef>
        <a:fillRef idx="0">
          <a:scrgbClr r="0" g="0" b="0"/>
        </a:fillRef>
        <a:effectRef idx="0">
          <a:scrgbClr r="0" g="0" b="0"/>
        </a:effectRef>
        <a:fontRef idx="minor"/>
      </dsp:style>
    </dsp:sp>
    <dsp:sp modelId="{9CF44D85-FADC-45D9-91C7-361C70E0F0A4}">
      <dsp:nvSpPr>
        <dsp:cNvPr id="0" name=""/>
        <dsp:cNvSpPr/>
      </dsp:nvSpPr>
      <dsp:spPr>
        <a:xfrm>
          <a:off x="1196933" y="643491"/>
          <a:ext cx="427603" cy="1699388"/>
        </a:xfrm>
        <a:custGeom>
          <a:avLst/>
          <a:gdLst/>
          <a:ahLst/>
          <a:cxnLst/>
          <a:rect l="0" t="0" r="0" b="0"/>
          <a:pathLst>
            <a:path>
              <a:moveTo>
                <a:pt x="427603" y="0"/>
              </a:moveTo>
              <a:lnTo>
                <a:pt x="427603" y="1699388"/>
              </a:lnTo>
              <a:lnTo>
                <a:pt x="0" y="1699388"/>
              </a:lnTo>
            </a:path>
          </a:pathLst>
        </a:custGeom>
        <a:noFill/>
        <a:ln w="25400" cap="flat" cmpd="sng" algn="ctr">
          <a:solidFill>
            <a:schemeClr val="accent4"/>
          </a:solidFill>
          <a:prstDash val="solid"/>
        </a:ln>
        <a:effectLst/>
      </dsp:spPr>
      <dsp:style>
        <a:lnRef idx="2">
          <a:scrgbClr r="0" g="0" b="0"/>
        </a:lnRef>
        <a:fillRef idx="0">
          <a:scrgbClr r="0" g="0" b="0"/>
        </a:fillRef>
        <a:effectRef idx="0">
          <a:scrgbClr r="0" g="0" b="0"/>
        </a:effectRef>
        <a:fontRef idx="minor"/>
      </dsp:style>
    </dsp:sp>
    <dsp:sp modelId="{D17A66BE-CB8B-47AC-8C8F-0929DD9A79AD}">
      <dsp:nvSpPr>
        <dsp:cNvPr id="0" name=""/>
        <dsp:cNvSpPr/>
      </dsp:nvSpPr>
      <dsp:spPr>
        <a:xfrm>
          <a:off x="1624536" y="643491"/>
          <a:ext cx="125677" cy="621712"/>
        </a:xfrm>
        <a:custGeom>
          <a:avLst/>
          <a:gdLst/>
          <a:ahLst/>
          <a:cxnLst/>
          <a:rect l="0" t="0" r="0" b="0"/>
          <a:pathLst>
            <a:path>
              <a:moveTo>
                <a:pt x="0" y="0"/>
              </a:moveTo>
              <a:lnTo>
                <a:pt x="0" y="621712"/>
              </a:lnTo>
              <a:lnTo>
                <a:pt x="125677" y="621712"/>
              </a:lnTo>
            </a:path>
          </a:pathLst>
        </a:custGeom>
        <a:noFill/>
        <a:ln w="25400" cap="flat" cmpd="sng" algn="ctr">
          <a:solidFill>
            <a:schemeClr val="accent4"/>
          </a:solidFill>
          <a:prstDash val="solid"/>
        </a:ln>
        <a:effectLst/>
      </dsp:spPr>
      <dsp:style>
        <a:lnRef idx="2">
          <a:scrgbClr r="0" g="0" b="0"/>
        </a:lnRef>
        <a:fillRef idx="0">
          <a:scrgbClr r="0" g="0" b="0"/>
        </a:fillRef>
        <a:effectRef idx="0">
          <a:scrgbClr r="0" g="0" b="0"/>
        </a:effectRef>
        <a:fontRef idx="minor"/>
      </dsp:style>
    </dsp:sp>
    <dsp:sp modelId="{8464D183-00BE-471E-A654-94AA8D3EB119}">
      <dsp:nvSpPr>
        <dsp:cNvPr id="0" name=""/>
        <dsp:cNvSpPr/>
      </dsp:nvSpPr>
      <dsp:spPr>
        <a:xfrm>
          <a:off x="1498858" y="643491"/>
          <a:ext cx="125677" cy="700078"/>
        </a:xfrm>
        <a:custGeom>
          <a:avLst/>
          <a:gdLst/>
          <a:ahLst/>
          <a:cxnLst/>
          <a:rect l="0" t="0" r="0" b="0"/>
          <a:pathLst>
            <a:path>
              <a:moveTo>
                <a:pt x="125677" y="0"/>
              </a:moveTo>
              <a:lnTo>
                <a:pt x="125677" y="700078"/>
              </a:lnTo>
              <a:lnTo>
                <a:pt x="0" y="700078"/>
              </a:lnTo>
            </a:path>
          </a:pathLst>
        </a:custGeom>
        <a:noFill/>
        <a:ln w="25400" cap="flat" cmpd="sng" algn="ctr">
          <a:solidFill>
            <a:schemeClr val="accent4"/>
          </a:solidFill>
          <a:prstDash val="solid"/>
        </a:ln>
        <a:effectLst/>
      </dsp:spPr>
      <dsp:style>
        <a:lnRef idx="2">
          <a:scrgbClr r="0" g="0" b="0"/>
        </a:lnRef>
        <a:fillRef idx="0">
          <a:scrgbClr r="0" g="0" b="0"/>
        </a:fillRef>
        <a:effectRef idx="0">
          <a:scrgbClr r="0" g="0" b="0"/>
        </a:effectRef>
        <a:fontRef idx="minor"/>
      </dsp:style>
    </dsp:sp>
    <dsp:sp modelId="{3D462A01-3060-4E28-8B49-B07ADD68D5CB}">
      <dsp:nvSpPr>
        <dsp:cNvPr id="0" name=""/>
        <dsp:cNvSpPr/>
      </dsp:nvSpPr>
      <dsp:spPr>
        <a:xfrm>
          <a:off x="816441" y="45027"/>
          <a:ext cx="1616189" cy="598464"/>
        </a:xfrm>
        <a:prstGeom prst="rect">
          <a:avLst/>
        </a:prstGeom>
        <a:solidFill>
          <a:schemeClr val="bg1"/>
        </a:solidFill>
        <a:ln w="25400"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fr-CA" sz="2000" b="1" u="none" kern="1200">
              <a:solidFill>
                <a:schemeClr val="accent4"/>
              </a:solidFill>
              <a:latin typeface="Arial"/>
              <a:cs typeface="Arial"/>
            </a:rPr>
            <a:t>Partenariat</a:t>
          </a:r>
          <a:r>
            <a:rPr lang="fr-CA" sz="1800" b="1" u="none" kern="1200">
              <a:solidFill>
                <a:schemeClr val="accent4"/>
              </a:solidFill>
              <a:latin typeface="Arial"/>
              <a:cs typeface="Arial"/>
            </a:rPr>
            <a:t> fédéral</a:t>
          </a:r>
        </a:p>
      </dsp:txBody>
      <dsp:txXfrm>
        <a:off x="816441" y="45027"/>
        <a:ext cx="1616189" cy="598464"/>
      </dsp:txXfrm>
    </dsp:sp>
    <dsp:sp modelId="{23B01CB5-D387-4742-8B41-C55CF53CDEFE}">
      <dsp:nvSpPr>
        <dsp:cNvPr id="0" name=""/>
        <dsp:cNvSpPr/>
      </dsp:nvSpPr>
      <dsp:spPr>
        <a:xfrm>
          <a:off x="3" y="894847"/>
          <a:ext cx="1498854" cy="897445"/>
        </a:xfrm>
        <a:prstGeom prst="rect">
          <a:avLst/>
        </a:prstGeom>
        <a:solidFill>
          <a:schemeClr val="bg1"/>
        </a:solidFill>
        <a:ln w="25400"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fr-CA" sz="2000" kern="1200">
              <a:solidFill>
                <a:schemeClr val="accent4"/>
              </a:solidFill>
              <a:latin typeface="Arial"/>
              <a:cs typeface="Arial"/>
            </a:rPr>
            <a:t>Anciens Combattants</a:t>
          </a:r>
        </a:p>
      </dsp:txBody>
      <dsp:txXfrm>
        <a:off x="3" y="894847"/>
        <a:ext cx="1498854" cy="897445"/>
      </dsp:txXfrm>
    </dsp:sp>
    <dsp:sp modelId="{721F69D5-8A86-4D75-A802-71BEA76B01E1}">
      <dsp:nvSpPr>
        <dsp:cNvPr id="0" name=""/>
        <dsp:cNvSpPr/>
      </dsp:nvSpPr>
      <dsp:spPr>
        <a:xfrm>
          <a:off x="1750213" y="894847"/>
          <a:ext cx="1636741" cy="740713"/>
        </a:xfrm>
        <a:prstGeom prst="rect">
          <a:avLst/>
        </a:prstGeom>
        <a:solidFill>
          <a:schemeClr val="bg1"/>
        </a:solidFill>
        <a:ln w="25400"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fr-CA" sz="2000" kern="1200">
              <a:solidFill>
                <a:schemeClr val="accent4"/>
              </a:solidFill>
              <a:latin typeface="Arial"/>
              <a:cs typeface="Arial"/>
            </a:rPr>
            <a:t>Services aux Autochtones</a:t>
          </a:r>
          <a:endParaRPr lang="fr-CA" sz="4000" kern="1200">
            <a:solidFill>
              <a:schemeClr val="accent4"/>
            </a:solidFill>
            <a:latin typeface="Arial"/>
            <a:cs typeface="Arial"/>
          </a:endParaRPr>
        </a:p>
      </dsp:txBody>
      <dsp:txXfrm>
        <a:off x="1750213" y="894847"/>
        <a:ext cx="1636741" cy="740713"/>
      </dsp:txXfrm>
    </dsp:sp>
    <dsp:sp modelId="{67A9B026-D2FE-4301-AF9D-D5AABF8EA64B}">
      <dsp:nvSpPr>
        <dsp:cNvPr id="0" name=""/>
        <dsp:cNvSpPr/>
      </dsp:nvSpPr>
      <dsp:spPr>
        <a:xfrm>
          <a:off x="3" y="2043648"/>
          <a:ext cx="1196929" cy="598464"/>
        </a:xfrm>
        <a:prstGeom prst="rect">
          <a:avLst/>
        </a:prstGeom>
        <a:solidFill>
          <a:schemeClr val="bg1"/>
        </a:solidFill>
        <a:ln w="25400"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fr-CA" sz="2000" kern="1200">
              <a:solidFill>
                <a:schemeClr val="accent4"/>
              </a:solidFill>
              <a:latin typeface="Arial"/>
              <a:cs typeface="Arial"/>
            </a:rPr>
            <a:t>GRC</a:t>
          </a:r>
        </a:p>
      </dsp:txBody>
      <dsp:txXfrm>
        <a:off x="3" y="2043648"/>
        <a:ext cx="1196929" cy="598464"/>
      </dsp:txXfrm>
    </dsp:sp>
    <dsp:sp modelId="{DED1F959-3207-455D-9F15-22FC26279807}">
      <dsp:nvSpPr>
        <dsp:cNvPr id="0" name=""/>
        <dsp:cNvSpPr/>
      </dsp:nvSpPr>
      <dsp:spPr>
        <a:xfrm>
          <a:off x="1750213" y="2043648"/>
          <a:ext cx="1196929" cy="598464"/>
        </a:xfrm>
        <a:prstGeom prst="rect">
          <a:avLst/>
        </a:prstGeom>
        <a:solidFill>
          <a:schemeClr val="bg1"/>
        </a:solidFill>
        <a:ln w="25400"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fr-CA" sz="2000" kern="1200">
              <a:solidFill>
                <a:schemeClr val="accent4"/>
              </a:solidFill>
              <a:latin typeface="Arial" panose="020B0604020202020204" pitchFamily="34" charset="0"/>
              <a:cs typeface="Arial" panose="020B0604020202020204" pitchFamily="34" charset="0"/>
            </a:rPr>
            <a:t>Défense nationale</a:t>
          </a:r>
        </a:p>
      </dsp:txBody>
      <dsp:txXfrm>
        <a:off x="1750213" y="2043648"/>
        <a:ext cx="1196929" cy="598464"/>
      </dsp:txXfrm>
    </dsp:sp>
    <dsp:sp modelId="{A5611738-DFC9-47A7-82B7-6BEC818C5BFC}">
      <dsp:nvSpPr>
        <dsp:cNvPr id="0" name=""/>
        <dsp:cNvSpPr/>
      </dsp:nvSpPr>
      <dsp:spPr>
        <a:xfrm>
          <a:off x="3" y="2893468"/>
          <a:ext cx="1196929" cy="598464"/>
        </a:xfrm>
        <a:prstGeom prst="rect">
          <a:avLst/>
        </a:prstGeom>
        <a:solidFill>
          <a:schemeClr val="bg1"/>
        </a:solidFill>
        <a:ln w="25400"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fr-CA" sz="2000" kern="1200">
              <a:solidFill>
                <a:schemeClr val="accent4"/>
              </a:solidFill>
              <a:latin typeface="Arial" panose="020B0604020202020204" pitchFamily="34" charset="0"/>
              <a:cs typeface="Arial" panose="020B0604020202020204" pitchFamily="34" charset="0"/>
            </a:rPr>
            <a:t>Refugiés</a:t>
          </a:r>
        </a:p>
      </dsp:txBody>
      <dsp:txXfrm>
        <a:off x="3" y="2893468"/>
        <a:ext cx="1196929" cy="5984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2B2DE-3BCB-49AC-B17B-7D331C436F95}">
      <dsp:nvSpPr>
        <dsp:cNvPr id="0" name=""/>
        <dsp:cNvSpPr/>
      </dsp:nvSpPr>
      <dsp:spPr>
        <a:xfrm>
          <a:off x="1934654" y="1082957"/>
          <a:ext cx="137832" cy="603839"/>
        </a:xfrm>
        <a:custGeom>
          <a:avLst/>
          <a:gdLst/>
          <a:ahLst/>
          <a:cxnLst/>
          <a:rect l="0" t="0" r="0" b="0"/>
          <a:pathLst>
            <a:path>
              <a:moveTo>
                <a:pt x="0" y="0"/>
              </a:moveTo>
              <a:lnTo>
                <a:pt x="0" y="603839"/>
              </a:lnTo>
              <a:lnTo>
                <a:pt x="137832" y="603839"/>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17A66BE-CB8B-47AC-8C8F-0929DD9A79AD}">
      <dsp:nvSpPr>
        <dsp:cNvPr id="0" name=""/>
        <dsp:cNvSpPr/>
      </dsp:nvSpPr>
      <dsp:spPr>
        <a:xfrm>
          <a:off x="1796821" y="1082957"/>
          <a:ext cx="137832" cy="681843"/>
        </a:xfrm>
        <a:custGeom>
          <a:avLst/>
          <a:gdLst/>
          <a:ahLst/>
          <a:cxnLst/>
          <a:rect l="0" t="0" r="0" b="0"/>
          <a:pathLst>
            <a:path>
              <a:moveTo>
                <a:pt x="137832" y="0"/>
              </a:moveTo>
              <a:lnTo>
                <a:pt x="137832" y="681843"/>
              </a:lnTo>
              <a:lnTo>
                <a:pt x="0" y="681843"/>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462A01-3060-4E28-8B49-B07ADD68D5CB}">
      <dsp:nvSpPr>
        <dsp:cNvPr id="0" name=""/>
        <dsp:cNvSpPr/>
      </dsp:nvSpPr>
      <dsp:spPr>
        <a:xfrm>
          <a:off x="1048401" y="426610"/>
          <a:ext cx="1772505" cy="656347"/>
        </a:xfrm>
        <a:prstGeom prst="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fr-CA" sz="2000" b="1" u="none" kern="1200">
              <a:solidFill>
                <a:schemeClr val="accent3"/>
              </a:solidFill>
              <a:latin typeface="Arial" panose="020B0604020202020204" pitchFamily="34" charset="0"/>
              <a:cs typeface="Arial" panose="020B0604020202020204" pitchFamily="34" charset="0"/>
            </a:rPr>
            <a:t>Couverture particulière</a:t>
          </a:r>
          <a:endParaRPr lang="fr-CA" sz="1800" b="1" u="none" kern="1200">
            <a:solidFill>
              <a:schemeClr val="accent3"/>
            </a:solidFill>
            <a:latin typeface="Arial" panose="020B0604020202020204" pitchFamily="34" charset="0"/>
            <a:cs typeface="Arial" panose="020B0604020202020204" pitchFamily="34" charset="0"/>
          </a:endParaRPr>
        </a:p>
      </dsp:txBody>
      <dsp:txXfrm>
        <a:off x="1048401" y="426610"/>
        <a:ext cx="1772505" cy="656347"/>
      </dsp:txXfrm>
    </dsp:sp>
    <dsp:sp modelId="{721F69D5-8A86-4D75-A802-71BEA76B01E1}">
      <dsp:nvSpPr>
        <dsp:cNvPr id="0" name=""/>
        <dsp:cNvSpPr/>
      </dsp:nvSpPr>
      <dsp:spPr>
        <a:xfrm>
          <a:off x="1777" y="1358623"/>
          <a:ext cx="1795044" cy="812354"/>
        </a:xfrm>
        <a:prstGeom prst="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accent3"/>
              </a:solidFill>
              <a:latin typeface="Arial" panose="020B0604020202020204" pitchFamily="34" charset="0"/>
              <a:cs typeface="Arial" panose="020B0604020202020204" pitchFamily="34" charset="0"/>
            </a:rPr>
            <a:t>CNESST</a:t>
          </a:r>
          <a:endParaRPr lang="fr-CA" sz="2000" kern="1200">
            <a:solidFill>
              <a:schemeClr val="accent3"/>
            </a:solidFill>
            <a:latin typeface="Arial" panose="020B0604020202020204" pitchFamily="34" charset="0"/>
            <a:cs typeface="Arial" panose="020B0604020202020204" pitchFamily="34" charset="0"/>
          </a:endParaRPr>
        </a:p>
      </dsp:txBody>
      <dsp:txXfrm>
        <a:off x="1777" y="1358623"/>
        <a:ext cx="1795044" cy="812354"/>
      </dsp:txXfrm>
    </dsp:sp>
    <dsp:sp modelId="{DFA1864D-B2FE-485D-A165-EC885F14CCB3}">
      <dsp:nvSpPr>
        <dsp:cNvPr id="0" name=""/>
        <dsp:cNvSpPr/>
      </dsp:nvSpPr>
      <dsp:spPr>
        <a:xfrm>
          <a:off x="2072487" y="1358623"/>
          <a:ext cx="1312694" cy="656347"/>
        </a:xfrm>
        <a:prstGeom prst="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accent3"/>
              </a:solidFill>
              <a:latin typeface="Arial" panose="020B0604020202020204" pitchFamily="34" charset="0"/>
              <a:cs typeface="Arial" panose="020B0604020202020204" pitchFamily="34" charset="0"/>
            </a:rPr>
            <a:t>SAAQ</a:t>
          </a:r>
          <a:endParaRPr lang="fr-CA" sz="2000" kern="1200">
            <a:solidFill>
              <a:schemeClr val="accent3"/>
            </a:solidFill>
            <a:latin typeface="Arial" panose="020B0604020202020204" pitchFamily="34" charset="0"/>
            <a:cs typeface="Arial" panose="020B0604020202020204" pitchFamily="34" charset="0"/>
          </a:endParaRPr>
        </a:p>
      </dsp:txBody>
      <dsp:txXfrm>
        <a:off x="2072487" y="1358623"/>
        <a:ext cx="1312694" cy="656347"/>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C21A5A5D-FCCD-9A26-9440-B00E3AE5BC1F}"/>
              </a:ext>
            </a:extLst>
          </p:cNvPr>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fr-CA"/>
          </a:p>
        </p:txBody>
      </p:sp>
      <p:sp>
        <p:nvSpPr>
          <p:cNvPr id="3" name="Espace réservé de la date 2">
            <a:extLst>
              <a:ext uri="{FF2B5EF4-FFF2-40B4-BE49-F238E27FC236}">
                <a16:creationId xmlns:a16="http://schemas.microsoft.com/office/drawing/2014/main" id="{51557BF4-BF32-0DD8-7479-03C5294DC66E}"/>
              </a:ext>
            </a:extLst>
          </p:cNvPr>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F377AC74-7BD3-472D-95C0-D918928838CB}" type="datetimeFigureOut">
              <a:rPr lang="fr-CA" smtClean="0"/>
              <a:t>2025-10-14</a:t>
            </a:fld>
            <a:endParaRPr lang="fr-CA"/>
          </a:p>
        </p:txBody>
      </p:sp>
      <p:sp>
        <p:nvSpPr>
          <p:cNvPr id="4" name="Espace réservé du pied de page 3">
            <a:extLst>
              <a:ext uri="{FF2B5EF4-FFF2-40B4-BE49-F238E27FC236}">
                <a16:creationId xmlns:a16="http://schemas.microsoft.com/office/drawing/2014/main" id="{C72ECB7F-1B3F-319D-EAC6-2015A7B8F937}"/>
              </a:ext>
            </a:extLst>
          </p:cNvPr>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fr-CA"/>
          </a:p>
        </p:txBody>
      </p:sp>
      <p:sp>
        <p:nvSpPr>
          <p:cNvPr id="5" name="Espace réservé du numéro de diapositive 4">
            <a:extLst>
              <a:ext uri="{FF2B5EF4-FFF2-40B4-BE49-F238E27FC236}">
                <a16:creationId xmlns:a16="http://schemas.microsoft.com/office/drawing/2014/main" id="{2938165B-8FDD-A537-68DE-95AB8B88BFC7}"/>
              </a:ext>
            </a:extLst>
          </p:cNvPr>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9D097459-0FA4-4F91-8150-7477ADFFC900}" type="slidenum">
              <a:rPr lang="fr-CA" smtClean="0"/>
              <a:t>‹n°›</a:t>
            </a:fld>
            <a:endParaRPr lang="fr-CA"/>
          </a:p>
        </p:txBody>
      </p:sp>
    </p:spTree>
    <p:extLst>
      <p:ext uri="{BB962C8B-B14F-4D97-AF65-F5344CB8AC3E}">
        <p14:creationId xmlns:p14="http://schemas.microsoft.com/office/powerpoint/2010/main" val="17556822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A16EBCD0-F350-BA46-B703-8D359020DC66}" type="datetimeFigureOut">
              <a:t>14/10/2025</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0537748E-770F-684E-B745-0B2EC44ABB4F}" type="slidenum">
              <a:t>‹n°›</a:t>
            </a:fld>
            <a:endParaRPr lang="en-US"/>
          </a:p>
        </p:txBody>
      </p:sp>
    </p:spTree>
    <p:extLst>
      <p:ext uri="{BB962C8B-B14F-4D97-AF65-F5344CB8AC3E}">
        <p14:creationId xmlns:p14="http://schemas.microsoft.com/office/powerpoint/2010/main" val="3696901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8" Type="http://schemas.openxmlformats.org/officeDocument/2006/relationships/hyperlink" Target="https://publications.msss.gouv.qc.ca/msss/fichiers/2021/21-947-05W.pdf#:~:text=Environ%20les%20deux%20tiers%20des%20personnes%20vivant%20avec,le%20vieillissement%20et%20la%20douleur%20chronique%20%C3%A9tait%20document%C3%A9." TargetMode="External"/><Relationship Id="rId3" Type="http://schemas.openxmlformats.org/officeDocument/2006/relationships/hyperlink" Target="https://www.inspq.qc.ca/indicateur/maladies-chroniques/hypertension-arterielle" TargetMode="External"/><Relationship Id="rId7" Type="http://schemas.openxmlformats.org/officeDocument/2006/relationships/hyperlink" Target="https://www150.statcan.gc.ca/n1/fr/pub/82-003-x/2014006/article/14033-fra.pdf?st=l9SsOdpW"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www.inspq.qc.ca/indicateur/maladies-chroniques/prevalence-diabete" TargetMode="External"/><Relationship Id="rId5" Type="http://schemas.openxmlformats.org/officeDocument/2006/relationships/hyperlink" Target="https://www.cfp.ca/content/66/3/189" TargetMode="External"/><Relationship Id="rId10" Type="http://schemas.openxmlformats.org/officeDocument/2006/relationships/hyperlink" Target="https://www.inspq.qc.ca/indicateur/maladies-chroniques/prevalence-mpoc" TargetMode="External"/><Relationship Id="rId4" Type="http://schemas.openxmlformats.org/officeDocument/2006/relationships/hyperlink" Target="https://www.cfp.ca/content/cfp/70/3/187.full.pdf" TargetMode="External"/><Relationship Id="rId9" Type="http://schemas.openxmlformats.org/officeDocument/2006/relationships/hyperlink" Target="https://www.msss.gouv.qc.ca/professionnels/statistiques-donnees-sante-bien-etre/statistiques-de-sante-et-de-bien-etre-selon-le-sexe-volet-national/taux-de-prevalence-de-l-asthme/"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1</a:t>
            </a:fld>
            <a:endParaRPr lang="fr-CA"/>
          </a:p>
        </p:txBody>
      </p:sp>
    </p:spTree>
    <p:extLst>
      <p:ext uri="{BB962C8B-B14F-4D97-AF65-F5344CB8AC3E}">
        <p14:creationId xmlns:p14="http://schemas.microsoft.com/office/powerpoint/2010/main" val="34012978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D’autres professionnels qui gravitent autour du patient interagissent avec le pharmacien. Certaines de ces interactions constituent des activités rémunérées</a:t>
            </a:r>
          </a:p>
          <a:p>
            <a:r>
              <a:rPr lang="fr-CA" dirty="0"/>
              <a:t>Demander à main lever qui a fait une demande de consultation dans la dernière semaine, mois , AMJ: 9402 environ 5 par pharmacie 1,6 par mois….mais seulement 74% des pharmacies en ont fait</a:t>
            </a:r>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14</a:t>
            </a:fld>
            <a:endParaRPr lang="fr-CA"/>
          </a:p>
        </p:txBody>
      </p:sp>
    </p:spTree>
    <p:extLst>
      <p:ext uri="{BB962C8B-B14F-4D97-AF65-F5344CB8AC3E}">
        <p14:creationId xmlns:p14="http://schemas.microsoft.com/office/powerpoint/2010/main" val="1979475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Liste exhaustive</a:t>
            </a:r>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15</a:t>
            </a:fld>
            <a:endParaRPr lang="fr-CA"/>
          </a:p>
        </p:txBody>
      </p:sp>
    </p:spTree>
    <p:extLst>
      <p:ext uri="{BB962C8B-B14F-4D97-AF65-F5344CB8AC3E}">
        <p14:creationId xmlns:p14="http://schemas.microsoft.com/office/powerpoint/2010/main" val="1668259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i="1" dirty="0"/>
              <a:t>Une fois l’</a:t>
            </a:r>
            <a:r>
              <a:rPr lang="fr-CA" b="1" i="1" dirty="0">
                <a:solidFill>
                  <a:schemeClr val="accent1"/>
                </a:solidFill>
              </a:rPr>
              <a:t>accord obtenu</a:t>
            </a:r>
            <a:r>
              <a:rPr lang="fr-CA" i="1" dirty="0"/>
              <a:t>, le pharmacien peut aussi facturer la modification de la thérapie médicamenteuse</a:t>
            </a:r>
          </a:p>
          <a:p>
            <a:r>
              <a:rPr lang="fr-CA" i="0" dirty="0"/>
              <a:t>Ce propos serait à nuancer verbalement. Il est vrai si le médecin répond seulement ‘’oui’’ ou ‘’ok’’ sans instructions/prescription. Toutefois, si le MD répond ok en prescrivant la modification suggérée, le pharmacien ne peut pas facturer sa modification de la thérapie.</a:t>
            </a:r>
          </a:p>
          <a:p>
            <a:endParaRPr lang="fr-CA" i="0" dirty="0"/>
          </a:p>
          <a:p>
            <a:r>
              <a:rPr lang="fr-CA" i="0" dirty="0"/>
              <a:t>Il serait aussi intéressant d’apporter verbalement le fait que c’est une exception dans l’entente. C’est le seul moment que la R38 est facturable même si le pharmacien n’a pas procédé de manière 100% autonome (échange avec MD et attend son accord). </a:t>
            </a:r>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17</a:t>
            </a:fld>
            <a:endParaRPr lang="fr-CA"/>
          </a:p>
        </p:txBody>
      </p:sp>
    </p:spTree>
    <p:extLst>
      <p:ext uri="{BB962C8B-B14F-4D97-AF65-F5344CB8AC3E}">
        <p14:creationId xmlns:p14="http://schemas.microsoft.com/office/powerpoint/2010/main" val="2603150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Un patient asymptomatique en bonne santé peut bénéficier des services cliniques en pharmacie, par exemple les voyageurs.</a:t>
            </a:r>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18</a:t>
            </a:fld>
            <a:endParaRPr lang="fr-CA"/>
          </a:p>
        </p:txBody>
      </p:sp>
    </p:spTree>
    <p:extLst>
      <p:ext uri="{BB962C8B-B14F-4D97-AF65-F5344CB8AC3E}">
        <p14:creationId xmlns:p14="http://schemas.microsoft.com/office/powerpoint/2010/main" val="2626776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Les patients qui se présentent avec un problème de santé aigu peuvent aussi bénéficier des services cliniques en pharmacie, par exemple les familles</a:t>
            </a:r>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19</a:t>
            </a:fld>
            <a:endParaRPr lang="fr-CA"/>
          </a:p>
        </p:txBody>
      </p:sp>
    </p:spTree>
    <p:extLst>
      <p:ext uri="{BB962C8B-B14F-4D97-AF65-F5344CB8AC3E}">
        <p14:creationId xmlns:p14="http://schemas.microsoft.com/office/powerpoint/2010/main" val="1025471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Ce sont des situations fréquentes alors l’équipe du labo devrait être formée pour les reconnaître facilement</a:t>
            </a:r>
          </a:p>
          <a:p>
            <a:r>
              <a:rPr lang="fr-CA" sz="1200" kern="1200" dirty="0">
                <a:solidFill>
                  <a:schemeClr val="tx1"/>
                </a:solidFill>
                <a:effectLst/>
                <a:latin typeface="+mn-lt"/>
                <a:ea typeface="+mn-ea"/>
                <a:cs typeface="+mn-cs"/>
              </a:rPr>
              <a:t>5 critères : </a:t>
            </a:r>
          </a:p>
          <a:p>
            <a:pPr lvl="0"/>
            <a:r>
              <a:rPr lang="fr-CA" sz="1200" kern="1200" dirty="0">
                <a:solidFill>
                  <a:schemeClr val="tx1"/>
                </a:solidFill>
                <a:effectLst/>
                <a:latin typeface="+mn-lt"/>
                <a:ea typeface="+mn-ea"/>
                <a:cs typeface="+mn-cs"/>
              </a:rPr>
              <a:t>A une prévalence élevée dans la clientèle habituellement desservie par le pharmacien;</a:t>
            </a:r>
          </a:p>
          <a:p>
            <a:pPr lvl="0"/>
            <a:r>
              <a:rPr lang="fr-CA" sz="1200" kern="1200" dirty="0">
                <a:solidFill>
                  <a:schemeClr val="tx1"/>
                </a:solidFill>
                <a:effectLst/>
                <a:latin typeface="+mn-lt"/>
                <a:ea typeface="+mn-ea"/>
                <a:cs typeface="+mn-cs"/>
              </a:rPr>
              <a:t>Présente des signes et symptômes qui sont facilement identifiables, évaluables et typiques;</a:t>
            </a:r>
          </a:p>
          <a:p>
            <a:pPr lvl="0"/>
            <a:r>
              <a:rPr lang="fr-CA" sz="1200" kern="1200" dirty="0">
                <a:solidFill>
                  <a:schemeClr val="tx1"/>
                </a:solidFill>
                <a:effectLst/>
                <a:latin typeface="+mn-lt"/>
                <a:ea typeface="+mn-ea"/>
                <a:cs typeface="+mn-cs"/>
              </a:rPr>
              <a:t>Évolue habituellement rapidement et favorablement avec un suivi et un traitement limité dans le temps;</a:t>
            </a:r>
          </a:p>
          <a:p>
            <a:pPr lvl="0"/>
            <a:r>
              <a:rPr lang="fr-CA" sz="1200" kern="1200" dirty="0">
                <a:solidFill>
                  <a:schemeClr val="tx1"/>
                </a:solidFill>
                <a:effectLst/>
                <a:latin typeface="+mn-lt"/>
                <a:ea typeface="+mn-ea"/>
                <a:cs typeface="+mn-cs"/>
              </a:rPr>
              <a:t>Survient chez une personne dont l'état général est stable; et</a:t>
            </a:r>
          </a:p>
          <a:p>
            <a:pPr lvl="0"/>
            <a:r>
              <a:rPr lang="fr-CA" sz="1200" kern="1200" dirty="0">
                <a:solidFill>
                  <a:schemeClr val="tx1"/>
                </a:solidFill>
                <a:effectLst/>
                <a:latin typeface="+mn-lt"/>
                <a:ea typeface="+mn-ea"/>
                <a:cs typeface="+mn-cs"/>
              </a:rPr>
              <a:t>Comporte un risque de préjudice faible pour le patient.</a:t>
            </a:r>
          </a:p>
          <a:p>
            <a:r>
              <a:rPr lang="fr-CA" sz="1200" kern="1200" dirty="0">
                <a:solidFill>
                  <a:schemeClr val="tx1"/>
                </a:solidFill>
                <a:effectLst/>
                <a:latin typeface="+mn-lt"/>
                <a:ea typeface="+mn-ea"/>
                <a:cs typeface="+mn-cs"/>
              </a:rPr>
              <a:t>Bref, c’est fréquent, c’est typique et facilement évaluable, ça évolue rapidement bien, c’est chez des patients stables, et le risque de préjudice est faible.</a:t>
            </a:r>
          </a:p>
          <a:p>
            <a:r>
              <a:rPr lang="fr-CA" sz="1200" kern="1200" dirty="0">
                <a:solidFill>
                  <a:schemeClr val="tx1"/>
                </a:solidFill>
                <a:effectLst/>
                <a:latin typeface="+mn-lt"/>
                <a:ea typeface="+mn-ea"/>
                <a:cs typeface="+mn-cs"/>
              </a:rPr>
              <a:t>Dans ce contexte-là, la pertinence, c’est évaluer si une intervention pharmaceutique est justifiée, utile et sécuritaire. </a:t>
            </a:r>
          </a:p>
          <a:p>
            <a:r>
              <a:rPr lang="fr-CA" sz="1200" kern="1200" dirty="0">
                <a:solidFill>
                  <a:schemeClr val="tx1"/>
                </a:solidFill>
                <a:effectLst/>
                <a:latin typeface="+mn-lt"/>
                <a:ea typeface="+mn-ea"/>
                <a:cs typeface="+mn-cs"/>
              </a:rPr>
              <a:t>Ça repose sur notre jugement professionnel : est-ce que cette prescription ou ce conseil sert d’abord le patient ? Est-ce qu’elle améliore l’accès aux soins ? Est-ce qu’elle évite une consultation inutile en première ligne ou simplifie le parcours de soins ? Et surtout, est-ce qu’on est compétent pour le faire et c’est dans notre champ de pratique ?</a:t>
            </a:r>
          </a:p>
          <a:p>
            <a:r>
              <a:rPr lang="fr-CA" sz="1200" kern="1200" dirty="0">
                <a:solidFill>
                  <a:schemeClr val="tx1"/>
                </a:solidFill>
                <a:effectLst/>
                <a:latin typeface="+mn-lt"/>
                <a:ea typeface="+mn-ea"/>
                <a:cs typeface="+mn-cs"/>
              </a:rPr>
              <a:t>Dans le fond, la pertinence des soins, c’est agir quand on est compétent, quand c’est utile pour le patient et le système, et quand ça s’inscrit pleinement dans les activités réservées aux pharmaciens.</a:t>
            </a:r>
          </a:p>
          <a:p>
            <a:endParaRPr lang="fr-CA" dirty="0"/>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20</a:t>
            </a:fld>
            <a:endParaRPr lang="fr-CA"/>
          </a:p>
        </p:txBody>
      </p:sp>
    </p:spTree>
    <p:extLst>
      <p:ext uri="{BB962C8B-B14F-4D97-AF65-F5344CB8AC3E}">
        <p14:creationId xmlns:p14="http://schemas.microsoft.com/office/powerpoint/2010/main" val="22790962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21</a:t>
            </a:fld>
            <a:endParaRPr lang="fr-CA"/>
          </a:p>
        </p:txBody>
      </p:sp>
    </p:spTree>
    <p:extLst>
      <p:ext uri="{BB962C8B-B14F-4D97-AF65-F5344CB8AC3E}">
        <p14:creationId xmlns:p14="http://schemas.microsoft.com/office/powerpoint/2010/main" val="10858169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Les patients avec une condition chronique diagnostiquée ont souvent des besoins plus complexes et peuvent bénéficier encore plus des services en pharmacie</a:t>
            </a:r>
          </a:p>
          <a:p>
            <a:r>
              <a:rPr lang="fr-CA"/>
              <a:t>*animation*</a:t>
            </a:r>
          </a:p>
          <a:p>
            <a:r>
              <a:rPr lang="fr-CA"/>
              <a:t>notamment les patients qui ont besoin de supervision pour un TUO</a:t>
            </a:r>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22</a:t>
            </a:fld>
            <a:endParaRPr lang="fr-CA"/>
          </a:p>
        </p:txBody>
      </p:sp>
    </p:spTree>
    <p:extLst>
      <p:ext uri="{BB962C8B-B14F-4D97-AF65-F5344CB8AC3E}">
        <p14:creationId xmlns:p14="http://schemas.microsoft.com/office/powerpoint/2010/main" val="738360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A76B2-A76E-05CA-F445-1785BBBE4BB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F7C8646-97F9-7220-BB40-9D611A53976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A0775C0-16E2-D2C5-94D8-992739F43E88}"/>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FE83EBED-7695-2331-D957-9EC63D03AB06}"/>
              </a:ext>
            </a:extLst>
          </p:cNvPr>
          <p:cNvSpPr>
            <a:spLocks noGrp="1"/>
          </p:cNvSpPr>
          <p:nvPr>
            <p:ph type="sldNum" sz="quarter" idx="5"/>
          </p:nvPr>
        </p:nvSpPr>
        <p:spPr/>
        <p:txBody>
          <a:bodyPr/>
          <a:lstStyle/>
          <a:p>
            <a:fld id="{0537748E-770F-684E-B745-0B2EC44ABB4F}" type="slidenum">
              <a:rPr lang="fr-CA" smtClean="0"/>
              <a:t>23</a:t>
            </a:fld>
            <a:endParaRPr lang="fr-CA"/>
          </a:p>
        </p:txBody>
      </p:sp>
    </p:spTree>
    <p:extLst>
      <p:ext uri="{BB962C8B-B14F-4D97-AF65-F5344CB8AC3E}">
        <p14:creationId xmlns:p14="http://schemas.microsoft.com/office/powerpoint/2010/main" val="35846389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54642-8ED0-88A2-E195-145E3C17FCF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C44EA77-AA25-8BE0-6D27-2D26A9585D1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7528BF6-FC33-1855-52C5-9B91BC182C07}"/>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47402944-4C97-E39A-90A7-B9BC5453EFB1}"/>
              </a:ext>
            </a:extLst>
          </p:cNvPr>
          <p:cNvSpPr>
            <a:spLocks noGrp="1"/>
          </p:cNvSpPr>
          <p:nvPr>
            <p:ph type="sldNum" sz="quarter" idx="5"/>
          </p:nvPr>
        </p:nvSpPr>
        <p:spPr/>
        <p:txBody>
          <a:bodyPr/>
          <a:lstStyle/>
          <a:p>
            <a:fld id="{0537748E-770F-684E-B745-0B2EC44ABB4F}" type="slidenum">
              <a:rPr lang="fr-CA" smtClean="0"/>
              <a:t>24</a:t>
            </a:fld>
            <a:endParaRPr lang="fr-CA"/>
          </a:p>
        </p:txBody>
      </p:sp>
    </p:spTree>
    <p:extLst>
      <p:ext uri="{BB962C8B-B14F-4D97-AF65-F5344CB8AC3E}">
        <p14:creationId xmlns:p14="http://schemas.microsoft.com/office/powerpoint/2010/main" val="1508136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3</a:t>
            </a:fld>
            <a:endParaRPr lang="fr-CA"/>
          </a:p>
        </p:txBody>
      </p:sp>
    </p:spTree>
    <p:extLst>
      <p:ext uri="{BB962C8B-B14F-4D97-AF65-F5344CB8AC3E}">
        <p14:creationId xmlns:p14="http://schemas.microsoft.com/office/powerpoint/2010/main" val="17584622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D12B86-A5FB-5E38-0150-7888CCF8DA5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C90D038-B63F-233B-B061-1D7B3AACB01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3E96B813-D839-79AF-74DF-B6A4D0B17E6D}"/>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3ED37CBB-9786-8B49-BBBA-5C3E2FFF11AA}"/>
              </a:ext>
            </a:extLst>
          </p:cNvPr>
          <p:cNvSpPr>
            <a:spLocks noGrp="1"/>
          </p:cNvSpPr>
          <p:nvPr>
            <p:ph type="sldNum" sz="quarter" idx="5"/>
          </p:nvPr>
        </p:nvSpPr>
        <p:spPr/>
        <p:txBody>
          <a:bodyPr/>
          <a:lstStyle/>
          <a:p>
            <a:fld id="{0537748E-770F-684E-B745-0B2EC44ABB4F}" type="slidenum">
              <a:rPr lang="fr-CA" smtClean="0"/>
              <a:t>25</a:t>
            </a:fld>
            <a:endParaRPr lang="fr-CA"/>
          </a:p>
        </p:txBody>
      </p:sp>
    </p:spTree>
    <p:extLst>
      <p:ext uri="{BB962C8B-B14F-4D97-AF65-F5344CB8AC3E}">
        <p14:creationId xmlns:p14="http://schemas.microsoft.com/office/powerpoint/2010/main" val="25440145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26</a:t>
            </a:fld>
            <a:endParaRPr lang="fr-CA"/>
          </a:p>
        </p:txBody>
      </p:sp>
    </p:spTree>
    <p:extLst>
      <p:ext uri="{BB962C8B-B14F-4D97-AF65-F5344CB8AC3E}">
        <p14:creationId xmlns:p14="http://schemas.microsoft.com/office/powerpoint/2010/main" val="925158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941D81-518D-4822-523B-BAB8B7898B80}"/>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81974057-BA71-31B5-9F48-108103D0FFD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FC1980B-D77C-C269-57F5-B391AC4FDEC8}"/>
              </a:ext>
            </a:extLst>
          </p:cNvPr>
          <p:cNvSpPr>
            <a:spLocks noGrp="1"/>
          </p:cNvSpPr>
          <p:nvPr>
            <p:ph type="body" idx="1"/>
          </p:nvPr>
        </p:nvSpPr>
        <p:spPr/>
        <p:txBody>
          <a:bodyPr/>
          <a:lstStyle/>
          <a:p>
            <a:pPr>
              <a:spcAft>
                <a:spcPts val="1200"/>
              </a:spcAft>
            </a:pPr>
            <a:r>
              <a:rPr lang="en-US">
                <a:solidFill>
                  <a:srgbClr val="454547"/>
                </a:solidFill>
              </a:rPr>
              <a:t>Dans </a:t>
            </a:r>
            <a:r>
              <a:rPr lang="en-US" err="1">
                <a:solidFill>
                  <a:srgbClr val="454547"/>
                </a:solidFill>
              </a:rPr>
              <a:t>ce</a:t>
            </a:r>
            <a:r>
              <a:rPr lang="en-US">
                <a:solidFill>
                  <a:srgbClr val="454547"/>
                </a:solidFill>
              </a:rPr>
              <a:t> </a:t>
            </a:r>
            <a:r>
              <a:rPr lang="en-US" err="1">
                <a:solidFill>
                  <a:srgbClr val="454547"/>
                </a:solidFill>
              </a:rPr>
              <a:t>projet</a:t>
            </a:r>
            <a:r>
              <a:rPr lang="en-US">
                <a:solidFill>
                  <a:srgbClr val="454547"/>
                </a:solidFill>
              </a:rPr>
              <a:t> de </a:t>
            </a:r>
            <a:r>
              <a:rPr lang="en-US" err="1">
                <a:solidFill>
                  <a:srgbClr val="454547"/>
                </a:solidFill>
              </a:rPr>
              <a:t>règlement</a:t>
            </a:r>
            <a:r>
              <a:rPr lang="en-US">
                <a:solidFill>
                  <a:srgbClr val="454547"/>
                </a:solidFill>
              </a:rPr>
              <a:t>, la substitution </a:t>
            </a:r>
            <a:r>
              <a:rPr lang="en-US" err="1">
                <a:solidFill>
                  <a:srgbClr val="454547"/>
                </a:solidFill>
              </a:rPr>
              <a:t>pourrait</a:t>
            </a:r>
            <a:r>
              <a:rPr lang="en-US">
                <a:solidFill>
                  <a:srgbClr val="454547"/>
                </a:solidFill>
              </a:rPr>
              <a:t> </a:t>
            </a:r>
            <a:r>
              <a:rPr lang="en-US" err="1">
                <a:solidFill>
                  <a:srgbClr val="454547"/>
                </a:solidFill>
              </a:rPr>
              <a:t>être</a:t>
            </a:r>
            <a:r>
              <a:rPr lang="en-US">
                <a:solidFill>
                  <a:srgbClr val="454547"/>
                </a:solidFill>
              </a:rPr>
              <a:t> </a:t>
            </a:r>
            <a:r>
              <a:rPr lang="en-US" err="1">
                <a:solidFill>
                  <a:srgbClr val="454547"/>
                </a:solidFill>
              </a:rPr>
              <a:t>effectuée</a:t>
            </a:r>
            <a:r>
              <a:rPr lang="en-US">
                <a:solidFill>
                  <a:srgbClr val="454547"/>
                </a:solidFill>
              </a:rPr>
              <a:t> </a:t>
            </a:r>
            <a:r>
              <a:rPr lang="en-US" b="0">
                <a:solidFill>
                  <a:srgbClr val="454547"/>
                </a:solidFill>
              </a:rPr>
              <a:t>pour des raisons </a:t>
            </a:r>
            <a:r>
              <a:rPr lang="en-US" b="0" err="1">
                <a:solidFill>
                  <a:srgbClr val="454547"/>
                </a:solidFill>
              </a:rPr>
              <a:t>d’</a:t>
            </a:r>
            <a:r>
              <a:rPr lang="en-US" b="1" err="1">
                <a:solidFill>
                  <a:srgbClr val="454547"/>
                </a:solidFill>
              </a:rPr>
              <a:t>effets</a:t>
            </a:r>
            <a:r>
              <a:rPr lang="en-US" b="1">
                <a:solidFill>
                  <a:srgbClr val="454547"/>
                </a:solidFill>
              </a:rPr>
              <a:t> </a:t>
            </a:r>
            <a:r>
              <a:rPr lang="en-US" b="1" err="1">
                <a:solidFill>
                  <a:srgbClr val="454547"/>
                </a:solidFill>
              </a:rPr>
              <a:t>secondaires</a:t>
            </a:r>
            <a:r>
              <a:rPr lang="en-US" b="1">
                <a:solidFill>
                  <a:srgbClr val="454547"/>
                </a:solidFill>
              </a:rPr>
              <a:t> </a:t>
            </a:r>
            <a:r>
              <a:rPr lang="en-US" b="1" err="1">
                <a:solidFill>
                  <a:srgbClr val="454547"/>
                </a:solidFill>
              </a:rPr>
              <a:t>avérés</a:t>
            </a:r>
            <a:r>
              <a:rPr lang="en-US" b="1">
                <a:solidFill>
                  <a:srgbClr val="454547"/>
                </a:solidFill>
              </a:rPr>
              <a:t> </a:t>
            </a:r>
            <a:r>
              <a:rPr lang="en-US" b="1" err="1">
                <a:solidFill>
                  <a:srgbClr val="454547"/>
                </a:solidFill>
              </a:rPr>
              <a:t>ou</a:t>
            </a:r>
            <a:r>
              <a:rPr lang="en-US" b="1">
                <a:solidFill>
                  <a:srgbClr val="454547"/>
                </a:solidFill>
              </a:rPr>
              <a:t> </a:t>
            </a:r>
            <a:r>
              <a:rPr lang="en-US" b="1" err="1">
                <a:solidFill>
                  <a:srgbClr val="454547"/>
                </a:solidFill>
              </a:rPr>
              <a:t>attendus</a:t>
            </a:r>
            <a:r>
              <a:rPr lang="en-US" b="1">
                <a:solidFill>
                  <a:srgbClr val="454547"/>
                </a:solidFill>
              </a:rPr>
              <a:t> </a:t>
            </a:r>
            <a:r>
              <a:rPr lang="en-US" err="1">
                <a:solidFill>
                  <a:srgbClr val="454547"/>
                </a:solidFill>
              </a:rPr>
              <a:t>plutôt</a:t>
            </a:r>
            <a:r>
              <a:rPr lang="en-US">
                <a:solidFill>
                  <a:srgbClr val="454547"/>
                </a:solidFill>
              </a:rPr>
              <a:t> que pour un </a:t>
            </a:r>
            <a:r>
              <a:rPr lang="en-US" b="1" err="1">
                <a:solidFill>
                  <a:srgbClr val="454547"/>
                </a:solidFill>
              </a:rPr>
              <a:t>risque</a:t>
            </a:r>
            <a:r>
              <a:rPr lang="en-US" b="1">
                <a:solidFill>
                  <a:srgbClr val="454547"/>
                </a:solidFill>
              </a:rPr>
              <a:t> pour la </a:t>
            </a:r>
            <a:r>
              <a:rPr lang="en-US" b="1" err="1">
                <a:solidFill>
                  <a:srgbClr val="454547"/>
                </a:solidFill>
              </a:rPr>
              <a:t>sécurité</a:t>
            </a:r>
            <a:r>
              <a:rPr lang="en-US" b="1">
                <a:solidFill>
                  <a:srgbClr val="454547"/>
                </a:solidFill>
              </a:rPr>
              <a:t> du patient</a:t>
            </a:r>
            <a:r>
              <a:rPr lang="en-US">
                <a:solidFill>
                  <a:srgbClr val="454547"/>
                </a:solidFill>
              </a:rPr>
              <a:t>, et on </a:t>
            </a:r>
            <a:r>
              <a:rPr lang="en-US" b="1">
                <a:solidFill>
                  <a:srgbClr val="454547"/>
                </a:solidFill>
              </a:rPr>
              <a:t>ne se </a:t>
            </a:r>
            <a:r>
              <a:rPr lang="en-US" b="1" err="1">
                <a:solidFill>
                  <a:srgbClr val="454547"/>
                </a:solidFill>
              </a:rPr>
              <a:t>limite</a:t>
            </a:r>
            <a:r>
              <a:rPr lang="en-US" b="1">
                <a:solidFill>
                  <a:srgbClr val="454547"/>
                </a:solidFill>
              </a:rPr>
              <a:t> plus </a:t>
            </a:r>
            <a:r>
              <a:rPr lang="en-US">
                <a:solidFill>
                  <a:srgbClr val="454547"/>
                </a:solidFill>
              </a:rPr>
              <a:t>aux situations </a:t>
            </a:r>
            <a:r>
              <a:rPr lang="en-US" err="1">
                <a:solidFill>
                  <a:srgbClr val="454547"/>
                </a:solidFill>
              </a:rPr>
              <a:t>justifiant</a:t>
            </a:r>
            <a:r>
              <a:rPr lang="en-US">
                <a:solidFill>
                  <a:srgbClr val="454547"/>
                </a:solidFill>
              </a:rPr>
              <a:t> </a:t>
            </a:r>
            <a:r>
              <a:rPr lang="en-US" err="1">
                <a:solidFill>
                  <a:srgbClr val="454547"/>
                </a:solidFill>
              </a:rPr>
              <a:t>une</a:t>
            </a:r>
            <a:r>
              <a:rPr lang="en-US">
                <a:solidFill>
                  <a:srgbClr val="454547"/>
                </a:solidFill>
              </a:rPr>
              <a:t> </a:t>
            </a:r>
            <a:r>
              <a:rPr lang="en-US" b="1" err="1">
                <a:solidFill>
                  <a:srgbClr val="454547"/>
                </a:solidFill>
              </a:rPr>
              <a:t>amorce</a:t>
            </a:r>
            <a:r>
              <a:rPr lang="en-US" b="1">
                <a:solidFill>
                  <a:srgbClr val="454547"/>
                </a:solidFill>
              </a:rPr>
              <a:t> </a:t>
            </a:r>
            <a:r>
              <a:rPr lang="en-US" b="1" err="1">
                <a:solidFill>
                  <a:srgbClr val="454547"/>
                </a:solidFill>
              </a:rPr>
              <a:t>rapide</a:t>
            </a:r>
            <a:r>
              <a:rPr lang="en-US" b="1">
                <a:solidFill>
                  <a:srgbClr val="454547"/>
                </a:solidFill>
              </a:rPr>
              <a:t>.</a:t>
            </a:r>
            <a:endParaRPr lang="en-US" b="1"/>
          </a:p>
        </p:txBody>
      </p:sp>
      <p:sp>
        <p:nvSpPr>
          <p:cNvPr id="4" name="Espace réservé du numéro de diapositive 3">
            <a:extLst>
              <a:ext uri="{FF2B5EF4-FFF2-40B4-BE49-F238E27FC236}">
                <a16:creationId xmlns:a16="http://schemas.microsoft.com/office/drawing/2014/main" id="{457D0FCE-CED2-68B0-4600-430E06C06B30}"/>
              </a:ext>
            </a:extLst>
          </p:cNvPr>
          <p:cNvSpPr>
            <a:spLocks noGrp="1"/>
          </p:cNvSpPr>
          <p:nvPr>
            <p:ph type="sldNum" sz="quarter" idx="5"/>
          </p:nvPr>
        </p:nvSpPr>
        <p:spPr/>
        <p:txBody>
          <a:bodyPr/>
          <a:lstStyle/>
          <a:p>
            <a:fld id="{0537748E-770F-684E-B745-0B2EC44ABB4F}" type="slidenum">
              <a:rPr lang="fr-CA"/>
              <a:t>27</a:t>
            </a:fld>
            <a:endParaRPr lang="fr-CA"/>
          </a:p>
        </p:txBody>
      </p:sp>
    </p:spTree>
    <p:extLst>
      <p:ext uri="{BB962C8B-B14F-4D97-AF65-F5344CB8AC3E}">
        <p14:creationId xmlns:p14="http://schemas.microsoft.com/office/powerpoint/2010/main" val="4735885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AEB02-EBA5-B00F-7314-A2200791BE1F}"/>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54F585C3-51CE-FC19-96F9-18CB623D0B3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C180AB0-E92E-71CB-B051-D1D663CE50FA}"/>
              </a:ext>
            </a:extLst>
          </p:cNvPr>
          <p:cNvSpPr>
            <a:spLocks noGrp="1"/>
          </p:cNvSpPr>
          <p:nvPr>
            <p:ph type="body" idx="1"/>
          </p:nvPr>
        </p:nvSpPr>
        <p:spPr/>
        <p:txBody>
          <a:bodyPr/>
          <a:lstStyle/>
          <a:p>
            <a:pPr>
              <a:spcAft>
                <a:spcPts val="1200"/>
              </a:spcAft>
            </a:pPr>
            <a:r>
              <a:rPr lang="en-US"/>
              <a:t>Premier </a:t>
            </a:r>
            <a:r>
              <a:rPr lang="en-US" err="1"/>
              <a:t>cas</a:t>
            </a:r>
            <a:r>
              <a:rPr lang="en-US"/>
              <a:t> </a:t>
            </a:r>
            <a:r>
              <a:rPr lang="en-US" err="1"/>
              <a:t>concret</a:t>
            </a:r>
            <a:endParaRPr lang="en-US"/>
          </a:p>
          <a:p>
            <a:pPr>
              <a:spcAft>
                <a:spcPts val="1200"/>
              </a:spcAft>
            </a:pPr>
            <a:r>
              <a:rPr lang="en-US" err="1"/>
              <a:t>Réponse</a:t>
            </a:r>
            <a:r>
              <a:rPr lang="en-US"/>
              <a:t>: </a:t>
            </a:r>
            <a:r>
              <a:rPr lang="en-US" err="1"/>
              <a:t>actuellement</a:t>
            </a:r>
            <a:r>
              <a:rPr lang="en-US"/>
              <a:t>, la </a:t>
            </a:r>
            <a:r>
              <a:rPr lang="en-US" err="1"/>
              <a:t>réponse</a:t>
            </a:r>
            <a:r>
              <a:rPr lang="en-US"/>
              <a:t> </a:t>
            </a:r>
            <a:r>
              <a:rPr lang="en-US" err="1"/>
              <a:t>est</a:t>
            </a:r>
            <a:r>
              <a:rPr lang="en-US"/>
              <a:t> non, </a:t>
            </a:r>
            <a:r>
              <a:rPr lang="en-US" err="1"/>
              <a:t>autant</a:t>
            </a:r>
            <a:r>
              <a:rPr lang="en-US"/>
              <a:t> au </a:t>
            </a:r>
            <a:r>
              <a:rPr lang="en-US" err="1"/>
              <a:t>niveau</a:t>
            </a:r>
            <a:r>
              <a:rPr lang="en-US"/>
              <a:t> de </a:t>
            </a:r>
            <a:r>
              <a:rPr lang="en-US" err="1"/>
              <a:t>l’entente</a:t>
            </a:r>
            <a:r>
              <a:rPr lang="en-US"/>
              <a:t> </a:t>
            </a:r>
            <a:r>
              <a:rPr lang="en-US" err="1"/>
              <a:t>qu’à</a:t>
            </a:r>
            <a:r>
              <a:rPr lang="en-US"/>
              <a:t> </a:t>
            </a:r>
            <a:r>
              <a:rPr lang="en-US" err="1"/>
              <a:t>celui</a:t>
            </a:r>
            <a:r>
              <a:rPr lang="en-US"/>
              <a:t> de la </a:t>
            </a:r>
            <a:r>
              <a:rPr lang="en-US" err="1"/>
              <a:t>règlementation</a:t>
            </a:r>
            <a:r>
              <a:rPr lang="en-US"/>
              <a:t> </a:t>
            </a:r>
            <a:r>
              <a:rPr lang="en-US" err="1"/>
              <a:t>en</a:t>
            </a:r>
            <a:r>
              <a:rPr lang="en-US"/>
              <a:t> </a:t>
            </a:r>
            <a:r>
              <a:rPr lang="en-US" err="1"/>
              <a:t>vigueur</a:t>
            </a:r>
            <a:r>
              <a:rPr lang="en-US"/>
              <a:t>. </a:t>
            </a:r>
          </a:p>
          <a:p>
            <a:pPr>
              <a:spcAft>
                <a:spcPts val="1200"/>
              </a:spcAft>
            </a:pPr>
            <a:r>
              <a:rPr lang="en-US"/>
              <a:t>Conditions </a:t>
            </a:r>
            <a:r>
              <a:rPr lang="en-US" err="1"/>
              <a:t>actuelles</a:t>
            </a:r>
            <a:r>
              <a:rPr lang="en-US"/>
              <a:t>…</a:t>
            </a:r>
          </a:p>
          <a:p>
            <a:pPr>
              <a:spcAft>
                <a:spcPts val="1200"/>
              </a:spcAft>
            </a:pPr>
            <a:r>
              <a:rPr lang="en-US"/>
              <a:t>Par </a:t>
            </a:r>
            <a:r>
              <a:rPr lang="en-US" err="1"/>
              <a:t>contre</a:t>
            </a:r>
            <a:r>
              <a:rPr lang="en-US"/>
              <a:t>, ceci </a:t>
            </a:r>
            <a:r>
              <a:rPr lang="en-US" err="1"/>
              <a:t>va</a:t>
            </a:r>
            <a:r>
              <a:rPr lang="en-US"/>
              <a:t> </a:t>
            </a:r>
            <a:r>
              <a:rPr lang="en-US" err="1"/>
              <a:t>probablement</a:t>
            </a:r>
            <a:r>
              <a:rPr lang="en-US"/>
              <a:t> </a:t>
            </a:r>
            <a:r>
              <a:rPr lang="en-US" err="1"/>
              <a:t>évoluer</a:t>
            </a:r>
            <a:r>
              <a:rPr lang="en-US"/>
              <a:t> sous peu (</a:t>
            </a:r>
            <a:r>
              <a:rPr lang="en-US" err="1"/>
              <a:t>prochaine</a:t>
            </a:r>
            <a:r>
              <a:rPr lang="en-US"/>
              <a:t> </a:t>
            </a:r>
            <a:r>
              <a:rPr lang="en-US" err="1"/>
              <a:t>diapo</a:t>
            </a:r>
            <a:r>
              <a:rPr lang="en-US"/>
              <a:t>)</a:t>
            </a:r>
          </a:p>
          <a:p>
            <a:pPr>
              <a:spcAft>
                <a:spcPts val="1200"/>
              </a:spcAft>
            </a:pPr>
            <a:endParaRPr lang="en-US" err="1"/>
          </a:p>
        </p:txBody>
      </p:sp>
      <p:sp>
        <p:nvSpPr>
          <p:cNvPr id="4" name="Espace réservé du numéro de diapositive 3">
            <a:extLst>
              <a:ext uri="{FF2B5EF4-FFF2-40B4-BE49-F238E27FC236}">
                <a16:creationId xmlns:a16="http://schemas.microsoft.com/office/drawing/2014/main" id="{42EA0E98-EBEE-00DE-B110-DAECB238C2AC}"/>
              </a:ext>
            </a:extLst>
          </p:cNvPr>
          <p:cNvSpPr>
            <a:spLocks noGrp="1"/>
          </p:cNvSpPr>
          <p:nvPr>
            <p:ph type="sldNum" sz="quarter" idx="5"/>
          </p:nvPr>
        </p:nvSpPr>
        <p:spPr/>
        <p:txBody>
          <a:bodyPr/>
          <a:lstStyle/>
          <a:p>
            <a:fld id="{0537748E-770F-684E-B745-0B2EC44ABB4F}" type="slidenum">
              <a:rPr lang="fr-CA"/>
              <a:t>28</a:t>
            </a:fld>
            <a:endParaRPr lang="fr-CA"/>
          </a:p>
        </p:txBody>
      </p:sp>
    </p:spTree>
    <p:extLst>
      <p:ext uri="{BB962C8B-B14F-4D97-AF65-F5344CB8AC3E}">
        <p14:creationId xmlns:p14="http://schemas.microsoft.com/office/powerpoint/2010/main" val="1535649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pPr>
              <a:spcAft>
                <a:spcPts val="1200"/>
              </a:spcAft>
            </a:pPr>
            <a:r>
              <a:rPr lang="en-US"/>
              <a:t>Qui </a:t>
            </a:r>
            <a:r>
              <a:rPr lang="en-US" err="1"/>
              <a:t>paie</a:t>
            </a:r>
            <a:r>
              <a:rPr lang="en-US"/>
              <a:t> et </a:t>
            </a:r>
            <a:r>
              <a:rPr lang="en-US" err="1"/>
              <a:t>combien</a:t>
            </a:r>
            <a:endParaRPr lang="en-US"/>
          </a:p>
        </p:txBody>
      </p:sp>
      <p:sp>
        <p:nvSpPr>
          <p:cNvPr id="4" name="Espace réservé du numéro de diapositive 3"/>
          <p:cNvSpPr>
            <a:spLocks noGrp="1"/>
          </p:cNvSpPr>
          <p:nvPr>
            <p:ph type="sldNum" sz="quarter" idx="5"/>
          </p:nvPr>
        </p:nvSpPr>
        <p:spPr/>
        <p:txBody>
          <a:bodyPr/>
          <a:lstStyle/>
          <a:p>
            <a:fld id="{0537748E-770F-684E-B745-0B2EC44ABB4F}" type="slidenum">
              <a:rPr lang="fr-CA"/>
              <a:t>29</a:t>
            </a:fld>
            <a:endParaRPr lang="fr-CA"/>
          </a:p>
        </p:txBody>
      </p:sp>
    </p:spTree>
    <p:extLst>
      <p:ext uri="{BB962C8B-B14F-4D97-AF65-F5344CB8AC3E}">
        <p14:creationId xmlns:p14="http://schemas.microsoft.com/office/powerpoint/2010/main" val="2804662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7CAC4-BD3F-4690-CD53-77358875475B}"/>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73652540-64A8-D977-C26A-B7817C7E9B6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8DDFA15-1FC1-7633-13B8-A6D27F74E26E}"/>
              </a:ext>
            </a:extLst>
          </p:cNvPr>
          <p:cNvSpPr>
            <a:spLocks noGrp="1"/>
          </p:cNvSpPr>
          <p:nvPr>
            <p:ph type="body" idx="1"/>
          </p:nvPr>
        </p:nvSpPr>
        <p:spPr/>
        <p:txBody>
          <a:bodyPr/>
          <a:lstStyle/>
          <a:p>
            <a:pPr>
              <a:spcAft>
                <a:spcPts val="1200"/>
              </a:spcAft>
            </a:pPr>
            <a:r>
              <a:rPr lang="en-US" err="1">
                <a:solidFill>
                  <a:srgbClr val="454547"/>
                </a:solidFill>
              </a:rPr>
              <a:t>Réponse</a:t>
            </a:r>
            <a:r>
              <a:rPr lang="en-US">
                <a:solidFill>
                  <a:srgbClr val="454547"/>
                </a:solidFill>
              </a:rPr>
              <a:t>: non car il </a:t>
            </a:r>
            <a:r>
              <a:rPr lang="en-US" err="1">
                <a:solidFill>
                  <a:srgbClr val="454547"/>
                </a:solidFill>
              </a:rPr>
              <a:t>s’agit</a:t>
            </a:r>
            <a:r>
              <a:rPr lang="en-US">
                <a:solidFill>
                  <a:srgbClr val="454547"/>
                </a:solidFill>
              </a:rPr>
              <a:t> de la </a:t>
            </a:r>
            <a:r>
              <a:rPr lang="en-US" err="1">
                <a:solidFill>
                  <a:srgbClr val="454547"/>
                </a:solidFill>
              </a:rPr>
              <a:t>même</a:t>
            </a:r>
            <a:r>
              <a:rPr lang="en-US">
                <a:solidFill>
                  <a:srgbClr val="454547"/>
                </a:solidFill>
              </a:rPr>
              <a:t> denomination commune. </a:t>
            </a:r>
            <a:r>
              <a:rPr lang="en-US" err="1">
                <a:solidFill>
                  <a:srgbClr val="454547"/>
                </a:solidFill>
              </a:rPr>
              <a:t>C’est</a:t>
            </a:r>
            <a:r>
              <a:rPr lang="en-US">
                <a:solidFill>
                  <a:srgbClr val="454547"/>
                </a:solidFill>
              </a:rPr>
              <a:t> </a:t>
            </a:r>
            <a:r>
              <a:rPr lang="en-US" err="1">
                <a:solidFill>
                  <a:srgbClr val="454547"/>
                </a:solidFill>
              </a:rPr>
              <a:t>expressément</a:t>
            </a:r>
            <a:r>
              <a:rPr lang="en-US">
                <a:solidFill>
                  <a:srgbClr val="454547"/>
                </a:solidFill>
              </a:rPr>
              <a:t> </a:t>
            </a:r>
            <a:r>
              <a:rPr lang="en-US" err="1">
                <a:solidFill>
                  <a:srgbClr val="454547"/>
                </a:solidFill>
              </a:rPr>
              <a:t>écrit</a:t>
            </a:r>
            <a:r>
              <a:rPr lang="en-US">
                <a:solidFill>
                  <a:srgbClr val="454547"/>
                </a:solidFill>
              </a:rPr>
              <a:t> dans la </a:t>
            </a:r>
            <a:r>
              <a:rPr lang="en-US" err="1">
                <a:solidFill>
                  <a:srgbClr val="454547"/>
                </a:solidFill>
              </a:rPr>
              <a:t>règle</a:t>
            </a:r>
            <a:r>
              <a:rPr lang="en-US">
                <a:solidFill>
                  <a:srgbClr val="454547"/>
                </a:solidFill>
              </a:rPr>
              <a:t> 37 </a:t>
            </a:r>
            <a:r>
              <a:rPr lang="en-US" err="1">
                <a:solidFill>
                  <a:srgbClr val="454547"/>
                </a:solidFill>
              </a:rPr>
              <a:t>mais</a:t>
            </a:r>
            <a:r>
              <a:rPr lang="en-US">
                <a:solidFill>
                  <a:srgbClr val="454547"/>
                </a:solidFill>
              </a:rPr>
              <a:t> il faut </a:t>
            </a:r>
            <a:r>
              <a:rPr lang="en-US" err="1">
                <a:solidFill>
                  <a:srgbClr val="454547"/>
                </a:solidFill>
              </a:rPr>
              <a:t>garder</a:t>
            </a:r>
            <a:r>
              <a:rPr lang="en-US">
                <a:solidFill>
                  <a:srgbClr val="454547"/>
                </a:solidFill>
              </a:rPr>
              <a:t> </a:t>
            </a:r>
            <a:r>
              <a:rPr lang="en-US" err="1">
                <a:solidFill>
                  <a:srgbClr val="454547"/>
                </a:solidFill>
              </a:rPr>
              <a:t>en</a:t>
            </a:r>
            <a:r>
              <a:rPr lang="en-US">
                <a:solidFill>
                  <a:srgbClr val="454547"/>
                </a:solidFill>
              </a:rPr>
              <a:t> tête </a:t>
            </a:r>
            <a:r>
              <a:rPr lang="en-US" err="1">
                <a:solidFill>
                  <a:srgbClr val="454547"/>
                </a:solidFill>
              </a:rPr>
              <a:t>qu’une</a:t>
            </a:r>
            <a:r>
              <a:rPr lang="en-US">
                <a:solidFill>
                  <a:srgbClr val="454547"/>
                </a:solidFill>
              </a:rPr>
              <a:t> substitution </a:t>
            </a:r>
            <a:r>
              <a:rPr lang="en-US" err="1">
                <a:solidFill>
                  <a:srgbClr val="454547"/>
                </a:solidFill>
              </a:rPr>
              <a:t>thérapeutique</a:t>
            </a:r>
            <a:r>
              <a:rPr lang="en-US">
                <a:solidFill>
                  <a:srgbClr val="454547"/>
                </a:solidFill>
              </a:rPr>
              <a:t> </a:t>
            </a:r>
            <a:r>
              <a:rPr lang="en-US" err="1">
                <a:solidFill>
                  <a:srgbClr val="454547"/>
                </a:solidFill>
              </a:rPr>
              <a:t>implique</a:t>
            </a:r>
            <a:r>
              <a:rPr lang="en-US">
                <a:solidFill>
                  <a:srgbClr val="454547"/>
                </a:solidFill>
              </a:rPr>
              <a:t> </a:t>
            </a:r>
            <a:r>
              <a:rPr lang="en-US" err="1">
                <a:solidFill>
                  <a:srgbClr val="454547"/>
                </a:solidFill>
              </a:rPr>
              <a:t>une</a:t>
            </a:r>
            <a:r>
              <a:rPr lang="en-US">
                <a:solidFill>
                  <a:srgbClr val="454547"/>
                </a:solidFill>
              </a:rPr>
              <a:t> </a:t>
            </a:r>
            <a:r>
              <a:rPr lang="en-US" err="1">
                <a:solidFill>
                  <a:srgbClr val="454547"/>
                </a:solidFill>
              </a:rPr>
              <a:t>substitutition</a:t>
            </a:r>
            <a:r>
              <a:rPr lang="en-US">
                <a:solidFill>
                  <a:srgbClr val="454547"/>
                </a:solidFill>
              </a:rPr>
              <a:t> pour un medicament </a:t>
            </a:r>
            <a:r>
              <a:rPr lang="en-US" err="1">
                <a:solidFill>
                  <a:srgbClr val="454547"/>
                </a:solidFill>
              </a:rPr>
              <a:t>d’une</a:t>
            </a:r>
            <a:r>
              <a:rPr lang="en-US">
                <a:solidFill>
                  <a:srgbClr val="454547"/>
                </a:solidFill>
              </a:rPr>
              <a:t> </a:t>
            </a:r>
            <a:r>
              <a:rPr lang="en-US" err="1">
                <a:solidFill>
                  <a:srgbClr val="454547"/>
                </a:solidFill>
              </a:rPr>
              <a:t>autre</a:t>
            </a:r>
            <a:r>
              <a:rPr lang="en-US">
                <a:solidFill>
                  <a:srgbClr val="454547"/>
                </a:solidFill>
              </a:rPr>
              <a:t> denomination commune.</a:t>
            </a:r>
            <a:endParaRPr lang="en-US"/>
          </a:p>
        </p:txBody>
      </p:sp>
      <p:sp>
        <p:nvSpPr>
          <p:cNvPr id="4" name="Espace réservé du numéro de diapositive 3">
            <a:extLst>
              <a:ext uri="{FF2B5EF4-FFF2-40B4-BE49-F238E27FC236}">
                <a16:creationId xmlns:a16="http://schemas.microsoft.com/office/drawing/2014/main" id="{650295D9-9E25-842A-351E-A1E624B1913D}"/>
              </a:ext>
            </a:extLst>
          </p:cNvPr>
          <p:cNvSpPr>
            <a:spLocks noGrp="1"/>
          </p:cNvSpPr>
          <p:nvPr>
            <p:ph type="sldNum" sz="quarter" idx="5"/>
          </p:nvPr>
        </p:nvSpPr>
        <p:spPr/>
        <p:txBody>
          <a:bodyPr/>
          <a:lstStyle/>
          <a:p>
            <a:fld id="{0537748E-770F-684E-B745-0B2EC44ABB4F}" type="slidenum">
              <a:rPr lang="fr-CA"/>
              <a:t>30</a:t>
            </a:fld>
            <a:endParaRPr lang="fr-CA"/>
          </a:p>
        </p:txBody>
      </p:sp>
    </p:spTree>
    <p:extLst>
      <p:ext uri="{BB962C8B-B14F-4D97-AF65-F5344CB8AC3E}">
        <p14:creationId xmlns:p14="http://schemas.microsoft.com/office/powerpoint/2010/main" val="25360185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8C145B-11AD-93AE-8743-91880A647222}"/>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55D5B7DD-ED1C-FD6D-4A16-E0A5F7E8D48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7673352-2334-D832-BCDA-D82A933046BA}"/>
              </a:ext>
            </a:extLst>
          </p:cNvPr>
          <p:cNvSpPr>
            <a:spLocks noGrp="1"/>
          </p:cNvSpPr>
          <p:nvPr>
            <p:ph type="body" idx="1"/>
          </p:nvPr>
        </p:nvSpPr>
        <p:spPr/>
        <p:txBody>
          <a:bodyPr/>
          <a:lstStyle/>
          <a:p>
            <a:pPr>
              <a:spcAft>
                <a:spcPts val="1200"/>
              </a:spcAft>
            </a:pPr>
            <a:r>
              <a:rPr lang="en-US">
                <a:solidFill>
                  <a:srgbClr val="454547"/>
                </a:solidFill>
              </a:rPr>
              <a:t>La démarche pour </a:t>
            </a:r>
            <a:r>
              <a:rPr lang="en-US" err="1">
                <a:solidFill>
                  <a:srgbClr val="454547"/>
                </a:solidFill>
              </a:rPr>
              <a:t>avoir</a:t>
            </a:r>
            <a:r>
              <a:rPr lang="en-US">
                <a:solidFill>
                  <a:srgbClr val="454547"/>
                </a:solidFill>
              </a:rPr>
              <a:t> droit au </a:t>
            </a:r>
            <a:r>
              <a:rPr lang="en-US" err="1">
                <a:solidFill>
                  <a:srgbClr val="454547"/>
                </a:solidFill>
              </a:rPr>
              <a:t>paiement</a:t>
            </a:r>
            <a:r>
              <a:rPr lang="en-US">
                <a:solidFill>
                  <a:srgbClr val="454547"/>
                </a:solidFill>
              </a:rPr>
              <a:t> </a:t>
            </a:r>
            <a:r>
              <a:rPr lang="en-US" err="1">
                <a:solidFill>
                  <a:srgbClr val="454547"/>
                </a:solidFill>
              </a:rPr>
              <a:t>peut</a:t>
            </a:r>
            <a:r>
              <a:rPr lang="en-US">
                <a:solidFill>
                  <a:srgbClr val="454547"/>
                </a:solidFill>
              </a:rPr>
              <a:t> </a:t>
            </a:r>
            <a:r>
              <a:rPr lang="en-US" err="1">
                <a:solidFill>
                  <a:srgbClr val="454547"/>
                </a:solidFill>
              </a:rPr>
              <a:t>sembler</a:t>
            </a:r>
            <a:r>
              <a:rPr lang="en-US">
                <a:solidFill>
                  <a:srgbClr val="454547"/>
                </a:solidFill>
              </a:rPr>
              <a:t> </a:t>
            </a:r>
            <a:r>
              <a:rPr lang="en-US" err="1">
                <a:solidFill>
                  <a:srgbClr val="454547"/>
                </a:solidFill>
              </a:rPr>
              <a:t>fastidieuse</a:t>
            </a:r>
            <a:r>
              <a:rPr lang="en-US">
                <a:solidFill>
                  <a:srgbClr val="454547"/>
                </a:solidFill>
              </a:rPr>
              <a:t> au 1er coup </a:t>
            </a:r>
            <a:r>
              <a:rPr lang="en-US" err="1">
                <a:solidFill>
                  <a:srgbClr val="454547"/>
                </a:solidFill>
              </a:rPr>
              <a:t>d’oeil</a:t>
            </a:r>
            <a:r>
              <a:rPr lang="en-US">
                <a:solidFill>
                  <a:srgbClr val="454547"/>
                </a:solidFill>
              </a:rPr>
              <a:t> </a:t>
            </a:r>
            <a:r>
              <a:rPr lang="en-US" err="1">
                <a:solidFill>
                  <a:srgbClr val="454547"/>
                </a:solidFill>
              </a:rPr>
              <a:t>mais</a:t>
            </a:r>
            <a:r>
              <a:rPr lang="en-US">
                <a:solidFill>
                  <a:srgbClr val="454547"/>
                </a:solidFill>
              </a:rPr>
              <a:t> </a:t>
            </a:r>
            <a:r>
              <a:rPr lang="en-US" err="1">
                <a:solidFill>
                  <a:srgbClr val="454547"/>
                </a:solidFill>
              </a:rPr>
              <a:t>elle</a:t>
            </a:r>
            <a:r>
              <a:rPr lang="en-US">
                <a:solidFill>
                  <a:srgbClr val="454547"/>
                </a:solidFill>
              </a:rPr>
              <a:t> </a:t>
            </a:r>
            <a:r>
              <a:rPr lang="en-US" err="1">
                <a:solidFill>
                  <a:srgbClr val="454547"/>
                </a:solidFill>
              </a:rPr>
              <a:t>est</a:t>
            </a:r>
            <a:r>
              <a:rPr lang="en-US">
                <a:solidFill>
                  <a:srgbClr val="454547"/>
                </a:solidFill>
              </a:rPr>
              <a:t> </a:t>
            </a:r>
            <a:r>
              <a:rPr lang="en-US" err="1">
                <a:solidFill>
                  <a:srgbClr val="454547"/>
                </a:solidFill>
              </a:rPr>
              <a:t>plutôt</a:t>
            </a:r>
            <a:r>
              <a:rPr lang="en-US">
                <a:solidFill>
                  <a:srgbClr val="454547"/>
                </a:solidFill>
              </a:rPr>
              <a:t> instinctive et </a:t>
            </a:r>
            <a:r>
              <a:rPr lang="en-US" err="1">
                <a:solidFill>
                  <a:srgbClr val="454547"/>
                </a:solidFill>
              </a:rPr>
              <a:t>peut</a:t>
            </a:r>
            <a:r>
              <a:rPr lang="en-US">
                <a:solidFill>
                  <a:srgbClr val="454547"/>
                </a:solidFill>
              </a:rPr>
              <a:t> </a:t>
            </a:r>
            <a:r>
              <a:rPr lang="en-US" err="1">
                <a:solidFill>
                  <a:srgbClr val="454547"/>
                </a:solidFill>
              </a:rPr>
              <a:t>être</a:t>
            </a:r>
            <a:r>
              <a:rPr lang="en-US">
                <a:solidFill>
                  <a:srgbClr val="454547"/>
                </a:solidFill>
              </a:rPr>
              <a:t> </a:t>
            </a:r>
            <a:r>
              <a:rPr lang="en-US" err="1">
                <a:solidFill>
                  <a:srgbClr val="454547"/>
                </a:solidFill>
              </a:rPr>
              <a:t>déléguée</a:t>
            </a:r>
            <a:r>
              <a:rPr lang="en-US">
                <a:solidFill>
                  <a:srgbClr val="454547"/>
                </a:solidFill>
              </a:rPr>
              <a:t> </a:t>
            </a:r>
            <a:r>
              <a:rPr lang="en-US" err="1">
                <a:solidFill>
                  <a:srgbClr val="454547"/>
                </a:solidFill>
              </a:rPr>
              <a:t>en</a:t>
            </a:r>
            <a:r>
              <a:rPr lang="en-US">
                <a:solidFill>
                  <a:srgbClr val="454547"/>
                </a:solidFill>
              </a:rPr>
              <a:t> </a:t>
            </a:r>
            <a:r>
              <a:rPr lang="en-US" err="1">
                <a:solidFill>
                  <a:srgbClr val="454547"/>
                </a:solidFill>
              </a:rPr>
              <a:t>partie</a:t>
            </a:r>
            <a:r>
              <a:rPr lang="en-US">
                <a:solidFill>
                  <a:srgbClr val="454547"/>
                </a:solidFill>
              </a:rPr>
              <a:t> à un ATP. De plus, </a:t>
            </a:r>
            <a:r>
              <a:rPr lang="en-US" err="1">
                <a:solidFill>
                  <a:srgbClr val="454547"/>
                </a:solidFill>
              </a:rPr>
              <a:t>loutils</a:t>
            </a:r>
            <a:r>
              <a:rPr lang="en-US">
                <a:solidFill>
                  <a:srgbClr val="454547"/>
                </a:solidFill>
              </a:rPr>
              <a:t> </a:t>
            </a:r>
            <a:r>
              <a:rPr lang="en-US" err="1">
                <a:solidFill>
                  <a:srgbClr val="454547"/>
                </a:solidFill>
              </a:rPr>
              <a:t>informatiques</a:t>
            </a:r>
            <a:r>
              <a:rPr lang="en-US">
                <a:solidFill>
                  <a:srgbClr val="454547"/>
                </a:solidFill>
              </a:rPr>
              <a:t> </a:t>
            </a:r>
            <a:r>
              <a:rPr lang="en-US" err="1">
                <a:solidFill>
                  <a:srgbClr val="454547"/>
                </a:solidFill>
              </a:rPr>
              <a:t>en</a:t>
            </a:r>
            <a:r>
              <a:rPr lang="en-US">
                <a:solidFill>
                  <a:srgbClr val="454547"/>
                </a:solidFill>
              </a:rPr>
              <a:t> </a:t>
            </a:r>
            <a:r>
              <a:rPr lang="en-US" err="1">
                <a:solidFill>
                  <a:srgbClr val="454547"/>
                </a:solidFill>
              </a:rPr>
              <a:t>pharmacie</a:t>
            </a:r>
            <a:r>
              <a:rPr lang="en-US">
                <a:solidFill>
                  <a:srgbClr val="454547"/>
                </a:solidFill>
              </a:rPr>
              <a:t> </a:t>
            </a:r>
            <a:r>
              <a:rPr lang="en-US" err="1">
                <a:solidFill>
                  <a:srgbClr val="454547"/>
                </a:solidFill>
              </a:rPr>
              <a:t>rendent</a:t>
            </a:r>
            <a:r>
              <a:rPr lang="en-US">
                <a:solidFill>
                  <a:srgbClr val="454547"/>
                </a:solidFill>
              </a:rPr>
              <a:t> le processus </a:t>
            </a:r>
            <a:r>
              <a:rPr lang="en-US" err="1">
                <a:solidFill>
                  <a:srgbClr val="454547"/>
                </a:solidFill>
              </a:rPr>
              <a:t>généralement</a:t>
            </a:r>
            <a:r>
              <a:rPr lang="en-US">
                <a:solidFill>
                  <a:srgbClr val="454547"/>
                </a:solidFill>
              </a:rPr>
              <a:t> </a:t>
            </a:r>
            <a:r>
              <a:rPr lang="en-US" err="1">
                <a:solidFill>
                  <a:srgbClr val="454547"/>
                </a:solidFill>
              </a:rPr>
              <a:t>fluide</a:t>
            </a:r>
            <a:r>
              <a:rPr lang="en-US">
                <a:solidFill>
                  <a:srgbClr val="454547"/>
                </a:solidFill>
              </a:rPr>
              <a:t>.</a:t>
            </a:r>
            <a:endParaRPr lang="en-US"/>
          </a:p>
        </p:txBody>
      </p:sp>
      <p:sp>
        <p:nvSpPr>
          <p:cNvPr id="4" name="Espace réservé du numéro de diapositive 3">
            <a:extLst>
              <a:ext uri="{FF2B5EF4-FFF2-40B4-BE49-F238E27FC236}">
                <a16:creationId xmlns:a16="http://schemas.microsoft.com/office/drawing/2014/main" id="{DA2F36D0-B26B-0535-5EF8-F12DACA1AE6D}"/>
              </a:ext>
            </a:extLst>
          </p:cNvPr>
          <p:cNvSpPr>
            <a:spLocks noGrp="1"/>
          </p:cNvSpPr>
          <p:nvPr>
            <p:ph type="sldNum" sz="quarter" idx="5"/>
          </p:nvPr>
        </p:nvSpPr>
        <p:spPr/>
        <p:txBody>
          <a:bodyPr/>
          <a:lstStyle/>
          <a:p>
            <a:fld id="{0537748E-770F-684E-B745-0B2EC44ABB4F}" type="slidenum">
              <a:rPr lang="fr-CA"/>
              <a:t>31</a:t>
            </a:fld>
            <a:endParaRPr lang="fr-CA"/>
          </a:p>
        </p:txBody>
      </p:sp>
    </p:spTree>
    <p:extLst>
      <p:ext uri="{BB962C8B-B14F-4D97-AF65-F5344CB8AC3E}">
        <p14:creationId xmlns:p14="http://schemas.microsoft.com/office/powerpoint/2010/main" val="4141991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E506A-DBAE-8796-424B-A9F15FE49EDD}"/>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3C0CD003-E99F-F1D7-9811-227034D477B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530DFF6-AB5E-97E7-0056-7BC5993C0623}"/>
              </a:ext>
            </a:extLst>
          </p:cNvPr>
          <p:cNvSpPr>
            <a:spLocks noGrp="1"/>
          </p:cNvSpPr>
          <p:nvPr>
            <p:ph type="body" idx="1"/>
          </p:nvPr>
        </p:nvSpPr>
        <p:spPr/>
        <p:txBody>
          <a:bodyPr/>
          <a:lstStyle/>
          <a:p>
            <a:pPr>
              <a:spcAft>
                <a:spcPts val="1200"/>
              </a:spcAft>
            </a:pPr>
            <a:endParaRPr lang="en-US" dirty="0"/>
          </a:p>
        </p:txBody>
      </p:sp>
      <p:sp>
        <p:nvSpPr>
          <p:cNvPr id="4" name="Espace réservé du numéro de diapositive 3">
            <a:extLst>
              <a:ext uri="{FF2B5EF4-FFF2-40B4-BE49-F238E27FC236}">
                <a16:creationId xmlns:a16="http://schemas.microsoft.com/office/drawing/2014/main" id="{309F6BF8-D3BB-ACAE-4AE5-E61A63ECCA95}"/>
              </a:ext>
            </a:extLst>
          </p:cNvPr>
          <p:cNvSpPr>
            <a:spLocks noGrp="1"/>
          </p:cNvSpPr>
          <p:nvPr>
            <p:ph type="sldNum" sz="quarter" idx="5"/>
          </p:nvPr>
        </p:nvSpPr>
        <p:spPr/>
        <p:txBody>
          <a:bodyPr/>
          <a:lstStyle/>
          <a:p>
            <a:fld id="{0537748E-770F-684E-B745-0B2EC44ABB4F}" type="slidenum">
              <a:rPr lang="fr-CA"/>
              <a:t>32</a:t>
            </a:fld>
            <a:endParaRPr lang="fr-CA"/>
          </a:p>
        </p:txBody>
      </p:sp>
    </p:spTree>
    <p:extLst>
      <p:ext uri="{BB962C8B-B14F-4D97-AF65-F5344CB8AC3E}">
        <p14:creationId xmlns:p14="http://schemas.microsoft.com/office/powerpoint/2010/main" val="40296398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89B77-54FC-0456-AC55-691EA630B626}"/>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5025D977-7F78-854D-2E01-47F95B1993F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3F8A46C0-7AE3-7EE9-6C81-FCA9801EF044}"/>
              </a:ext>
            </a:extLst>
          </p:cNvPr>
          <p:cNvSpPr>
            <a:spLocks noGrp="1"/>
          </p:cNvSpPr>
          <p:nvPr>
            <p:ph type="body" idx="1"/>
          </p:nvPr>
        </p:nvSpPr>
        <p:spPr/>
        <p:txBody>
          <a:bodyPr/>
          <a:lstStyle/>
          <a:p>
            <a:pPr>
              <a:spcAft>
                <a:spcPts val="1200"/>
              </a:spcAft>
            </a:pPr>
            <a:r>
              <a:rPr lang="en-US"/>
              <a:t>Sans surprise, </a:t>
            </a:r>
            <a:r>
              <a:rPr lang="en-US" err="1"/>
              <a:t>c’est</a:t>
            </a:r>
            <a:r>
              <a:rPr lang="en-US"/>
              <a:t> </a:t>
            </a:r>
            <a:r>
              <a:rPr lang="en-US" err="1"/>
              <a:t>l’activité</a:t>
            </a:r>
            <a:r>
              <a:rPr lang="en-US"/>
              <a:t> Clinique </a:t>
            </a:r>
            <a:r>
              <a:rPr lang="en-US" err="1"/>
              <a:t>effectuée</a:t>
            </a:r>
            <a:r>
              <a:rPr lang="en-US"/>
              <a:t> </a:t>
            </a:r>
            <a:r>
              <a:rPr lang="en-US" err="1"/>
              <a:t>en</a:t>
            </a:r>
            <a:r>
              <a:rPr lang="en-US"/>
              <a:t> plus grand </a:t>
            </a:r>
            <a:r>
              <a:rPr lang="en-US" err="1"/>
              <a:t>nombre</a:t>
            </a:r>
            <a:r>
              <a:rPr lang="en-US"/>
              <a:t> </a:t>
            </a:r>
            <a:r>
              <a:rPr lang="en-US" err="1"/>
              <a:t>d’année</a:t>
            </a:r>
            <a:r>
              <a:rPr lang="en-US"/>
              <a:t> </a:t>
            </a:r>
            <a:r>
              <a:rPr lang="en-US" err="1"/>
              <a:t>en</a:t>
            </a:r>
            <a:r>
              <a:rPr lang="en-US"/>
              <a:t> </a:t>
            </a:r>
            <a:r>
              <a:rPr lang="en-US" err="1"/>
              <a:t>année</a:t>
            </a:r>
            <a:r>
              <a:rPr lang="en-US"/>
              <a:t>. </a:t>
            </a:r>
          </a:p>
        </p:txBody>
      </p:sp>
      <p:sp>
        <p:nvSpPr>
          <p:cNvPr id="4" name="Espace réservé du numéro de diapositive 3">
            <a:extLst>
              <a:ext uri="{FF2B5EF4-FFF2-40B4-BE49-F238E27FC236}">
                <a16:creationId xmlns:a16="http://schemas.microsoft.com/office/drawing/2014/main" id="{9597069A-7075-516E-5947-167F49E20D53}"/>
              </a:ext>
            </a:extLst>
          </p:cNvPr>
          <p:cNvSpPr>
            <a:spLocks noGrp="1"/>
          </p:cNvSpPr>
          <p:nvPr>
            <p:ph type="sldNum" sz="quarter" idx="5"/>
          </p:nvPr>
        </p:nvSpPr>
        <p:spPr/>
        <p:txBody>
          <a:bodyPr/>
          <a:lstStyle/>
          <a:p>
            <a:fld id="{0537748E-770F-684E-B745-0B2EC44ABB4F}" type="slidenum">
              <a:rPr lang="fr-CA"/>
              <a:t>33</a:t>
            </a:fld>
            <a:endParaRPr lang="fr-CA"/>
          </a:p>
        </p:txBody>
      </p:sp>
    </p:spTree>
    <p:extLst>
      <p:ext uri="{BB962C8B-B14F-4D97-AF65-F5344CB8AC3E}">
        <p14:creationId xmlns:p14="http://schemas.microsoft.com/office/powerpoint/2010/main" val="40743187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C03E3-5F17-4EE3-134E-E06DA1B403CA}"/>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3B96916A-757B-D626-B7E0-9A8262A9E4A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4ED50D1-AA2C-36B5-6D28-FA2A8D7D2B2F}"/>
              </a:ext>
            </a:extLst>
          </p:cNvPr>
          <p:cNvSpPr>
            <a:spLocks noGrp="1"/>
          </p:cNvSpPr>
          <p:nvPr>
            <p:ph type="body" idx="1"/>
          </p:nvPr>
        </p:nvSpPr>
        <p:spPr/>
        <p:txBody>
          <a:bodyPr/>
          <a:lstStyle/>
          <a:p>
            <a:pPr>
              <a:spcAft>
                <a:spcPts val="1200"/>
              </a:spcAft>
            </a:pPr>
            <a:r>
              <a:rPr lang="en-US"/>
              <a:t>Qui </a:t>
            </a:r>
            <a:r>
              <a:rPr lang="en-US" err="1"/>
              <a:t>paie</a:t>
            </a:r>
            <a:r>
              <a:rPr lang="en-US"/>
              <a:t>, </a:t>
            </a:r>
            <a:r>
              <a:rPr lang="en-US" err="1"/>
              <a:t>combien</a:t>
            </a:r>
            <a:r>
              <a:rPr lang="en-US"/>
              <a:t>, </a:t>
            </a:r>
            <a:r>
              <a:rPr lang="en-US" err="1"/>
              <a:t>limites</a:t>
            </a:r>
            <a:endParaRPr lang="en-US"/>
          </a:p>
          <a:p>
            <a:pPr>
              <a:spcAft>
                <a:spcPts val="1200"/>
              </a:spcAft>
            </a:pPr>
            <a:endParaRPr lang="en-US"/>
          </a:p>
          <a:p>
            <a:pPr>
              <a:spcAft>
                <a:spcPts val="1200"/>
              </a:spcAft>
            </a:pPr>
            <a:r>
              <a:rPr lang="en-US"/>
              <a:t>Difficile </a:t>
            </a:r>
            <a:r>
              <a:rPr lang="en-US" err="1"/>
              <a:t>d’imaginer</a:t>
            </a:r>
            <a:r>
              <a:rPr lang="en-US"/>
              <a:t> </a:t>
            </a:r>
            <a:r>
              <a:rPr lang="en-US" err="1"/>
              <a:t>une</a:t>
            </a:r>
            <a:r>
              <a:rPr lang="en-US"/>
              <a:t> opinion </a:t>
            </a:r>
            <a:r>
              <a:rPr lang="en-US" err="1"/>
              <a:t>d’amorce</a:t>
            </a:r>
            <a:r>
              <a:rPr lang="en-US"/>
              <a:t> </a:t>
            </a:r>
            <a:r>
              <a:rPr lang="en-US" err="1"/>
              <a:t>liée</a:t>
            </a:r>
            <a:r>
              <a:rPr lang="en-US"/>
              <a:t> à </a:t>
            </a:r>
            <a:r>
              <a:rPr lang="en-US" err="1"/>
              <a:t>l’évaluation</a:t>
            </a:r>
            <a:r>
              <a:rPr lang="en-US"/>
              <a:t> </a:t>
            </a:r>
            <a:r>
              <a:rPr lang="en-US" err="1"/>
              <a:t>d’une</a:t>
            </a:r>
            <a:r>
              <a:rPr lang="en-US"/>
              <a:t> prolongation. </a:t>
            </a:r>
          </a:p>
        </p:txBody>
      </p:sp>
      <p:sp>
        <p:nvSpPr>
          <p:cNvPr id="4" name="Espace réservé du numéro de diapositive 3">
            <a:extLst>
              <a:ext uri="{FF2B5EF4-FFF2-40B4-BE49-F238E27FC236}">
                <a16:creationId xmlns:a16="http://schemas.microsoft.com/office/drawing/2014/main" id="{09CCB133-F1D6-E775-8C88-8B4C9020714D}"/>
              </a:ext>
            </a:extLst>
          </p:cNvPr>
          <p:cNvSpPr>
            <a:spLocks noGrp="1"/>
          </p:cNvSpPr>
          <p:nvPr>
            <p:ph type="sldNum" sz="quarter" idx="5"/>
          </p:nvPr>
        </p:nvSpPr>
        <p:spPr/>
        <p:txBody>
          <a:bodyPr/>
          <a:lstStyle/>
          <a:p>
            <a:fld id="{0537748E-770F-684E-B745-0B2EC44ABB4F}" type="slidenum">
              <a:rPr lang="fr-CA"/>
              <a:t>34</a:t>
            </a:fld>
            <a:endParaRPr lang="fr-CA"/>
          </a:p>
        </p:txBody>
      </p:sp>
    </p:spTree>
    <p:extLst>
      <p:ext uri="{BB962C8B-B14F-4D97-AF65-F5344CB8AC3E}">
        <p14:creationId xmlns:p14="http://schemas.microsoft.com/office/powerpoint/2010/main" val="33363732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4</a:t>
            </a:fld>
            <a:endParaRPr lang="fr-CA"/>
          </a:p>
        </p:txBody>
      </p:sp>
    </p:spTree>
    <p:extLst>
      <p:ext uri="{BB962C8B-B14F-4D97-AF65-F5344CB8AC3E}">
        <p14:creationId xmlns:p14="http://schemas.microsoft.com/office/powerpoint/2010/main" val="33243102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0ECE6-68F3-3236-94B1-8170B9EA21FA}"/>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422F1F32-DE34-8954-5FA3-CA1B42CCDAC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4D0A837-BF76-7E49-C2FD-5433818B8829}"/>
              </a:ext>
            </a:extLst>
          </p:cNvPr>
          <p:cNvSpPr>
            <a:spLocks noGrp="1"/>
          </p:cNvSpPr>
          <p:nvPr>
            <p:ph type="body" idx="1"/>
          </p:nvPr>
        </p:nvSpPr>
        <p:spPr/>
        <p:txBody>
          <a:bodyPr/>
          <a:lstStyle/>
          <a:p>
            <a:pPr>
              <a:spcAft>
                <a:spcPts val="1200"/>
              </a:spcAft>
            </a:pPr>
            <a:endParaRPr lang="en-US" err="1"/>
          </a:p>
        </p:txBody>
      </p:sp>
      <p:sp>
        <p:nvSpPr>
          <p:cNvPr id="4" name="Espace réservé du numéro de diapositive 3">
            <a:extLst>
              <a:ext uri="{FF2B5EF4-FFF2-40B4-BE49-F238E27FC236}">
                <a16:creationId xmlns:a16="http://schemas.microsoft.com/office/drawing/2014/main" id="{E35D4706-BF0D-676F-9173-A4502E975E17}"/>
              </a:ext>
            </a:extLst>
          </p:cNvPr>
          <p:cNvSpPr>
            <a:spLocks noGrp="1"/>
          </p:cNvSpPr>
          <p:nvPr>
            <p:ph type="sldNum" sz="quarter" idx="5"/>
          </p:nvPr>
        </p:nvSpPr>
        <p:spPr/>
        <p:txBody>
          <a:bodyPr/>
          <a:lstStyle/>
          <a:p>
            <a:fld id="{0537748E-770F-684E-B745-0B2EC44ABB4F}" type="slidenum">
              <a:rPr lang="fr-CA"/>
              <a:t>35</a:t>
            </a:fld>
            <a:endParaRPr lang="fr-CA"/>
          </a:p>
        </p:txBody>
      </p:sp>
    </p:spTree>
    <p:extLst>
      <p:ext uri="{BB962C8B-B14F-4D97-AF65-F5344CB8AC3E}">
        <p14:creationId xmlns:p14="http://schemas.microsoft.com/office/powerpoint/2010/main" val="29392289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Ajout liste de conditions </a:t>
            </a:r>
            <a:endParaRPr lang="fr-FR"/>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36</a:t>
            </a:fld>
            <a:endParaRPr lang="fr-CA"/>
          </a:p>
        </p:txBody>
      </p:sp>
    </p:spTree>
    <p:extLst>
      <p:ext uri="{BB962C8B-B14F-4D97-AF65-F5344CB8AC3E}">
        <p14:creationId xmlns:p14="http://schemas.microsoft.com/office/powerpoint/2010/main" val="20989175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6C33A-BE87-A461-0D56-282BC5FE60AF}"/>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A5786562-AD29-6E65-2D84-0B13710245B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EACC5B5-629C-3A25-419E-99F869FD0066}"/>
              </a:ext>
            </a:extLst>
          </p:cNvPr>
          <p:cNvSpPr>
            <a:spLocks noGrp="1"/>
          </p:cNvSpPr>
          <p:nvPr>
            <p:ph type="body" idx="1"/>
          </p:nvPr>
        </p:nvSpPr>
        <p:spPr/>
        <p:txBody>
          <a:bodyPr/>
          <a:lstStyle/>
          <a:p>
            <a:pPr>
              <a:spcAft>
                <a:spcPts val="1200"/>
              </a:spcAft>
            </a:pPr>
            <a:endParaRPr lang="en-US">
              <a:solidFill>
                <a:srgbClr val="454547"/>
              </a:solidFill>
            </a:endParaRPr>
          </a:p>
          <a:p>
            <a:pPr>
              <a:spcAft>
                <a:spcPts val="1200"/>
              </a:spcAft>
            </a:pPr>
            <a:r>
              <a:rPr lang="fr-CA">
                <a:hlinkClick r:id="rId3"/>
              </a:rPr>
              <a:t>Prévalence de l'hypertension artérielle | Institut national de santé publique du Québec</a:t>
            </a:r>
            <a:endParaRPr lang="fr-CA"/>
          </a:p>
          <a:p>
            <a:pPr>
              <a:spcAft>
                <a:spcPts val="1200"/>
              </a:spcAft>
            </a:pPr>
            <a:r>
              <a:rPr lang="en-US">
                <a:hlinkClick r:id="rId4"/>
              </a:rPr>
              <a:t>Prevalence and management of dyslipidemia in primary care practices in Canada</a:t>
            </a:r>
            <a:endParaRPr lang="en-US"/>
          </a:p>
          <a:p>
            <a:pPr>
              <a:spcAft>
                <a:spcPts val="1200"/>
              </a:spcAft>
            </a:pPr>
            <a:r>
              <a:rPr lang="fr-CA">
                <a:hlinkClick r:id="rId5"/>
              </a:rPr>
              <a:t>Hypothyroïdie subclinique et dépistage par dosage de la TSH | The </a:t>
            </a:r>
            <a:r>
              <a:rPr lang="fr-CA" err="1">
                <a:hlinkClick r:id="rId5"/>
              </a:rPr>
              <a:t>College</a:t>
            </a:r>
            <a:r>
              <a:rPr lang="fr-CA">
                <a:hlinkClick r:id="rId5"/>
              </a:rPr>
              <a:t> of Family </a:t>
            </a:r>
            <a:r>
              <a:rPr lang="fr-CA" err="1">
                <a:hlinkClick r:id="rId5"/>
              </a:rPr>
              <a:t>Physicians</a:t>
            </a:r>
            <a:r>
              <a:rPr lang="fr-CA">
                <a:hlinkClick r:id="rId5"/>
              </a:rPr>
              <a:t> of Canada</a:t>
            </a:r>
            <a:endParaRPr lang="fr-CA"/>
          </a:p>
          <a:p>
            <a:pPr>
              <a:spcAft>
                <a:spcPts val="1200"/>
              </a:spcAft>
            </a:pPr>
            <a:r>
              <a:rPr lang="fr-CA">
                <a:hlinkClick r:id="rId6"/>
              </a:rPr>
              <a:t>Prévalence du diabète | Institut national de santé publique du Québec</a:t>
            </a:r>
            <a:endParaRPr lang="fr-CA"/>
          </a:p>
          <a:p>
            <a:pPr>
              <a:spcAft>
                <a:spcPts val="1200"/>
              </a:spcAft>
            </a:pPr>
            <a:r>
              <a:rPr lang="fr-CA">
                <a:hlinkClick r:id="rId7"/>
              </a:rPr>
              <a:t>Prévalence de la migraine chez la population à domicile au Canada</a:t>
            </a:r>
            <a:endParaRPr lang="fr-CA"/>
          </a:p>
          <a:p>
            <a:pPr>
              <a:spcAft>
                <a:spcPts val="1200"/>
              </a:spcAft>
            </a:pPr>
            <a:r>
              <a:rPr lang="fr-CA">
                <a:hlinkClick r:id="rId8"/>
              </a:rPr>
              <a:t>https://publications.msss.gouv.qc.ca/msss/fichiers/2021/21-947-05W.pdf</a:t>
            </a:r>
            <a:endParaRPr lang="fr-CA"/>
          </a:p>
          <a:p>
            <a:pPr>
              <a:spcAft>
                <a:spcPts val="1200"/>
              </a:spcAft>
            </a:pPr>
            <a:r>
              <a:rPr lang="fr-CA">
                <a:hlinkClick r:id="rId9"/>
              </a:rPr>
              <a:t>Prévalence de l'asthme - Statistiques de santé et de bien être selon le sexe - Tout le Québec - Professionnels de la santé - MSSS</a:t>
            </a:r>
            <a:endParaRPr lang="fr-CA"/>
          </a:p>
          <a:p>
            <a:pPr>
              <a:spcAft>
                <a:spcPts val="1200"/>
              </a:spcAft>
            </a:pPr>
            <a:r>
              <a:rPr lang="fr-CA">
                <a:hlinkClick r:id="rId10"/>
              </a:rPr>
              <a:t>Prévalence de la maladie pulmonaire obstructive chronique (MPOC) | Institut national de santé publique du Québec</a:t>
            </a:r>
            <a:endParaRPr lang="en-US"/>
          </a:p>
        </p:txBody>
      </p:sp>
      <p:sp>
        <p:nvSpPr>
          <p:cNvPr id="4" name="Espace réservé du numéro de diapositive 3">
            <a:extLst>
              <a:ext uri="{FF2B5EF4-FFF2-40B4-BE49-F238E27FC236}">
                <a16:creationId xmlns:a16="http://schemas.microsoft.com/office/drawing/2014/main" id="{98637715-EF5B-1E70-64EF-F184F4A32F2D}"/>
              </a:ext>
            </a:extLst>
          </p:cNvPr>
          <p:cNvSpPr>
            <a:spLocks noGrp="1"/>
          </p:cNvSpPr>
          <p:nvPr>
            <p:ph type="sldNum" sz="quarter" idx="5"/>
          </p:nvPr>
        </p:nvSpPr>
        <p:spPr/>
        <p:txBody>
          <a:bodyPr/>
          <a:lstStyle/>
          <a:p>
            <a:fld id="{0537748E-770F-684E-B745-0B2EC44ABB4F}" type="slidenum">
              <a:rPr lang="fr-CA"/>
              <a:t>37</a:t>
            </a:fld>
            <a:endParaRPr lang="fr-CA"/>
          </a:p>
        </p:txBody>
      </p:sp>
    </p:spTree>
    <p:extLst>
      <p:ext uri="{BB962C8B-B14F-4D97-AF65-F5344CB8AC3E}">
        <p14:creationId xmlns:p14="http://schemas.microsoft.com/office/powerpoint/2010/main" val="7133920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11986-E30E-C061-D004-932A081AB7F5}"/>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EE9CF327-CC10-27DA-9159-D0D0305CC5F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444D782-6F34-3349-8551-BEB0D8B20128}"/>
              </a:ext>
            </a:extLst>
          </p:cNvPr>
          <p:cNvSpPr>
            <a:spLocks noGrp="1"/>
          </p:cNvSpPr>
          <p:nvPr>
            <p:ph type="body" idx="1"/>
          </p:nvPr>
        </p:nvSpPr>
        <p:spPr/>
        <p:txBody>
          <a:bodyPr/>
          <a:lstStyle/>
          <a:p>
            <a:pPr>
              <a:spcAft>
                <a:spcPts val="1200"/>
              </a:spcAft>
            </a:pPr>
            <a:endParaRPr lang="en-US" err="1"/>
          </a:p>
        </p:txBody>
      </p:sp>
      <p:sp>
        <p:nvSpPr>
          <p:cNvPr id="4" name="Espace réservé du numéro de diapositive 3">
            <a:extLst>
              <a:ext uri="{FF2B5EF4-FFF2-40B4-BE49-F238E27FC236}">
                <a16:creationId xmlns:a16="http://schemas.microsoft.com/office/drawing/2014/main" id="{9D9D218D-D29C-34B0-48E8-251D79CFCF87}"/>
              </a:ext>
            </a:extLst>
          </p:cNvPr>
          <p:cNvSpPr>
            <a:spLocks noGrp="1"/>
          </p:cNvSpPr>
          <p:nvPr>
            <p:ph type="sldNum" sz="quarter" idx="5"/>
          </p:nvPr>
        </p:nvSpPr>
        <p:spPr/>
        <p:txBody>
          <a:bodyPr/>
          <a:lstStyle/>
          <a:p>
            <a:fld id="{0537748E-770F-684E-B745-0B2EC44ABB4F}" type="slidenum">
              <a:rPr lang="fr-CA"/>
              <a:t>38</a:t>
            </a:fld>
            <a:endParaRPr lang="fr-CA"/>
          </a:p>
        </p:txBody>
      </p:sp>
    </p:spTree>
    <p:extLst>
      <p:ext uri="{BB962C8B-B14F-4D97-AF65-F5344CB8AC3E}">
        <p14:creationId xmlns:p14="http://schemas.microsoft.com/office/powerpoint/2010/main" val="19216600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5C57B-A211-F730-4AEE-A39EB95E7D7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7F2179B-086F-B3A2-C745-2866DAC85A0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58DB55B-C036-F639-1DB2-6A91889D935F}"/>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DAB1394E-FA4B-3223-41A4-788B1A1AB817}"/>
              </a:ext>
            </a:extLst>
          </p:cNvPr>
          <p:cNvSpPr>
            <a:spLocks noGrp="1"/>
          </p:cNvSpPr>
          <p:nvPr>
            <p:ph type="sldNum" sz="quarter" idx="5"/>
          </p:nvPr>
        </p:nvSpPr>
        <p:spPr/>
        <p:txBody>
          <a:bodyPr/>
          <a:lstStyle/>
          <a:p>
            <a:fld id="{133EF8AE-D5E0-4440-B07D-0833DEA54407}" type="slidenum">
              <a:rPr lang="fr-CA" smtClean="0"/>
              <a:t>40</a:t>
            </a:fld>
            <a:endParaRPr lang="fr-CA"/>
          </a:p>
        </p:txBody>
      </p:sp>
    </p:spTree>
    <p:extLst>
      <p:ext uri="{BB962C8B-B14F-4D97-AF65-F5344CB8AC3E}">
        <p14:creationId xmlns:p14="http://schemas.microsoft.com/office/powerpoint/2010/main" val="31036188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B22A2-50D9-8B56-36F0-4F4FC6A04AB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6E72ED6-748F-099E-AECC-999E0A8C38E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68E5F64-5F91-F6F3-A79F-18A350ED7B3C}"/>
              </a:ext>
            </a:extLst>
          </p:cNvPr>
          <p:cNvSpPr>
            <a:spLocks noGrp="1"/>
          </p:cNvSpPr>
          <p:nvPr>
            <p:ph type="body" idx="1"/>
          </p:nvPr>
        </p:nvSpPr>
        <p:spPr/>
        <p:txBody>
          <a:bodyPr/>
          <a:lstStyle/>
          <a:p>
            <a:r>
              <a:rPr lang="fr-CA" sz="1200" b="0" i="0" kern="1200">
                <a:solidFill>
                  <a:schemeClr val="tx1"/>
                </a:solidFill>
                <a:effectLst/>
                <a:latin typeface="+mn-lt"/>
                <a:ea typeface="+mn-ea"/>
                <a:cs typeface="+mn-cs"/>
              </a:rPr>
              <a:t>les situations justifiant l’usage du code d’intervention MK </a:t>
            </a:r>
            <a:r>
              <a:rPr lang="fr-CA" sz="1200" b="1" i="0" kern="1200">
                <a:solidFill>
                  <a:schemeClr val="tx1"/>
                </a:solidFill>
                <a:effectLst/>
                <a:latin typeface="+mn-lt"/>
                <a:ea typeface="+mn-ea"/>
                <a:cs typeface="+mn-cs"/>
              </a:rPr>
              <a:t>n’incluent pas la conservation de l’anonymat d’une personne par le biais de la création d’un pseudonyme</a:t>
            </a:r>
            <a:r>
              <a:rPr lang="fr-CA" sz="1200" b="0" i="0" kern="1200">
                <a:solidFill>
                  <a:schemeClr val="tx1"/>
                </a:solidFill>
                <a:effectLst/>
                <a:latin typeface="+mn-lt"/>
                <a:ea typeface="+mn-ea"/>
                <a:cs typeface="+mn-cs"/>
              </a:rPr>
              <a:t>. </a:t>
            </a:r>
            <a:endParaRPr lang="fr-CA"/>
          </a:p>
        </p:txBody>
      </p:sp>
      <p:sp>
        <p:nvSpPr>
          <p:cNvPr id="4" name="Espace réservé du numéro de diapositive 3">
            <a:extLst>
              <a:ext uri="{FF2B5EF4-FFF2-40B4-BE49-F238E27FC236}">
                <a16:creationId xmlns:a16="http://schemas.microsoft.com/office/drawing/2014/main" id="{10E3AE2C-ABFD-1BB9-C105-A70836D0C8DB}"/>
              </a:ext>
            </a:extLst>
          </p:cNvPr>
          <p:cNvSpPr>
            <a:spLocks noGrp="1"/>
          </p:cNvSpPr>
          <p:nvPr>
            <p:ph type="sldNum" sz="quarter" idx="5"/>
          </p:nvPr>
        </p:nvSpPr>
        <p:spPr/>
        <p:txBody>
          <a:bodyPr/>
          <a:lstStyle/>
          <a:p>
            <a:fld id="{133EF8AE-D5E0-4440-B07D-0833DEA54407}" type="slidenum">
              <a:rPr lang="fr-CA" smtClean="0"/>
              <a:t>41</a:t>
            </a:fld>
            <a:endParaRPr lang="fr-CA"/>
          </a:p>
        </p:txBody>
      </p:sp>
    </p:spTree>
    <p:extLst>
      <p:ext uri="{BB962C8B-B14F-4D97-AF65-F5344CB8AC3E}">
        <p14:creationId xmlns:p14="http://schemas.microsoft.com/office/powerpoint/2010/main" val="6885268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39CC9-EA09-C630-A939-4DB18DEDC6C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8117359-0F74-1AE2-3E83-2E69440EDEC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692C29A-5542-7EFF-A72F-C5763DCA97B1}"/>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8CAACDA1-24FB-BBB3-4A31-4584664211D6}"/>
              </a:ext>
            </a:extLst>
          </p:cNvPr>
          <p:cNvSpPr>
            <a:spLocks noGrp="1"/>
          </p:cNvSpPr>
          <p:nvPr>
            <p:ph type="sldNum" sz="quarter" idx="5"/>
          </p:nvPr>
        </p:nvSpPr>
        <p:spPr/>
        <p:txBody>
          <a:bodyPr/>
          <a:lstStyle/>
          <a:p>
            <a:fld id="{133EF8AE-D5E0-4440-B07D-0833DEA54407}" type="slidenum">
              <a:rPr lang="fr-CA" smtClean="0"/>
              <a:t>42</a:t>
            </a:fld>
            <a:endParaRPr lang="fr-CA"/>
          </a:p>
        </p:txBody>
      </p:sp>
    </p:spTree>
    <p:extLst>
      <p:ext uri="{BB962C8B-B14F-4D97-AF65-F5344CB8AC3E}">
        <p14:creationId xmlns:p14="http://schemas.microsoft.com/office/powerpoint/2010/main" val="23805415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E02B8-2373-0396-96D3-F54F6925DB6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745CD51-F48B-19F3-D54A-821C5FE977B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86CFBD5-B666-062C-7350-F722337AE5E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kern="1200" dirty="0">
                <a:solidFill>
                  <a:schemeClr val="tx1"/>
                </a:solidFill>
                <a:effectLst/>
                <a:latin typeface="+mn-lt"/>
                <a:ea typeface="+mn-ea"/>
                <a:cs typeface="+mn-cs"/>
              </a:rPr>
              <a:t>Aborder facturation si </a:t>
            </a:r>
            <a:r>
              <a:rPr lang="fr-CA" sz="1200" kern="1200" dirty="0" err="1">
                <a:solidFill>
                  <a:schemeClr val="tx1"/>
                </a:solidFill>
                <a:effectLst/>
                <a:latin typeface="+mn-lt"/>
                <a:ea typeface="+mn-ea"/>
                <a:cs typeface="+mn-cs"/>
              </a:rPr>
              <a:t>phcie</a:t>
            </a:r>
            <a:r>
              <a:rPr lang="fr-CA" sz="1200" kern="1200" dirty="0">
                <a:solidFill>
                  <a:schemeClr val="tx1"/>
                </a:solidFill>
                <a:effectLst/>
                <a:latin typeface="+mn-lt"/>
                <a:ea typeface="+mn-ea"/>
                <a:cs typeface="+mn-cs"/>
              </a:rPr>
              <a:t> fait cette mise en seringue pour le patient ? La conclusion est de servir des plateaux de seringues ? Si oui, j’en profiterais pour aborder cela.</a:t>
            </a:r>
          </a:p>
          <a:p>
            <a:endParaRPr lang="fr-CA" dirty="0"/>
          </a:p>
        </p:txBody>
      </p:sp>
      <p:sp>
        <p:nvSpPr>
          <p:cNvPr id="4" name="Espace réservé du numéro de diapositive 3">
            <a:extLst>
              <a:ext uri="{FF2B5EF4-FFF2-40B4-BE49-F238E27FC236}">
                <a16:creationId xmlns:a16="http://schemas.microsoft.com/office/drawing/2014/main" id="{2D17709C-A196-EB5F-1F06-7E33C12EC68D}"/>
              </a:ext>
            </a:extLst>
          </p:cNvPr>
          <p:cNvSpPr>
            <a:spLocks noGrp="1"/>
          </p:cNvSpPr>
          <p:nvPr>
            <p:ph type="sldNum" sz="quarter" idx="5"/>
          </p:nvPr>
        </p:nvSpPr>
        <p:spPr/>
        <p:txBody>
          <a:bodyPr/>
          <a:lstStyle/>
          <a:p>
            <a:fld id="{133EF8AE-D5E0-4440-B07D-0833DEA54407}" type="slidenum">
              <a:rPr lang="fr-CA" smtClean="0"/>
              <a:t>43</a:t>
            </a:fld>
            <a:endParaRPr lang="fr-CA"/>
          </a:p>
        </p:txBody>
      </p:sp>
    </p:spTree>
    <p:extLst>
      <p:ext uri="{BB962C8B-B14F-4D97-AF65-F5344CB8AC3E}">
        <p14:creationId xmlns:p14="http://schemas.microsoft.com/office/powerpoint/2010/main" val="36719266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ADD3E55F-72F5-4BB8-AA18-7A6DCA85DF0E}" type="slidenum">
              <a:rPr lang="fr-CA" smtClean="0"/>
              <a:t>45</a:t>
            </a:fld>
            <a:endParaRPr lang="fr-CA"/>
          </a:p>
        </p:txBody>
      </p:sp>
    </p:spTree>
    <p:extLst>
      <p:ext uri="{BB962C8B-B14F-4D97-AF65-F5344CB8AC3E}">
        <p14:creationId xmlns:p14="http://schemas.microsoft.com/office/powerpoint/2010/main" val="26375174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MP</a:t>
            </a:r>
          </a:p>
          <a:p>
            <a:r>
              <a:rPr lang="fr-CA"/>
              <a:t>Activités PL 67 pas du tout </a:t>
            </a:r>
            <a:r>
              <a:rPr lang="fr-CA" sz="1200" b="0" i="0">
                <a:effectLst/>
                <a:latin typeface="Aptos" panose="020B0004020202020204" pitchFamily="34" charset="0"/>
              </a:rPr>
              <a:t>prévu entente actuelle </a:t>
            </a:r>
            <a:endParaRPr lang="fr-CA" b="0" i="0">
              <a:effectLst/>
            </a:endParaRPr>
          </a:p>
          <a:p>
            <a:pPr algn="l" rtl="0" fontAlgn="base">
              <a:lnSpc>
                <a:spcPts val="1425"/>
              </a:lnSpc>
            </a:pPr>
            <a:r>
              <a:rPr lang="fr-CA" sz="1200" b="0" i="0">
                <a:effectLst/>
                <a:latin typeface="Aptos" panose="020B0004020202020204" pitchFamily="34" charset="0"/>
              </a:rPr>
              <a:t>1- Prélèvement au niveau nasal </a:t>
            </a:r>
            <a:endParaRPr lang="fr-CA" b="0" i="0">
              <a:effectLst/>
            </a:endParaRPr>
          </a:p>
          <a:p>
            <a:pPr algn="l" rtl="0" fontAlgn="base">
              <a:lnSpc>
                <a:spcPts val="1425"/>
              </a:lnSpc>
            </a:pPr>
            <a:r>
              <a:rPr lang="fr-CA" sz="1200" b="0" i="0">
                <a:effectLst/>
                <a:latin typeface="Aptos" panose="020B0004020202020204" pitchFamily="34" charset="0"/>
              </a:rPr>
              <a:t>2- Dépistage de conditions asymptomatiques </a:t>
            </a:r>
            <a:endParaRPr lang="fr-CA" b="0" i="0">
              <a:effectLst/>
            </a:endParaRPr>
          </a:p>
          <a:p>
            <a:endParaRPr lang="fr-CA"/>
          </a:p>
          <a:p>
            <a:endParaRPr lang="fr-CA"/>
          </a:p>
          <a:p>
            <a:endParaRPr lang="fr-CA"/>
          </a:p>
        </p:txBody>
      </p:sp>
      <p:sp>
        <p:nvSpPr>
          <p:cNvPr id="4" name="Espace réservé du numéro de diapositive 3"/>
          <p:cNvSpPr>
            <a:spLocks noGrp="1"/>
          </p:cNvSpPr>
          <p:nvPr>
            <p:ph type="sldNum" sz="quarter" idx="5"/>
          </p:nvPr>
        </p:nvSpPr>
        <p:spPr/>
        <p:txBody>
          <a:bodyPr/>
          <a:lstStyle/>
          <a:p>
            <a:fld id="{ADD3E55F-72F5-4BB8-AA18-7A6DCA85DF0E}" type="slidenum">
              <a:rPr lang="fr-CA" smtClean="0"/>
              <a:t>46</a:t>
            </a:fld>
            <a:endParaRPr lang="fr-CA"/>
          </a:p>
        </p:txBody>
      </p:sp>
    </p:spTree>
    <p:extLst>
      <p:ext uri="{BB962C8B-B14F-4D97-AF65-F5344CB8AC3E}">
        <p14:creationId xmlns:p14="http://schemas.microsoft.com/office/powerpoint/2010/main" val="2078499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15000"/>
              </a:lnSpc>
              <a:spcAft>
                <a:spcPts val="800"/>
              </a:spcAft>
            </a:pPr>
            <a:r>
              <a:rPr lang="en-US" dirty="0"/>
              <a:t>Conditions de succès pour </a:t>
            </a:r>
            <a:r>
              <a:rPr lang="en-US" dirty="0" err="1"/>
              <a:t>avancer</a:t>
            </a:r>
            <a:r>
              <a:rPr lang="en-US" dirty="0"/>
              <a:t> </a:t>
            </a:r>
            <a:r>
              <a:rPr lang="en-US" dirty="0" err="1"/>
              <a:t>vers</a:t>
            </a:r>
            <a:r>
              <a:rPr lang="en-US" dirty="0"/>
              <a:t> le PL67</a:t>
            </a:r>
          </a:p>
          <a:p>
            <a:pPr>
              <a:lnSpc>
                <a:spcPct val="115000"/>
              </a:lnSpc>
              <a:spcAft>
                <a:spcPts val="800"/>
              </a:spcAft>
            </a:pPr>
            <a:endParaRPr lang="en-US" sz="1200" kern="100" dirty="0">
              <a:effectLst/>
              <a:latin typeface="Aptos"/>
              <a:ea typeface="Aptos" panose="020B0004020202020204" pitchFamily="34" charset="0"/>
              <a:cs typeface="Times New Roman" panose="02020603050405020304" pitchFamily="18" charset="0"/>
            </a:endParaRPr>
          </a:p>
          <a:p>
            <a:pPr lvl="0"/>
            <a:r>
              <a:rPr lang="fr-CA" dirty="0"/>
              <a:t>Protéger notre droit de propriété pour renforcer notre indépendance professionnelle</a:t>
            </a:r>
            <a:endParaRPr lang="en-US" dirty="0"/>
          </a:p>
          <a:p>
            <a:pPr lvl="0"/>
            <a:r>
              <a:rPr lang="fr-CA" dirty="0"/>
              <a:t>Gérer la rareté de main-d'œuvre (équipes stables et engagées) </a:t>
            </a:r>
            <a:endParaRPr lang="en-US" dirty="0"/>
          </a:p>
          <a:p>
            <a:pPr lvl="0"/>
            <a:r>
              <a:rPr lang="fr-CA" dirty="0"/>
              <a:t>Automatiser et optimiser nos opérations</a:t>
            </a:r>
            <a:endParaRPr lang="en-US" dirty="0"/>
          </a:p>
          <a:p>
            <a:pPr lvl="0"/>
            <a:r>
              <a:rPr lang="fr-CA" dirty="0"/>
              <a:t>Rémunération adéquate des services</a:t>
            </a:r>
            <a:endParaRPr lang="en-US" dirty="0"/>
          </a:p>
          <a:p>
            <a:pPr lvl="0"/>
            <a:r>
              <a:rPr lang="fr-CA" dirty="0"/>
              <a:t>Démocratiser l'accès aux médicaments de spécialité</a:t>
            </a:r>
            <a:endParaRPr lang="en-US" dirty="0"/>
          </a:p>
          <a:p>
            <a:pPr>
              <a:lnSpc>
                <a:spcPct val="115000"/>
              </a:lnSpc>
              <a:spcAft>
                <a:spcPts val="800"/>
              </a:spcAft>
            </a:pPr>
            <a:endParaRPr lang="fr-CA" sz="1200" kern="100" dirty="0">
              <a:effectLst/>
              <a:latin typeface="Aptos"/>
              <a:ea typeface="Aptos" panose="020B0004020202020204" pitchFamily="34" charset="0"/>
              <a:cs typeface="Times New Roman" panose="02020603050405020304" pitchFamily="18" charset="0"/>
            </a:endParaRPr>
          </a:p>
          <a:p>
            <a:pPr>
              <a:lnSpc>
                <a:spcPct val="115000"/>
              </a:lnSpc>
              <a:spcAft>
                <a:spcPts val="800"/>
              </a:spcAft>
            </a:pPr>
            <a:endParaRPr lang="fr-CA" sz="1200" kern="100" dirty="0">
              <a:effectLst/>
              <a:latin typeface="Aptos"/>
              <a:ea typeface="Aptos" panose="020B0004020202020204" pitchFamily="34" charset="0"/>
              <a:cs typeface="Times New Roman" panose="02020603050405020304" pitchFamily="18" charset="0"/>
            </a:endParaRPr>
          </a:p>
          <a:p>
            <a:pPr>
              <a:lnSpc>
                <a:spcPct val="115000"/>
              </a:lnSpc>
              <a:spcAft>
                <a:spcPts val="800"/>
              </a:spcAft>
            </a:pPr>
            <a:r>
              <a:rPr lang="fr-CA" sz="1200" kern="100" dirty="0">
                <a:effectLst/>
                <a:latin typeface="Aptos"/>
                <a:ea typeface="Aptos" panose="020B0004020202020204" pitchFamily="34" charset="0"/>
                <a:cs typeface="Times New Roman" panose="02020603050405020304" pitchFamily="18" charset="0"/>
              </a:rPr>
              <a:t>En parallèle, </a:t>
            </a:r>
            <a:r>
              <a:rPr lang="fr-CA" sz="1200" kern="100" dirty="0">
                <a:latin typeface="Aptos"/>
                <a:ea typeface="Aptos" panose="020B0004020202020204" pitchFamily="34" charset="0"/>
                <a:cs typeface="Times New Roman" panose="02020603050405020304" pitchFamily="18" charset="0"/>
              </a:rPr>
              <a:t>on continue</a:t>
            </a:r>
            <a:r>
              <a:rPr lang="fr-CA" sz="1200" kern="100" dirty="0">
                <a:effectLst/>
                <a:latin typeface="Aptos"/>
                <a:ea typeface="Aptos" panose="020B0004020202020204" pitchFamily="34" charset="0"/>
                <a:cs typeface="Times New Roman" panose="02020603050405020304" pitchFamily="18" charset="0"/>
              </a:rPr>
              <a:t> de faire des représentations pour que les conditions de succès </a:t>
            </a:r>
            <a:r>
              <a:rPr lang="fr-CA" sz="1200" kern="100" dirty="0">
                <a:latin typeface="Aptos"/>
                <a:ea typeface="Aptos" panose="020B0004020202020204" pitchFamily="34" charset="0"/>
                <a:cs typeface="Times New Roman" panose="02020603050405020304" pitchFamily="18" charset="0"/>
              </a:rPr>
              <a:t>nécessaires</a:t>
            </a:r>
            <a:r>
              <a:rPr lang="fr-CA" sz="1200" kern="100" dirty="0">
                <a:effectLst/>
                <a:latin typeface="Aptos"/>
                <a:ea typeface="Aptos" panose="020B0004020202020204" pitchFamily="34" charset="0"/>
                <a:cs typeface="Times New Roman" panose="02020603050405020304" pitchFamily="18" charset="0"/>
              </a:rPr>
              <a:t> au déploiement </a:t>
            </a:r>
            <a:r>
              <a:rPr lang="fr-CA" sz="1200" kern="100" dirty="0">
                <a:latin typeface="Aptos"/>
                <a:ea typeface="Aptos" panose="020B0004020202020204" pitchFamily="34" charset="0"/>
                <a:cs typeface="Times New Roman" panose="02020603050405020304" pitchFamily="18" charset="0"/>
              </a:rPr>
              <a:t>optimal</a:t>
            </a:r>
            <a:r>
              <a:rPr lang="fr-CA" sz="1200" kern="100" dirty="0">
                <a:effectLst/>
                <a:latin typeface="Aptos"/>
                <a:ea typeface="Aptos" panose="020B0004020202020204" pitchFamily="34" charset="0"/>
                <a:cs typeface="Times New Roman" panose="02020603050405020304" pitchFamily="18" charset="0"/>
              </a:rPr>
              <a:t> des nouvelles activités soient mises en place par le gouvernement. </a:t>
            </a:r>
          </a:p>
          <a:p>
            <a:pPr>
              <a:lnSpc>
                <a:spcPct val="115000"/>
              </a:lnSpc>
              <a:spcAft>
                <a:spcPts val="800"/>
              </a:spcAft>
            </a:pPr>
            <a:endParaRPr lang="fr-CA"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fr-CA" sz="1200" kern="100" dirty="0">
                <a:effectLst/>
                <a:latin typeface="Aptos"/>
                <a:ea typeface="Aptos" panose="020B0004020202020204" pitchFamily="34" charset="0"/>
                <a:cs typeface="Times New Roman" panose="02020603050405020304" pitchFamily="18" charset="0"/>
              </a:rPr>
              <a:t>Cela inclut les tarifs, mais aussi la possibilité d'obtenir de l'aide financière pour adapter nos officines et mieux </a:t>
            </a:r>
            <a:r>
              <a:rPr lang="fr-CA" sz="1200" kern="100" dirty="0">
                <a:latin typeface="Aptos"/>
                <a:ea typeface="Aptos" panose="020B0004020202020204" pitchFamily="34" charset="0"/>
                <a:cs typeface="Times New Roman" panose="02020603050405020304" pitchFamily="18" charset="0"/>
              </a:rPr>
              <a:t>jongler</a:t>
            </a:r>
            <a:r>
              <a:rPr lang="fr-CA" sz="1200" kern="100" dirty="0">
                <a:effectLst/>
                <a:latin typeface="Aptos"/>
                <a:ea typeface="Aptos" panose="020B0004020202020204" pitchFamily="34" charset="0"/>
                <a:cs typeface="Times New Roman" panose="02020603050405020304" pitchFamily="18" charset="0"/>
              </a:rPr>
              <a:t> </a:t>
            </a:r>
            <a:r>
              <a:rPr lang="fr-CA" sz="1200" kern="100" dirty="0">
                <a:latin typeface="Aptos"/>
                <a:ea typeface="Aptos" panose="020B0004020202020204" pitchFamily="34" charset="0"/>
                <a:cs typeface="Times New Roman" panose="02020603050405020304" pitchFamily="18" charset="0"/>
              </a:rPr>
              <a:t>avec </a:t>
            </a:r>
            <a:r>
              <a:rPr lang="fr-CA" sz="1200" kern="100" dirty="0">
                <a:effectLst/>
                <a:latin typeface="Aptos"/>
                <a:ea typeface="Aptos" panose="020B0004020202020204" pitchFamily="34" charset="0"/>
                <a:cs typeface="Times New Roman" panose="02020603050405020304" pitchFamily="18" charset="0"/>
              </a:rPr>
              <a:t>la rareté de main-d’œuvre. </a:t>
            </a:r>
          </a:p>
          <a:p>
            <a:pPr>
              <a:lnSpc>
                <a:spcPct val="115000"/>
              </a:lnSpc>
              <a:spcAft>
                <a:spcPts val="800"/>
              </a:spcAft>
            </a:pPr>
            <a:endParaRPr lang="fr-CA" sz="1200" kern="100" dirty="0">
              <a:effectLst/>
              <a:latin typeface="Aptos"/>
              <a:ea typeface="Aptos" panose="020B0004020202020204" pitchFamily="34" charset="0"/>
              <a:cs typeface="Times New Roman" panose="02020603050405020304" pitchFamily="18" charset="0"/>
            </a:endParaRPr>
          </a:p>
          <a:p>
            <a:pPr>
              <a:lnSpc>
                <a:spcPct val="115000"/>
              </a:lnSpc>
              <a:spcAft>
                <a:spcPts val="800"/>
              </a:spcAft>
            </a:pPr>
            <a:r>
              <a:rPr lang="fr-CA" sz="1200" kern="100" dirty="0">
                <a:effectLst/>
                <a:highlight>
                  <a:srgbClr val="FFFF00"/>
                </a:highlight>
                <a:latin typeface="Aptos"/>
                <a:ea typeface="Aptos" panose="020B0004020202020204" pitchFamily="34" charset="0"/>
                <a:cs typeface="Times New Roman" panose="02020603050405020304" pitchFamily="18" charset="0"/>
              </a:rPr>
              <a:t>D’ailleurs </a:t>
            </a:r>
            <a:r>
              <a:rPr lang="fr-CA" sz="1200" b="1" kern="100" dirty="0">
                <a:effectLst/>
                <a:highlight>
                  <a:srgbClr val="FFFF00"/>
                </a:highlight>
                <a:latin typeface="Aptos"/>
                <a:ea typeface="Aptos" panose="020B0004020202020204" pitchFamily="34" charset="0"/>
                <a:cs typeface="Times New Roman" panose="02020603050405020304" pitchFamily="18" charset="0"/>
              </a:rPr>
              <a:t>la rareté de main-d’œuvre </a:t>
            </a:r>
            <a:r>
              <a:rPr lang="fr-CA" sz="1200" kern="100" dirty="0">
                <a:effectLst/>
                <a:highlight>
                  <a:srgbClr val="FFFF00"/>
                </a:highlight>
                <a:latin typeface="Aptos"/>
                <a:ea typeface="Aptos" panose="020B0004020202020204" pitchFamily="34" charset="0"/>
                <a:cs typeface="Times New Roman" panose="02020603050405020304" pitchFamily="18" charset="0"/>
              </a:rPr>
              <a:t>est un frein aux développements des activités cliniques et vous avez un rôle à jouer dans ce système … </a:t>
            </a:r>
            <a:r>
              <a:rPr lang="fr-CA" sz="1200" b="1" i="1" kern="100" dirty="0">
                <a:effectLst/>
                <a:highlight>
                  <a:srgbClr val="FFFF00"/>
                </a:highlight>
                <a:latin typeface="Aptos"/>
                <a:ea typeface="Aptos" panose="020B0004020202020204" pitchFamily="34" charset="0"/>
                <a:cs typeface="Times New Roman" panose="02020603050405020304" pitchFamily="18" charset="0"/>
              </a:rPr>
              <a:t>(parler du remplacement)</a:t>
            </a:r>
          </a:p>
          <a:p>
            <a:pPr marL="0" marR="0" lvl="0" indent="0" algn="l" defTabSz="914400" rtl="0" eaLnBrk="1" fontAlgn="auto" latinLnBrk="0" hangingPunct="1">
              <a:lnSpc>
                <a:spcPct val="115000"/>
              </a:lnSpc>
              <a:spcBef>
                <a:spcPts val="0"/>
              </a:spcBef>
              <a:spcAft>
                <a:spcPts val="800"/>
              </a:spcAft>
              <a:buClrTx/>
              <a:buSzTx/>
              <a:buFontTx/>
              <a:buNone/>
              <a:tabLst/>
              <a:defRPr/>
            </a:pPr>
            <a:r>
              <a:rPr lang="fr-CA" sz="12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l'importance d'avoir des </a:t>
            </a:r>
            <a:r>
              <a:rPr lang="fr-CA" sz="1200" b="1"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équipes stables et engagés</a:t>
            </a:r>
            <a:endParaRPr lang="fr-CA" sz="1200" b="1" i="1" kern="100" dirty="0">
              <a:effectLst/>
              <a:highlight>
                <a:srgbClr val="FFFF00"/>
              </a:highlight>
              <a:latin typeface="Aptos"/>
              <a:ea typeface="Aptos" panose="020B0004020202020204" pitchFamily="34" charset="0"/>
              <a:cs typeface="Times New Roman" panose="02020603050405020304" pitchFamily="18" charset="0"/>
            </a:endParaRPr>
          </a:p>
          <a:p>
            <a:pPr>
              <a:lnSpc>
                <a:spcPct val="115000"/>
              </a:lnSpc>
              <a:spcAft>
                <a:spcPts val="800"/>
              </a:spcAft>
            </a:pPr>
            <a:endParaRPr lang="fr-CA" sz="1200" b="1" i="1" kern="100" dirty="0">
              <a:effectLst/>
              <a:highlight>
                <a:srgbClr val="FFFF00"/>
              </a:highlight>
              <a:latin typeface="Aptos"/>
              <a:ea typeface="Aptos" panose="020B0004020202020204" pitchFamily="34" charset="0"/>
              <a:cs typeface="Times New Roman" panose="02020603050405020304" pitchFamily="18" charset="0"/>
            </a:endParaRPr>
          </a:p>
          <a:p>
            <a:pPr>
              <a:lnSpc>
                <a:spcPct val="115000"/>
              </a:lnSpc>
              <a:spcAft>
                <a:spcPts val="800"/>
              </a:spcAft>
            </a:pPr>
            <a:endParaRPr lang="fr-CA"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fr-CA" sz="1200" kern="100" dirty="0">
                <a:effectLst/>
                <a:latin typeface="Aptos" panose="020B0004020202020204" pitchFamily="34" charset="0"/>
                <a:ea typeface="Aptos" panose="020B0004020202020204" pitchFamily="34" charset="0"/>
                <a:cs typeface="Times New Roman" panose="02020603050405020304" pitchFamily="18" charset="0"/>
              </a:rPr>
              <a:t>Je souligne également l'importance du </a:t>
            </a:r>
            <a:r>
              <a:rPr lang="fr-CA" sz="1200" b="1" kern="100" dirty="0">
                <a:effectLst/>
                <a:latin typeface="Aptos" panose="020B0004020202020204" pitchFamily="34" charset="0"/>
                <a:ea typeface="Aptos" panose="020B0004020202020204" pitchFamily="34" charset="0"/>
                <a:cs typeface="Times New Roman" panose="02020603050405020304" pitchFamily="18" charset="0"/>
              </a:rPr>
              <a:t>droit de propriété </a:t>
            </a:r>
            <a:r>
              <a:rPr lang="fr-CA" sz="1200" kern="100" dirty="0">
                <a:effectLst/>
                <a:latin typeface="Aptos" panose="020B0004020202020204" pitchFamily="34" charset="0"/>
                <a:ea typeface="Aptos" panose="020B0004020202020204" pitchFamily="34" charset="0"/>
                <a:cs typeface="Times New Roman" panose="02020603050405020304" pitchFamily="18" charset="0"/>
              </a:rPr>
              <a:t>et de son rôle sur notre indépendance professionnelle. </a:t>
            </a:r>
          </a:p>
          <a:p>
            <a:pPr>
              <a:lnSpc>
                <a:spcPct val="115000"/>
              </a:lnSpc>
              <a:spcAft>
                <a:spcPts val="800"/>
              </a:spcAft>
            </a:pPr>
            <a:endParaRPr lang="fr-CA"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fr-CA" sz="1200" kern="100" dirty="0">
                <a:effectLst/>
                <a:latin typeface="Aptos" panose="020B0004020202020204" pitchFamily="34" charset="0"/>
                <a:ea typeface="Aptos" panose="020B0004020202020204" pitchFamily="34" charset="0"/>
                <a:cs typeface="Times New Roman" panose="02020603050405020304" pitchFamily="18" charset="0"/>
              </a:rPr>
              <a:t>Ce droit est indissociable de l'élargissement de notre champ de pratique et nous permet de maintenir notre autonomie dans la prise de décisions cliniques. </a:t>
            </a:r>
          </a:p>
          <a:p>
            <a:pPr>
              <a:lnSpc>
                <a:spcPct val="115000"/>
              </a:lnSpc>
              <a:spcAft>
                <a:spcPts val="800"/>
              </a:spcAft>
            </a:pPr>
            <a:endParaRPr lang="fr-CA" sz="12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fr-CA" sz="1200" kern="100" dirty="0">
                <a:effectLst/>
                <a:latin typeface="Aptos" panose="020B0004020202020204" pitchFamily="34" charset="0"/>
                <a:ea typeface="Aptos" panose="020B0004020202020204" pitchFamily="34" charset="0"/>
                <a:cs typeface="Times New Roman" panose="02020603050405020304" pitchFamily="18" charset="0"/>
              </a:rPr>
              <a:t>Pour moi, les deux sujets sont intimement liés. Pour avoir les coudées franches comme professionnels de la santé et réaliser les activités cliniques pertinentes pour nos patients, nous devons renforcer le droit de propriété.</a:t>
            </a:r>
          </a:p>
          <a:p>
            <a:pPr>
              <a:lnSpc>
                <a:spcPct val="115000"/>
              </a:lnSpc>
              <a:spcAft>
                <a:spcPts val="800"/>
              </a:spcAft>
            </a:pPr>
            <a:endParaRPr lang="fr-CA" sz="1200" kern="100" dirty="0">
              <a:effectLst/>
              <a:highlight>
                <a:srgbClr val="FFFF00"/>
              </a:highligh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fr-CA" sz="1200" kern="100" dirty="0">
                <a:effectLst/>
                <a:highlight>
                  <a:srgbClr val="FFFF00"/>
                </a:highlight>
                <a:latin typeface="Aptos" panose="020B0004020202020204" pitchFamily="34" charset="0"/>
                <a:ea typeface="Aptos" panose="020B0004020202020204" pitchFamily="34" charset="0"/>
                <a:cs typeface="Times New Roman" panose="02020603050405020304" pitchFamily="18" charset="0"/>
              </a:rPr>
              <a:t>Exemple des problèmes au Canada avec l’indépendance professionnelle – en Ontario et en Colombie-Britannique, on a vue des quotas imposés aux pharmaciens pour faire certaines activités cliniques, le droit de propriété permet de nous prémunir contre ce genre de pressions. </a:t>
            </a:r>
            <a:endParaRPr lang="fr-CA" sz="12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fr-CA" dirty="0"/>
          </a:p>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3E55F-72F5-4BB8-AA18-7A6DCA85DF0E}" type="slidenum">
              <a:rPr kumimoji="0" lang="fr-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690321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C584CB-A6D2-48B0-C6BB-CA9ACEDC8FF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B5D0AC0-B7E2-D159-BB6B-380808D5A80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7D53D9A-FB21-F59E-6106-DABE3489F88E}"/>
              </a:ext>
            </a:extLst>
          </p:cNvPr>
          <p:cNvSpPr>
            <a:spLocks noGrp="1"/>
          </p:cNvSpPr>
          <p:nvPr>
            <p:ph type="body" idx="1"/>
          </p:nvPr>
        </p:nvSpPr>
        <p:spPr/>
        <p:txBody>
          <a:bodyPr/>
          <a:lstStyle/>
          <a:p>
            <a:endParaRPr lang="fr-CA" dirty="0"/>
          </a:p>
        </p:txBody>
      </p:sp>
      <p:sp>
        <p:nvSpPr>
          <p:cNvPr id="4" name="Espace réservé du numéro de diapositive 3">
            <a:extLst>
              <a:ext uri="{FF2B5EF4-FFF2-40B4-BE49-F238E27FC236}">
                <a16:creationId xmlns:a16="http://schemas.microsoft.com/office/drawing/2014/main" id="{AF2540E8-64BC-32CE-09BA-60426015F109}"/>
              </a:ext>
            </a:extLst>
          </p:cNvPr>
          <p:cNvSpPr>
            <a:spLocks noGrp="1"/>
          </p:cNvSpPr>
          <p:nvPr>
            <p:ph type="sldNum" sz="quarter" idx="5"/>
          </p:nvPr>
        </p:nvSpPr>
        <p:spPr/>
        <p:txBody>
          <a:bodyPr/>
          <a:lstStyle/>
          <a:p>
            <a:fld id="{0537748E-770F-684E-B745-0B2EC44ABB4F}" type="slidenum">
              <a:rPr lang="fr-CA" smtClean="0"/>
              <a:t>47</a:t>
            </a:fld>
            <a:endParaRPr lang="fr-CA"/>
          </a:p>
        </p:txBody>
      </p:sp>
    </p:spTree>
    <p:extLst>
      <p:ext uri="{BB962C8B-B14F-4D97-AF65-F5344CB8AC3E}">
        <p14:creationId xmlns:p14="http://schemas.microsoft.com/office/powerpoint/2010/main" val="36857576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1B6BB-16ED-DFE2-17F3-ADFDD54E89B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B97D06A-5ACC-C84F-928F-02246EBEA5C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72D42D1-8949-B6F6-DC05-28F4AB38D05D}"/>
              </a:ext>
            </a:extLst>
          </p:cNvPr>
          <p:cNvSpPr>
            <a:spLocks noGrp="1"/>
          </p:cNvSpPr>
          <p:nvPr>
            <p:ph type="body" idx="1"/>
          </p:nvPr>
        </p:nvSpPr>
        <p:spPr/>
        <p:txBody>
          <a:bodyPr/>
          <a:lstStyle/>
          <a:p>
            <a:r>
              <a:rPr lang="fr-CA" dirty="0"/>
              <a:t>Faisons la rencontre d’un patient avec une MPOC. Lire diapo puis ajouter : Vous réalisez que le traitement n’atteint pas sa cible alors vous prévoyez un rendez-vous pour la rencontre initiale de prise en charge du traitement de la MPOC. Nous allons reparler de ce patient plus tard dans cette présentation</a:t>
            </a:r>
          </a:p>
        </p:txBody>
      </p:sp>
      <p:sp>
        <p:nvSpPr>
          <p:cNvPr id="4" name="Espace réservé du numéro de diapositive 3">
            <a:extLst>
              <a:ext uri="{FF2B5EF4-FFF2-40B4-BE49-F238E27FC236}">
                <a16:creationId xmlns:a16="http://schemas.microsoft.com/office/drawing/2014/main" id="{63EB9A89-635D-BD8F-9C71-716F90EC8FD8}"/>
              </a:ext>
            </a:extLst>
          </p:cNvPr>
          <p:cNvSpPr>
            <a:spLocks noGrp="1"/>
          </p:cNvSpPr>
          <p:nvPr>
            <p:ph type="sldNum" sz="quarter" idx="5"/>
          </p:nvPr>
        </p:nvSpPr>
        <p:spPr/>
        <p:txBody>
          <a:bodyPr/>
          <a:lstStyle/>
          <a:p>
            <a:fld id="{133EF8AE-D5E0-4440-B07D-0833DEA54407}" type="slidenum">
              <a:rPr lang="fr-CA" smtClean="0"/>
              <a:t>48</a:t>
            </a:fld>
            <a:endParaRPr lang="fr-CA"/>
          </a:p>
        </p:txBody>
      </p:sp>
    </p:spTree>
    <p:extLst>
      <p:ext uri="{BB962C8B-B14F-4D97-AF65-F5344CB8AC3E}">
        <p14:creationId xmlns:p14="http://schemas.microsoft.com/office/powerpoint/2010/main" val="28280281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DEB08-A862-EC07-55C2-052CD9E01C67}"/>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7093F436-7809-97A8-0A05-CB003A923C4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890D009-A7CC-AE01-F031-930BBCBCD70A}"/>
              </a:ext>
            </a:extLst>
          </p:cNvPr>
          <p:cNvSpPr>
            <a:spLocks noGrp="1"/>
          </p:cNvSpPr>
          <p:nvPr>
            <p:ph type="body" idx="1"/>
          </p:nvPr>
        </p:nvSpPr>
        <p:spPr/>
        <p:txBody>
          <a:bodyPr/>
          <a:lstStyle/>
          <a:p>
            <a:pPr>
              <a:spcAft>
                <a:spcPts val="1200"/>
              </a:spcAft>
            </a:pPr>
            <a:endParaRPr lang="en-US" dirty="0"/>
          </a:p>
        </p:txBody>
      </p:sp>
      <p:sp>
        <p:nvSpPr>
          <p:cNvPr id="4" name="Espace réservé du numéro de diapositive 3">
            <a:extLst>
              <a:ext uri="{FF2B5EF4-FFF2-40B4-BE49-F238E27FC236}">
                <a16:creationId xmlns:a16="http://schemas.microsoft.com/office/drawing/2014/main" id="{BF284138-90C5-1B5E-168E-A76500984131}"/>
              </a:ext>
            </a:extLst>
          </p:cNvPr>
          <p:cNvSpPr>
            <a:spLocks noGrp="1"/>
          </p:cNvSpPr>
          <p:nvPr>
            <p:ph type="sldNum" sz="quarter" idx="5"/>
          </p:nvPr>
        </p:nvSpPr>
        <p:spPr/>
        <p:txBody>
          <a:bodyPr/>
          <a:lstStyle/>
          <a:p>
            <a:fld id="{0537748E-770F-684E-B745-0B2EC44ABB4F}" type="slidenum">
              <a:rPr lang="fr-CA"/>
              <a:t>49</a:t>
            </a:fld>
            <a:endParaRPr lang="fr-CA"/>
          </a:p>
        </p:txBody>
      </p:sp>
    </p:spTree>
    <p:extLst>
      <p:ext uri="{BB962C8B-B14F-4D97-AF65-F5344CB8AC3E}">
        <p14:creationId xmlns:p14="http://schemas.microsoft.com/office/powerpoint/2010/main" val="16492801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23E54-AA7C-3888-EC3C-3C2834FC9024}"/>
            </a:ext>
          </a:extLst>
        </p:cNvPr>
        <p:cNvGrpSpPr/>
        <p:nvPr/>
      </p:nvGrpSpPr>
      <p:grpSpPr>
        <a:xfrm>
          <a:off x="0" y="0"/>
          <a:ext cx="0" cy="0"/>
          <a:chOff x="0" y="0"/>
          <a:chExt cx="0" cy="0"/>
        </a:xfrm>
      </p:grpSpPr>
      <p:sp>
        <p:nvSpPr>
          <p:cNvPr id="2" name="Espace réservé de l'image de diapositive 1">
            <a:extLst>
              <a:ext uri="{FF2B5EF4-FFF2-40B4-BE49-F238E27FC236}">
                <a16:creationId xmlns:a16="http://schemas.microsoft.com/office/drawing/2014/main" id="{ABA52C46-FCFF-3EDA-3B22-24FF3C64E0C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F808C52-F681-76B9-23E2-7DD713838372}"/>
              </a:ext>
            </a:extLst>
          </p:cNvPr>
          <p:cNvSpPr>
            <a:spLocks noGrp="1"/>
          </p:cNvSpPr>
          <p:nvPr>
            <p:ph type="body" idx="1"/>
          </p:nvPr>
        </p:nvSpPr>
        <p:spPr/>
        <p:txBody>
          <a:bodyPr/>
          <a:lstStyle/>
          <a:p>
            <a:pPr>
              <a:spcAft>
                <a:spcPts val="1200"/>
              </a:spcAft>
            </a:pPr>
            <a:r>
              <a:rPr lang="en-US" err="1">
                <a:solidFill>
                  <a:srgbClr val="454547"/>
                </a:solidFill>
              </a:rPr>
              <a:t>Revenons</a:t>
            </a:r>
            <a:r>
              <a:rPr lang="en-US">
                <a:solidFill>
                  <a:srgbClr val="454547"/>
                </a:solidFill>
              </a:rPr>
              <a:t> à </a:t>
            </a:r>
            <a:r>
              <a:rPr lang="en-US" err="1">
                <a:solidFill>
                  <a:srgbClr val="454547"/>
                </a:solidFill>
              </a:rPr>
              <a:t>notre</a:t>
            </a:r>
            <a:r>
              <a:rPr lang="en-US">
                <a:solidFill>
                  <a:srgbClr val="454547"/>
                </a:solidFill>
              </a:rPr>
              <a:t> </a:t>
            </a:r>
            <a:r>
              <a:rPr lang="en-US" err="1">
                <a:solidFill>
                  <a:srgbClr val="454547"/>
                </a:solidFill>
              </a:rPr>
              <a:t>cas</a:t>
            </a:r>
            <a:r>
              <a:rPr lang="en-US">
                <a:solidFill>
                  <a:srgbClr val="454547"/>
                </a:solidFill>
              </a:rPr>
              <a:t> </a:t>
            </a:r>
            <a:r>
              <a:rPr lang="en-US" err="1">
                <a:solidFill>
                  <a:srgbClr val="454547"/>
                </a:solidFill>
              </a:rPr>
              <a:t>d’exacerbation</a:t>
            </a:r>
            <a:r>
              <a:rPr lang="en-US">
                <a:solidFill>
                  <a:srgbClr val="454547"/>
                </a:solidFill>
              </a:rPr>
              <a:t> de la MPOC de </a:t>
            </a:r>
            <a:r>
              <a:rPr lang="en-US" err="1">
                <a:solidFill>
                  <a:srgbClr val="454547"/>
                </a:solidFill>
              </a:rPr>
              <a:t>tantôt</a:t>
            </a:r>
            <a:endParaRPr lang="en-US"/>
          </a:p>
        </p:txBody>
      </p:sp>
      <p:sp>
        <p:nvSpPr>
          <p:cNvPr id="4" name="Espace réservé du numéro de diapositive 3">
            <a:extLst>
              <a:ext uri="{FF2B5EF4-FFF2-40B4-BE49-F238E27FC236}">
                <a16:creationId xmlns:a16="http://schemas.microsoft.com/office/drawing/2014/main" id="{8E29FE70-0076-63B1-0B10-8B2FC31B45B6}"/>
              </a:ext>
            </a:extLst>
          </p:cNvPr>
          <p:cNvSpPr>
            <a:spLocks noGrp="1"/>
          </p:cNvSpPr>
          <p:nvPr>
            <p:ph type="sldNum" sz="quarter" idx="5"/>
          </p:nvPr>
        </p:nvSpPr>
        <p:spPr/>
        <p:txBody>
          <a:bodyPr/>
          <a:lstStyle/>
          <a:p>
            <a:fld id="{0537748E-770F-684E-B745-0B2EC44ABB4F}" type="slidenum">
              <a:rPr lang="fr-CA"/>
              <a:t>50</a:t>
            </a:fld>
            <a:endParaRPr lang="fr-CA"/>
          </a:p>
        </p:txBody>
      </p:sp>
    </p:spTree>
    <p:extLst>
      <p:ext uri="{BB962C8B-B14F-4D97-AF65-F5344CB8AC3E}">
        <p14:creationId xmlns:p14="http://schemas.microsoft.com/office/powerpoint/2010/main" val="2968452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AE8D0-ED54-CA8C-9F78-BAF3E6D78327}"/>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8FFECAE-0727-E10A-B75A-B3C0CEAEA82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1550048-4D3C-368F-B539-32FCF8414F64}"/>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82145163-0D46-108B-D102-B8BBCA56BF29}"/>
              </a:ext>
            </a:extLst>
          </p:cNvPr>
          <p:cNvSpPr>
            <a:spLocks noGrp="1"/>
          </p:cNvSpPr>
          <p:nvPr>
            <p:ph type="sldNum" sz="quarter" idx="5"/>
          </p:nvPr>
        </p:nvSpPr>
        <p:spPr/>
        <p:txBody>
          <a:bodyPr/>
          <a:lstStyle/>
          <a:p>
            <a:fld id="{0537748E-770F-684E-B745-0B2EC44ABB4F}" type="slidenum">
              <a:rPr lang="fr-CA" smtClean="0"/>
              <a:t>51</a:t>
            </a:fld>
            <a:endParaRPr lang="fr-CA"/>
          </a:p>
        </p:txBody>
      </p:sp>
    </p:spTree>
    <p:extLst>
      <p:ext uri="{BB962C8B-B14F-4D97-AF65-F5344CB8AC3E}">
        <p14:creationId xmlns:p14="http://schemas.microsoft.com/office/powerpoint/2010/main" val="37345236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15000"/>
              </a:lnSpc>
              <a:spcAft>
                <a:spcPts val="800"/>
              </a:spcAft>
            </a:pPr>
            <a:r>
              <a:rPr lang="fr-CA" sz="1200" kern="100">
                <a:effectLst/>
                <a:latin typeface="Aptos" panose="020B0004020202020204" pitchFamily="34" charset="0"/>
                <a:ea typeface="Aptos" panose="020B0004020202020204" pitchFamily="34" charset="0"/>
                <a:cs typeface="Times New Roman" panose="02020603050405020304" pitchFamily="18" charset="0"/>
              </a:rPr>
              <a:t>Pour conclure, j'ai confiance en vos capacités et en votre jugement professionnel. Ensemble, nous pouvons faire face aux défis et saisir les opportunités qui se présentent à nous. Continuons de protéger notre modèle unique et de travailler pour améliorer l'accès aux soins pour nos patients.</a:t>
            </a:r>
          </a:p>
          <a:p>
            <a:pPr>
              <a:lnSpc>
                <a:spcPct val="115000"/>
              </a:lnSpc>
              <a:spcAft>
                <a:spcPts val="800"/>
              </a:spcAft>
            </a:pPr>
            <a:endParaRPr lang="fr-CA" sz="12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fr-CA" sz="1200" kern="100">
                <a:effectLst/>
                <a:latin typeface="Aptos"/>
                <a:ea typeface="Aptos" panose="020B0004020202020204" pitchFamily="34" charset="0"/>
                <a:cs typeface="Times New Roman" panose="02020603050405020304" pitchFamily="18" charset="0"/>
              </a:rPr>
              <a:t>Je vous encourage à participer activement aux formations </a:t>
            </a:r>
            <a:r>
              <a:rPr lang="fr-CA" sz="1200" kern="100">
                <a:latin typeface="Aptos"/>
                <a:ea typeface="Aptos" panose="020B0004020202020204" pitchFamily="34" charset="0"/>
                <a:cs typeface="Times New Roman" panose="02020603050405020304" pitchFamily="18" charset="0"/>
              </a:rPr>
              <a:t>comme aujourd'hui</a:t>
            </a:r>
            <a:r>
              <a:rPr lang="fr-CA" sz="1200" kern="100">
                <a:effectLst/>
                <a:latin typeface="Aptos"/>
                <a:ea typeface="Aptos" panose="020B0004020202020204" pitchFamily="34" charset="0"/>
                <a:cs typeface="Times New Roman" panose="02020603050405020304" pitchFamily="18" charset="0"/>
              </a:rPr>
              <a:t> et à partager vos expériences et vos idées avec vos collègues. C'est en travaillant ensemble que nous pourrons faire évoluer notre profession et offrir des soins de qualité à nos patients.</a:t>
            </a:r>
          </a:p>
          <a:p>
            <a:pPr>
              <a:lnSpc>
                <a:spcPct val="115000"/>
              </a:lnSpc>
              <a:spcAft>
                <a:spcPts val="800"/>
              </a:spcAft>
            </a:pPr>
            <a:endParaRPr lang="fr-CA" sz="12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fr-CA" sz="1200" kern="100">
                <a:effectLst/>
                <a:latin typeface="Aptos" panose="020B0004020202020204" pitchFamily="34" charset="0"/>
                <a:ea typeface="Aptos" panose="020B0004020202020204" pitchFamily="34" charset="0"/>
                <a:cs typeface="Times New Roman" panose="02020603050405020304" pitchFamily="18" charset="0"/>
              </a:rPr>
              <a:t>Merci à tous pour votre attention et votre engagement. Ensemble, nous pouvons faire de la pharmacie communautaire un pilier essentiel du système de santé.</a:t>
            </a:r>
          </a:p>
          <a:p>
            <a:endParaRPr lang="fr-CA"/>
          </a:p>
        </p:txBody>
      </p:sp>
      <p:sp>
        <p:nvSpPr>
          <p:cNvPr id="4" name="Espace réservé du numéro de diapositive 3"/>
          <p:cNvSpPr>
            <a:spLocks noGrp="1"/>
          </p:cNvSpPr>
          <p:nvPr>
            <p:ph type="sldNum" sz="quarter" idx="5"/>
          </p:nvPr>
        </p:nvSpPr>
        <p:spPr/>
        <p:txBody>
          <a:bodyPr/>
          <a:lstStyle/>
          <a:p>
            <a:fld id="{133EF8AE-D5E0-4440-B07D-0833DEA54407}" type="slidenum">
              <a:rPr lang="fr-CA" smtClean="0"/>
              <a:t>52</a:t>
            </a:fld>
            <a:endParaRPr lang="fr-CA"/>
          </a:p>
        </p:txBody>
      </p:sp>
    </p:spTree>
    <p:extLst>
      <p:ext uri="{BB962C8B-B14F-4D97-AF65-F5344CB8AC3E}">
        <p14:creationId xmlns:p14="http://schemas.microsoft.com/office/powerpoint/2010/main" val="10754419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DAFA5-8D7D-E927-9FA7-DF7BC19B0F5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EA22623-5F64-AD1A-1818-CDE35671798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CF8CBCB-ED6F-6BC2-E1F9-1A5373DB0BB5}"/>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413BDE27-2576-11FF-6564-023B54B6E9DE}"/>
              </a:ext>
            </a:extLst>
          </p:cNvPr>
          <p:cNvSpPr>
            <a:spLocks noGrp="1"/>
          </p:cNvSpPr>
          <p:nvPr>
            <p:ph type="sldNum" sz="quarter" idx="5"/>
          </p:nvPr>
        </p:nvSpPr>
        <p:spPr/>
        <p:txBody>
          <a:bodyPr/>
          <a:lstStyle/>
          <a:p>
            <a:fld id="{133EF8AE-D5E0-4440-B07D-0833DEA54407}" type="slidenum">
              <a:rPr lang="fr-CA" smtClean="0"/>
              <a:t>53</a:t>
            </a:fld>
            <a:endParaRPr lang="fr-CA"/>
          </a:p>
        </p:txBody>
      </p:sp>
    </p:spTree>
    <p:extLst>
      <p:ext uri="{BB962C8B-B14F-4D97-AF65-F5344CB8AC3E}">
        <p14:creationId xmlns:p14="http://schemas.microsoft.com/office/powerpoint/2010/main" val="17120166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B1077-AEA8-A8D4-49C9-7E1B29D62B8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208BDF6-1C0F-1CCD-284C-52E90E37B98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7EEF011B-C2AD-4C06-9C62-9F8C0DA25745}"/>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54208E69-4C7B-4A94-E15C-D7A88171B51D}"/>
              </a:ext>
            </a:extLst>
          </p:cNvPr>
          <p:cNvSpPr>
            <a:spLocks noGrp="1"/>
          </p:cNvSpPr>
          <p:nvPr>
            <p:ph type="sldNum" sz="quarter" idx="5"/>
          </p:nvPr>
        </p:nvSpPr>
        <p:spPr/>
        <p:txBody>
          <a:bodyPr/>
          <a:lstStyle/>
          <a:p>
            <a:fld id="{133EF8AE-D5E0-4440-B07D-0833DEA54407}" type="slidenum">
              <a:rPr lang="fr-CA" smtClean="0"/>
              <a:t>55</a:t>
            </a:fld>
            <a:endParaRPr lang="fr-CA"/>
          </a:p>
        </p:txBody>
      </p:sp>
    </p:spTree>
    <p:extLst>
      <p:ext uri="{BB962C8B-B14F-4D97-AF65-F5344CB8AC3E}">
        <p14:creationId xmlns:p14="http://schemas.microsoft.com/office/powerpoint/2010/main" val="413827432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72572-F923-F0CB-5014-77D7A6E1CE8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87C0F5E-FD5C-9F14-24DA-DF210EA4649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57C9730-C9DE-1D52-8C77-D37C75A777DC}"/>
              </a:ext>
            </a:extLst>
          </p:cNvPr>
          <p:cNvSpPr>
            <a:spLocks noGrp="1"/>
          </p:cNvSpPr>
          <p:nvPr>
            <p:ph type="body" idx="1"/>
          </p:nvPr>
        </p:nvSpPr>
        <p:spPr/>
        <p:txBody>
          <a:bodyPr/>
          <a:lstStyle/>
          <a:p>
            <a:endParaRPr lang="fr-CA"/>
          </a:p>
        </p:txBody>
      </p:sp>
      <p:sp>
        <p:nvSpPr>
          <p:cNvPr id="4" name="Espace réservé du numéro de diapositive 3">
            <a:extLst>
              <a:ext uri="{FF2B5EF4-FFF2-40B4-BE49-F238E27FC236}">
                <a16:creationId xmlns:a16="http://schemas.microsoft.com/office/drawing/2014/main" id="{83635652-38EB-8440-20D3-CFC5DF6D29E4}"/>
              </a:ext>
            </a:extLst>
          </p:cNvPr>
          <p:cNvSpPr>
            <a:spLocks noGrp="1"/>
          </p:cNvSpPr>
          <p:nvPr>
            <p:ph type="sldNum" sz="quarter" idx="5"/>
          </p:nvPr>
        </p:nvSpPr>
        <p:spPr/>
        <p:txBody>
          <a:bodyPr/>
          <a:lstStyle/>
          <a:p>
            <a:fld id="{133EF8AE-D5E0-4440-B07D-0833DEA54407}" type="slidenum">
              <a:rPr lang="fr-CA" smtClean="0"/>
              <a:t>56</a:t>
            </a:fld>
            <a:endParaRPr lang="fr-CA"/>
          </a:p>
        </p:txBody>
      </p:sp>
    </p:spTree>
    <p:extLst>
      <p:ext uri="{BB962C8B-B14F-4D97-AF65-F5344CB8AC3E}">
        <p14:creationId xmlns:p14="http://schemas.microsoft.com/office/powerpoint/2010/main" val="34628599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ADD3E55F-72F5-4BB8-AA18-7A6DCA85DF0E}" type="slidenum">
              <a:rPr lang="fr-CA" smtClean="0"/>
              <a:t>57</a:t>
            </a:fld>
            <a:endParaRPr lang="fr-CA"/>
          </a:p>
        </p:txBody>
      </p:sp>
    </p:spTree>
    <p:extLst>
      <p:ext uri="{BB962C8B-B14F-4D97-AF65-F5344CB8AC3E}">
        <p14:creationId xmlns:p14="http://schemas.microsoft.com/office/powerpoint/2010/main" val="33871066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8</a:t>
            </a:fld>
            <a:endParaRPr lang="fr-CA"/>
          </a:p>
        </p:txBody>
      </p:sp>
    </p:spTree>
    <p:extLst>
      <p:ext uri="{BB962C8B-B14F-4D97-AF65-F5344CB8AC3E}">
        <p14:creationId xmlns:p14="http://schemas.microsoft.com/office/powerpoint/2010/main" val="1283354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ADD3E55F-72F5-4BB8-AA18-7A6DCA85DF0E}" type="slidenum">
              <a:rPr lang="fr-CA" smtClean="0"/>
              <a:t>10</a:t>
            </a:fld>
            <a:endParaRPr lang="fr-CA"/>
          </a:p>
        </p:txBody>
      </p:sp>
    </p:spTree>
    <p:extLst>
      <p:ext uri="{BB962C8B-B14F-4D97-AF65-F5344CB8AC3E}">
        <p14:creationId xmlns:p14="http://schemas.microsoft.com/office/powerpoint/2010/main" val="1872405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19185" marR="6773" indent="-302252" defTabSz="1219170">
              <a:spcBef>
                <a:spcPts val="140"/>
              </a:spcBef>
              <a:buClr>
                <a:srgbClr val="3962AC"/>
              </a:buClr>
              <a:buFontTx/>
              <a:buChar char="•"/>
              <a:tabLst>
                <a:tab pos="319185" algn="l"/>
              </a:tabLst>
            </a:pPr>
            <a:r>
              <a:rPr lang="fr-CA" sz="1200" spc="-27" dirty="0"/>
              <a:t>Ils </a:t>
            </a:r>
            <a:r>
              <a:rPr lang="fr-CA" sz="1200" dirty="0"/>
              <a:t>sont</a:t>
            </a:r>
            <a:r>
              <a:rPr lang="fr-CA" sz="1200" spc="-40" dirty="0"/>
              <a:t> </a:t>
            </a:r>
            <a:r>
              <a:rPr lang="fr-CA" sz="1200" dirty="0"/>
              <a:t>couverts</a:t>
            </a:r>
            <a:r>
              <a:rPr lang="fr-CA" sz="1200" spc="-67" dirty="0"/>
              <a:t> </a:t>
            </a:r>
            <a:r>
              <a:rPr lang="fr-CA" sz="1200" dirty="0"/>
              <a:t>par</a:t>
            </a:r>
            <a:r>
              <a:rPr lang="fr-CA" sz="1200" spc="-27" dirty="0"/>
              <a:t> </a:t>
            </a:r>
            <a:r>
              <a:rPr lang="fr-CA" sz="1200" dirty="0"/>
              <a:t>le</a:t>
            </a:r>
            <a:r>
              <a:rPr lang="fr-CA" sz="1200" spc="-20" dirty="0"/>
              <a:t> </a:t>
            </a:r>
            <a:r>
              <a:rPr lang="fr-CA" sz="1200" dirty="0"/>
              <a:t>régime</a:t>
            </a:r>
            <a:r>
              <a:rPr lang="fr-CA" sz="1200" spc="-47" dirty="0"/>
              <a:t> </a:t>
            </a:r>
            <a:r>
              <a:rPr lang="fr-CA" sz="1200" dirty="0"/>
              <a:t>général</a:t>
            </a:r>
            <a:r>
              <a:rPr lang="fr-CA" sz="1200" spc="-40" dirty="0"/>
              <a:t> </a:t>
            </a:r>
            <a:r>
              <a:rPr lang="fr-CA" sz="1200" spc="-13" dirty="0"/>
              <a:t>d’assurance </a:t>
            </a:r>
            <a:r>
              <a:rPr lang="fr-CA" sz="1200" dirty="0"/>
              <a:t>médicaments</a:t>
            </a:r>
            <a:r>
              <a:rPr lang="fr-CA" sz="1200" spc="-73" dirty="0"/>
              <a:t> </a:t>
            </a:r>
            <a:r>
              <a:rPr lang="fr-CA" sz="1200" b="1" dirty="0"/>
              <a:t>(RGAM) (mention pour le RSSFP) ou</a:t>
            </a:r>
            <a:r>
              <a:rPr lang="fr-CA" sz="1200" dirty="0"/>
              <a:t> par la couverture universelle dans le</a:t>
            </a:r>
            <a:r>
              <a:rPr lang="fr-CA" sz="1200" spc="-7" dirty="0"/>
              <a:t> </a:t>
            </a:r>
            <a:r>
              <a:rPr lang="fr-CA" sz="1200" dirty="0"/>
              <a:t>cadre</a:t>
            </a:r>
            <a:r>
              <a:rPr lang="fr-CA" sz="1200" spc="-47" dirty="0"/>
              <a:t> </a:t>
            </a:r>
            <a:r>
              <a:rPr lang="fr-CA" sz="1200" dirty="0"/>
              <a:t>de</a:t>
            </a:r>
            <a:r>
              <a:rPr lang="fr-CA" sz="1200" spc="-27" dirty="0"/>
              <a:t> </a:t>
            </a:r>
            <a:r>
              <a:rPr lang="fr-CA" sz="1200" dirty="0"/>
              <a:t>la</a:t>
            </a:r>
            <a:r>
              <a:rPr lang="fr-CA" sz="1200" spc="-7" dirty="0"/>
              <a:t> </a:t>
            </a:r>
            <a:r>
              <a:rPr lang="fr-CA" sz="1200" b="1" spc="-7" dirty="0"/>
              <a:t>L</a:t>
            </a:r>
            <a:r>
              <a:rPr lang="fr-CA" sz="1200" b="1" dirty="0"/>
              <a:t>oi sur</a:t>
            </a:r>
            <a:r>
              <a:rPr lang="fr-CA" sz="1200" b="1" spc="-33" dirty="0"/>
              <a:t> </a:t>
            </a:r>
            <a:r>
              <a:rPr lang="fr-CA" sz="1200" b="1" spc="-13" dirty="0"/>
              <a:t>l’assurance </a:t>
            </a:r>
            <a:r>
              <a:rPr lang="fr-CA" sz="1200" b="1" dirty="0"/>
              <a:t>maladie</a:t>
            </a:r>
            <a:r>
              <a:rPr lang="fr-CA" sz="1200" b="1" spc="-40" dirty="0"/>
              <a:t> </a:t>
            </a:r>
            <a:r>
              <a:rPr lang="fr-CA" sz="1200" b="1" spc="-13" dirty="0"/>
              <a:t>(LAM).</a:t>
            </a:r>
            <a:endParaRPr lang="fr-CA" sz="1200" b="1" dirty="0"/>
          </a:p>
          <a:p>
            <a:pPr defTabSz="1219170">
              <a:buClr>
                <a:srgbClr val="3962AC"/>
              </a:buClr>
              <a:buFont typeface="Arial"/>
              <a:buChar char="•"/>
            </a:pPr>
            <a:endParaRPr lang="fr-CA" sz="1200" dirty="0"/>
          </a:p>
          <a:p>
            <a:pPr marL="319185" marR="724729" indent="-302252" defTabSz="1219170">
              <a:spcBef>
                <a:spcPts val="1967"/>
              </a:spcBef>
              <a:buClr>
                <a:srgbClr val="3962AC"/>
              </a:buClr>
              <a:buFontTx/>
              <a:buChar char="•"/>
              <a:tabLst>
                <a:tab pos="319185" algn="l"/>
              </a:tabLst>
            </a:pPr>
            <a:r>
              <a:rPr lang="fr-CA" sz="1200" dirty="0"/>
              <a:t>Dans</a:t>
            </a:r>
            <a:r>
              <a:rPr lang="fr-CA" sz="1200" spc="-47" dirty="0"/>
              <a:t> </a:t>
            </a:r>
            <a:r>
              <a:rPr lang="fr-CA" sz="1200" dirty="0"/>
              <a:t>les</a:t>
            </a:r>
            <a:r>
              <a:rPr lang="fr-CA" sz="1200" spc="-7" dirty="0"/>
              <a:t> </a:t>
            </a:r>
            <a:r>
              <a:rPr lang="fr-CA" sz="1200" dirty="0"/>
              <a:t>deux</a:t>
            </a:r>
            <a:r>
              <a:rPr lang="fr-CA" sz="1200" spc="-40" dirty="0"/>
              <a:t> </a:t>
            </a:r>
            <a:r>
              <a:rPr lang="fr-CA" sz="1200" dirty="0"/>
              <a:t>situations,</a:t>
            </a:r>
            <a:r>
              <a:rPr lang="fr-CA" sz="1200" spc="-53" dirty="0"/>
              <a:t> </a:t>
            </a:r>
            <a:r>
              <a:rPr lang="fr-CA" sz="1200" b="1" dirty="0"/>
              <a:t>aucune</a:t>
            </a:r>
            <a:r>
              <a:rPr lang="fr-CA" sz="1200" b="1" spc="-47" dirty="0"/>
              <a:t> </a:t>
            </a:r>
            <a:r>
              <a:rPr lang="fr-CA" sz="1200" b="1" dirty="0"/>
              <a:t>contribution</a:t>
            </a:r>
            <a:r>
              <a:rPr lang="fr-CA" sz="1200" b="1" spc="-60" dirty="0"/>
              <a:t> </a:t>
            </a:r>
            <a:r>
              <a:rPr lang="fr-CA" sz="1200" b="1" dirty="0"/>
              <a:t>(franchise</a:t>
            </a:r>
            <a:r>
              <a:rPr lang="fr-CA" sz="1200" b="1" spc="-60" dirty="0"/>
              <a:t> </a:t>
            </a:r>
            <a:r>
              <a:rPr lang="fr-CA" sz="1200" b="1" spc="-47" dirty="0"/>
              <a:t>ou </a:t>
            </a:r>
            <a:r>
              <a:rPr lang="fr-CA" sz="1200" b="1" dirty="0"/>
              <a:t>coassurance)</a:t>
            </a:r>
            <a:r>
              <a:rPr lang="fr-CA" sz="1200" spc="-87" dirty="0"/>
              <a:t> </a:t>
            </a:r>
            <a:r>
              <a:rPr lang="fr-CA" sz="1200" dirty="0"/>
              <a:t>n’est</a:t>
            </a:r>
            <a:r>
              <a:rPr lang="fr-CA" sz="1200" spc="-40" dirty="0"/>
              <a:t> </a:t>
            </a:r>
            <a:r>
              <a:rPr lang="fr-CA" sz="1200" dirty="0"/>
              <a:t>exigée</a:t>
            </a:r>
            <a:r>
              <a:rPr lang="fr-CA" sz="1200" spc="-13" dirty="0"/>
              <a:t> </a:t>
            </a:r>
            <a:r>
              <a:rPr lang="fr-CA" sz="1200" dirty="0"/>
              <a:t>de</a:t>
            </a:r>
            <a:r>
              <a:rPr lang="fr-CA" sz="1200" spc="-20" dirty="0"/>
              <a:t> </a:t>
            </a:r>
            <a:r>
              <a:rPr lang="fr-CA" sz="1200" dirty="0"/>
              <a:t>la</a:t>
            </a:r>
            <a:r>
              <a:rPr lang="fr-CA" sz="1200" spc="-13" dirty="0"/>
              <a:t> </a:t>
            </a:r>
            <a:r>
              <a:rPr lang="fr-CA" sz="1200" dirty="0"/>
              <a:t>part</a:t>
            </a:r>
            <a:r>
              <a:rPr lang="fr-CA" sz="1200" spc="-53" dirty="0"/>
              <a:t> </a:t>
            </a:r>
            <a:r>
              <a:rPr lang="fr-CA" sz="1200" dirty="0"/>
              <a:t>du</a:t>
            </a:r>
            <a:r>
              <a:rPr lang="fr-CA" sz="1200" spc="-20" dirty="0"/>
              <a:t> </a:t>
            </a:r>
            <a:r>
              <a:rPr lang="fr-CA" sz="1200" spc="-13" dirty="0"/>
              <a:t>patient pour les activités cliniques.</a:t>
            </a:r>
            <a:endParaRPr lang="fr-CA" sz="1200" dirty="0"/>
          </a:p>
          <a:p>
            <a:pPr algn="l" rtl="0" fontAlgn="base"/>
            <a:endParaRPr lang="fr-CA" sz="1200" b="0" i="0" dirty="0">
              <a:solidFill>
                <a:srgbClr val="000000"/>
              </a:solidFill>
              <a:effectLst/>
              <a:latin typeface="Calibri" panose="020F0502020204030204" pitchFamily="34" charset="0"/>
            </a:endParaRPr>
          </a:p>
          <a:p>
            <a:pPr algn="l" rtl="0" fontAlgn="base"/>
            <a:r>
              <a:rPr lang="fr-CA" sz="1200" b="0" i="0" dirty="0">
                <a:solidFill>
                  <a:srgbClr val="000000"/>
                </a:solidFill>
                <a:effectLst/>
                <a:latin typeface="Calibri" panose="020F0502020204030204" pitchFamily="34" charset="0"/>
              </a:rPr>
              <a:t>Dans ce tableau, vous trouverez un résumé des </a:t>
            </a:r>
            <a:r>
              <a:rPr lang="fr-CA" sz="1200" b="1" i="0" dirty="0">
                <a:solidFill>
                  <a:srgbClr val="000000"/>
                </a:solidFill>
                <a:effectLst/>
                <a:latin typeface="Calibri" panose="020F0502020204030204" pitchFamily="34" charset="0"/>
              </a:rPr>
              <a:t>principes de couverture </a:t>
            </a:r>
            <a:r>
              <a:rPr lang="fr-CA" sz="1200" b="0" i="0" dirty="0">
                <a:solidFill>
                  <a:srgbClr val="000000"/>
                </a:solidFill>
                <a:effectLst/>
                <a:latin typeface="Calibri" panose="020F0502020204030204" pitchFamily="34" charset="0"/>
              </a:rPr>
              <a:t>des différents actes. </a:t>
            </a:r>
            <a:endParaRPr lang="fr-CA" b="0" i="0" dirty="0">
              <a:solidFill>
                <a:srgbClr val="000000"/>
              </a:solidFill>
              <a:effectLst/>
              <a:latin typeface="Segoe UI" panose="020B0502040204020203" pitchFamily="34" charset="0"/>
            </a:endParaRPr>
          </a:p>
          <a:p>
            <a:pPr algn="l" rtl="0" fontAlgn="base"/>
            <a:r>
              <a:rPr lang="fr-CA" sz="1200" b="0" i="0" dirty="0">
                <a:solidFill>
                  <a:srgbClr val="000000"/>
                </a:solidFill>
                <a:effectLst/>
                <a:latin typeface="Calibri" panose="020F0502020204030204" pitchFamily="34" charset="0"/>
              </a:rPr>
              <a:t>La colonne de gauche, c'est la </a:t>
            </a:r>
            <a:r>
              <a:rPr lang="fr-CA" sz="1200" b="1" i="0" dirty="0">
                <a:solidFill>
                  <a:srgbClr val="000000"/>
                </a:solidFill>
                <a:effectLst/>
                <a:latin typeface="Calibri" panose="020F0502020204030204" pitchFamily="34" charset="0"/>
              </a:rPr>
              <a:t>couverture universelle </a:t>
            </a:r>
            <a:r>
              <a:rPr lang="fr-CA" sz="1200" b="0" i="0" dirty="0">
                <a:solidFill>
                  <a:srgbClr val="000000"/>
                </a:solidFill>
                <a:effectLst/>
                <a:latin typeface="Calibri" panose="020F0502020204030204" pitchFamily="34" charset="0"/>
              </a:rPr>
              <a:t>en vertu de la loi sur l'assurance maladie, donc pour toute personne qui présente sa CAM, un carnet de réclamation ou une preuve temporaire d’admissibilité.</a:t>
            </a:r>
          </a:p>
          <a:p>
            <a:pPr algn="l" rtl="0" fontAlgn="base"/>
            <a:endParaRPr lang="fr-CA" b="0" i="0" dirty="0">
              <a:solidFill>
                <a:srgbClr val="000000"/>
              </a:solidFill>
              <a:effectLst/>
              <a:latin typeface="Segoe UI" panose="020B0502040204020203" pitchFamily="34" charset="0"/>
            </a:endParaRPr>
          </a:p>
          <a:p>
            <a:pPr algn="l" rtl="0" fontAlgn="base"/>
            <a:r>
              <a:rPr lang="fr-CA" sz="1200" b="0" i="0" dirty="0">
                <a:solidFill>
                  <a:srgbClr val="000000"/>
                </a:solidFill>
                <a:effectLst/>
                <a:latin typeface="Calibri" panose="020F0502020204030204" pitchFamily="34" charset="0"/>
              </a:rPr>
              <a:t>La colonne du centre, ce sont </a:t>
            </a:r>
            <a:r>
              <a:rPr lang="fr-CA" sz="1200" b="1" i="0" dirty="0">
                <a:solidFill>
                  <a:srgbClr val="000000"/>
                </a:solidFill>
                <a:effectLst/>
                <a:latin typeface="Calibri" panose="020F0502020204030204" pitchFamily="34" charset="0"/>
              </a:rPr>
              <a:t>les garanties prévues au niveau du régime général d'assurance médicaments</a:t>
            </a:r>
            <a:r>
              <a:rPr lang="fr-CA" sz="1200" b="0" i="0" dirty="0">
                <a:solidFill>
                  <a:srgbClr val="000000"/>
                </a:solidFill>
                <a:effectLst/>
                <a:latin typeface="Calibri" panose="020F0502020204030204" pitchFamily="34" charset="0"/>
              </a:rPr>
              <a:t>, c’est-à-dire toute personne assurée auprès de la RAMQ ou d’une assurance privée.</a:t>
            </a:r>
          </a:p>
          <a:p>
            <a:pPr algn="l" rtl="0" fontAlgn="base"/>
            <a:endParaRPr lang="fr-CA" sz="1200" b="0" i="0" dirty="0">
              <a:solidFill>
                <a:srgbClr val="000000"/>
              </a:solidFill>
              <a:effectLst/>
              <a:latin typeface="Calibri" panose="020F0502020204030204" pitchFamily="34" charset="0"/>
            </a:endParaRPr>
          </a:p>
          <a:p>
            <a:pPr algn="l" rtl="0" fontAlgn="base"/>
            <a:r>
              <a:rPr lang="fr-CA" sz="1200" b="0" i="0" dirty="0">
                <a:solidFill>
                  <a:srgbClr val="000000"/>
                </a:solidFill>
                <a:effectLst/>
                <a:latin typeface="Calibri" panose="020F0502020204030204" pitchFamily="34" charset="0"/>
              </a:rPr>
              <a:t>Et finalement, la colonne de droite, ce sont certaines règles qui sont applicables uniquement aux personnes assurées auprès de la </a:t>
            </a:r>
            <a:r>
              <a:rPr lang="fr-CA" sz="1200" b="1" i="0" dirty="0" err="1">
                <a:solidFill>
                  <a:srgbClr val="000000"/>
                </a:solidFill>
                <a:effectLst/>
                <a:latin typeface="Calibri" panose="020F0502020204030204" pitchFamily="34" charset="0"/>
              </a:rPr>
              <a:t>ramq</a:t>
            </a:r>
            <a:r>
              <a:rPr lang="fr-CA" sz="1200" b="0" i="0" dirty="0">
                <a:solidFill>
                  <a:srgbClr val="000000"/>
                </a:solidFill>
                <a:effectLst/>
                <a:latin typeface="Calibri" panose="020F0502020204030204" pitchFamily="34" charset="0"/>
              </a:rPr>
              <a:t>. </a:t>
            </a:r>
          </a:p>
          <a:p>
            <a:pPr algn="l" rtl="0" fontAlgn="base"/>
            <a:endParaRPr lang="fr-CA" sz="1200" b="0" i="0" dirty="0">
              <a:solidFill>
                <a:srgbClr val="000000"/>
              </a:solidFill>
              <a:effectLst/>
              <a:latin typeface="Calibri" panose="020F0502020204030204" pitchFamily="34" charset="0"/>
            </a:endParaRPr>
          </a:p>
          <a:p>
            <a:pPr algn="l" rtl="0" fontAlgn="base"/>
            <a:r>
              <a:rPr lang="fr-CA" sz="1200" b="0" i="0" dirty="0">
                <a:solidFill>
                  <a:srgbClr val="000000"/>
                </a:solidFill>
                <a:effectLst/>
                <a:latin typeface="Calibri" panose="020F0502020204030204" pitchFamily="34" charset="0"/>
              </a:rPr>
              <a:t>Les actes en gras du tableau seront, dans le cadre de cette présentation, abordés plus détails dans les prochaines diapositives.</a:t>
            </a:r>
          </a:p>
          <a:p>
            <a:pPr algn="l" rtl="0" fontAlgn="base"/>
            <a:endParaRPr lang="fr-CA" sz="1200" b="0" i="0" dirty="0">
              <a:solidFill>
                <a:srgbClr val="000000"/>
              </a:solidFill>
              <a:effectLst/>
              <a:latin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fr-CA" sz="1200" kern="1200" dirty="0">
                <a:solidFill>
                  <a:schemeClr val="tx1"/>
                </a:solidFill>
                <a:effectLst/>
                <a:latin typeface="+mn-lt"/>
                <a:ea typeface="+mn-ea"/>
                <a:cs typeface="+mn-cs"/>
              </a:rPr>
              <a:t>En parlant des activités couvertes RGAM j’en profiterais pour faire une mention rapide au fait qu’il n’y a pas d’obligation de couverture en temps réel, mais que l’assureur doit le couvrir. Donc, il se peut que selon son plan d’assurance le patient réclame manuellement. </a:t>
            </a:r>
            <a:br>
              <a:rPr lang="fr-CA" sz="1200" kern="1200" dirty="0">
                <a:solidFill>
                  <a:schemeClr val="tx1"/>
                </a:solidFill>
                <a:effectLst/>
                <a:latin typeface="+mn-lt"/>
                <a:ea typeface="+mn-ea"/>
                <a:cs typeface="+mn-cs"/>
              </a:rPr>
            </a:br>
            <a:br>
              <a:rPr lang="fr-CA" sz="1200" kern="1200" dirty="0">
                <a:solidFill>
                  <a:schemeClr val="tx1"/>
                </a:solidFill>
                <a:effectLst/>
                <a:latin typeface="+mn-lt"/>
                <a:ea typeface="+mn-ea"/>
                <a:cs typeface="+mn-cs"/>
              </a:rPr>
            </a:br>
            <a:r>
              <a:rPr lang="fr-CA" sz="1200" kern="1200" dirty="0">
                <a:solidFill>
                  <a:schemeClr val="tx1"/>
                </a:solidFill>
                <a:effectLst/>
                <a:latin typeface="+mn-lt"/>
                <a:ea typeface="+mn-ea"/>
                <a:cs typeface="+mn-cs"/>
              </a:rPr>
              <a:t>On a plusieurs pharmaciens qui nous approchent en requête avec la notion que si ce n’est pas couvert en temps réel, ils doivent le fournir gratuitement au patient.</a:t>
            </a:r>
          </a:p>
          <a:p>
            <a:pPr algn="l" rtl="0" fontAlgn="base"/>
            <a:endParaRPr lang="fr-CA" sz="1200" b="0" i="0" dirty="0">
              <a:solidFill>
                <a:srgbClr val="000000"/>
              </a:solidFill>
              <a:effectLst/>
              <a:latin typeface="Calibri" panose="020F0502020204030204" pitchFamily="34" charset="0"/>
            </a:endParaRPr>
          </a:p>
          <a:p>
            <a:pPr algn="l" rtl="0" fontAlgn="base"/>
            <a:endParaRPr lang="fr-CA" b="0" i="0" dirty="0">
              <a:solidFill>
                <a:srgbClr val="000000"/>
              </a:solidFill>
              <a:effectLst/>
              <a:latin typeface="Segoe UI" panose="020B0502040204020203" pitchFamily="34" charset="0"/>
            </a:endParaRPr>
          </a:p>
          <a:p>
            <a:endParaRPr lang="fr-CA" dirty="0"/>
          </a:p>
        </p:txBody>
      </p:sp>
      <p:sp>
        <p:nvSpPr>
          <p:cNvPr id="4" name="Espace réservé du numéro de diapositive 3"/>
          <p:cNvSpPr>
            <a:spLocks noGrp="1"/>
          </p:cNvSpPr>
          <p:nvPr>
            <p:ph type="sldNum" sz="quarter" idx="5"/>
          </p:nvPr>
        </p:nvSpPr>
        <p:spPr/>
        <p:txBody>
          <a:bodyPr/>
          <a:lstStyle/>
          <a:p>
            <a:fld id="{ADD3E55F-72F5-4BB8-AA18-7A6DCA85DF0E}" type="slidenum">
              <a:rPr lang="fr-CA" smtClean="0"/>
              <a:t>11</a:t>
            </a:fld>
            <a:endParaRPr lang="fr-CA"/>
          </a:p>
        </p:txBody>
      </p:sp>
    </p:spTree>
    <p:extLst>
      <p:ext uri="{BB962C8B-B14F-4D97-AF65-F5344CB8AC3E}">
        <p14:creationId xmlns:p14="http://schemas.microsoft.com/office/powerpoint/2010/main" val="3580506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Cet algorithme répertorie les interactions entre le patient et l’Entente à travers d’une foule de situations rencontrées quotidiennement en pharmacie. On va naviguer l’algorithme ensemble, section par section. Notre cheminement sera ponctué de cas concrets tirés de requêtes qui ont été adressées à l’AQPP. Dans le rectangle gris foncé au centre, on a la distribution. L’emphase est mise sur les autres services pharmaceutiques dans le reste de l’algorithme</a:t>
            </a:r>
          </a:p>
        </p:txBody>
      </p:sp>
      <p:sp>
        <p:nvSpPr>
          <p:cNvPr id="4" name="Espace réservé du numéro de diapositive 3"/>
          <p:cNvSpPr>
            <a:spLocks noGrp="1"/>
          </p:cNvSpPr>
          <p:nvPr>
            <p:ph type="sldNum" sz="quarter" idx="5"/>
          </p:nvPr>
        </p:nvSpPr>
        <p:spPr/>
        <p:txBody>
          <a:bodyPr/>
          <a:lstStyle/>
          <a:p>
            <a:fld id="{0537748E-770F-684E-B745-0B2EC44ABB4F}" type="slidenum">
              <a:rPr lang="fr-CA" smtClean="0"/>
              <a:t>12</a:t>
            </a:fld>
            <a:endParaRPr lang="fr-CA"/>
          </a:p>
        </p:txBody>
      </p:sp>
    </p:spTree>
    <p:extLst>
      <p:ext uri="{BB962C8B-B14F-4D97-AF65-F5344CB8AC3E}">
        <p14:creationId xmlns:p14="http://schemas.microsoft.com/office/powerpoint/2010/main" val="22986425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4824B-03DD-5C59-EC80-0A12289E450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DE57A2F-AC33-FA3D-3661-CA654340DAA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DF962C9-09F9-1161-B28C-09895039390D}"/>
              </a:ext>
            </a:extLst>
          </p:cNvPr>
          <p:cNvSpPr>
            <a:spLocks noGrp="1"/>
          </p:cNvSpPr>
          <p:nvPr>
            <p:ph type="body" idx="1"/>
          </p:nvPr>
        </p:nvSpPr>
        <p:spPr/>
        <p:txBody>
          <a:bodyPr/>
          <a:lstStyle/>
          <a:p>
            <a:r>
              <a:rPr lang="fr-CA"/>
              <a:t>On a identifié 4 catégories principales de situation</a:t>
            </a:r>
          </a:p>
        </p:txBody>
      </p:sp>
      <p:sp>
        <p:nvSpPr>
          <p:cNvPr id="4" name="Espace réservé du numéro de diapositive 3">
            <a:extLst>
              <a:ext uri="{FF2B5EF4-FFF2-40B4-BE49-F238E27FC236}">
                <a16:creationId xmlns:a16="http://schemas.microsoft.com/office/drawing/2014/main" id="{6BF34A56-1746-1C73-431F-0BD29339F8ED}"/>
              </a:ext>
            </a:extLst>
          </p:cNvPr>
          <p:cNvSpPr>
            <a:spLocks noGrp="1"/>
          </p:cNvSpPr>
          <p:nvPr>
            <p:ph type="sldNum" sz="quarter" idx="5"/>
          </p:nvPr>
        </p:nvSpPr>
        <p:spPr/>
        <p:txBody>
          <a:bodyPr/>
          <a:lstStyle/>
          <a:p>
            <a:fld id="{0537748E-770F-684E-B745-0B2EC44ABB4F}" type="slidenum">
              <a:rPr lang="fr-CA" smtClean="0"/>
              <a:t>13</a:t>
            </a:fld>
            <a:endParaRPr lang="fr-CA"/>
          </a:p>
        </p:txBody>
      </p:sp>
    </p:spTree>
    <p:extLst>
      <p:ext uri="{BB962C8B-B14F-4D97-AF65-F5344CB8AC3E}">
        <p14:creationId xmlns:p14="http://schemas.microsoft.com/office/powerpoint/2010/main" val="28948753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1411638" y="2057400"/>
            <a:ext cx="7884762" cy="1676400"/>
          </a:xfrm>
          <a:prstGeom prst="rect">
            <a:avLst/>
          </a:prstGeom>
        </p:spPr>
        <p:txBody>
          <a:bodyPr lIns="0" tIns="0" rIns="0" bIns="0" anchor="t" anchorCtr="0"/>
          <a:lstStyle>
            <a:lvl1pPr>
              <a:lnSpc>
                <a:spcPct val="90000"/>
              </a:lnSpc>
              <a:defRPr sz="5500" baseline="0">
                <a:solidFill>
                  <a:schemeClr val="bg1"/>
                </a:solidFill>
              </a:defRPr>
            </a:lvl1pPr>
          </a:lstStyle>
          <a:p>
            <a:r>
              <a:rPr lang="en-US"/>
              <a:t>Lorem ipsum odlor</a:t>
            </a:r>
            <a:br>
              <a:rPr lang="en-US"/>
            </a:br>
            <a:r>
              <a:rPr lang="en-US"/>
              <a:t>stlen amet</a:t>
            </a:r>
          </a:p>
        </p:txBody>
      </p:sp>
      <p:sp>
        <p:nvSpPr>
          <p:cNvPr id="11" name="Text Placeholder 8">
            <a:extLst>
              <a:ext uri="{FF2B5EF4-FFF2-40B4-BE49-F238E27FC236}">
                <a16:creationId xmlns:a16="http://schemas.microsoft.com/office/drawing/2014/main" id="{914E0839-F31F-D77F-8719-0EB248C9DF2B}"/>
              </a:ext>
            </a:extLst>
          </p:cNvPr>
          <p:cNvSpPr>
            <a:spLocks noGrp="1"/>
          </p:cNvSpPr>
          <p:nvPr>
            <p:ph type="body" sz="quarter" idx="11" hasCustomPrompt="1"/>
          </p:nvPr>
        </p:nvSpPr>
        <p:spPr>
          <a:xfrm>
            <a:off x="1447800" y="3886200"/>
            <a:ext cx="7848600" cy="1524000"/>
          </a:xfrm>
          <a:prstGeom prst="rect">
            <a:avLst/>
          </a:prstGeom>
        </p:spPr>
        <p:txBody>
          <a:bodyPr lIns="0" tIns="0" rIns="0" bIns="0" anchor="b" anchorCtr="0"/>
          <a:lstStyle>
            <a:lvl1pPr algn="l">
              <a:spcAft>
                <a:spcPts val="3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Présentée par :</a:t>
            </a:r>
          </a:p>
          <a:p>
            <a:pPr lvl="0"/>
            <a:r>
              <a:rPr lang="en-US"/>
              <a:t>Lorem Hipsum, présidente</a:t>
            </a:r>
          </a:p>
          <a:p>
            <a:pPr lvl="0"/>
            <a:r>
              <a:rPr lang="en-US"/>
              <a:t>Odlor Setamet, vice-président principal, Ventes et Marketing</a:t>
            </a:r>
          </a:p>
          <a:p>
            <a:pPr lvl="0"/>
            <a:r>
              <a:rPr lang="en-US"/>
              <a:t>Loremme Ipsumhe, directeur lorem ipsum</a:t>
            </a:r>
          </a:p>
          <a:p>
            <a:pPr lvl="0"/>
            <a:r>
              <a:rPr lang="en-US"/>
              <a:t>Odlor Setamet, vice-président principal, Ventes et Marketing</a:t>
            </a:r>
          </a:p>
          <a:p>
            <a:pPr lvl="0"/>
            <a:r>
              <a:rPr lang="en-US"/>
              <a:t>Loremme Ipsumhe, directeur lorem ipsum</a:t>
            </a:r>
          </a:p>
        </p:txBody>
      </p:sp>
      <p:sp>
        <p:nvSpPr>
          <p:cNvPr id="2" name="Text Placeholder 8">
            <a:extLst>
              <a:ext uri="{FF2B5EF4-FFF2-40B4-BE49-F238E27FC236}">
                <a16:creationId xmlns:a16="http://schemas.microsoft.com/office/drawing/2014/main" id="{3D707C00-5A70-75CE-A199-E00A2B3A2002}"/>
              </a:ext>
            </a:extLst>
          </p:cNvPr>
          <p:cNvSpPr>
            <a:spLocks noGrp="1"/>
          </p:cNvSpPr>
          <p:nvPr>
            <p:ph type="body" sz="quarter" idx="12" hasCustomPrompt="1"/>
          </p:nvPr>
        </p:nvSpPr>
        <p:spPr>
          <a:xfrm>
            <a:off x="1447800" y="5943600"/>
            <a:ext cx="3339885" cy="414042"/>
          </a:xfrm>
          <a:prstGeom prst="rect">
            <a:avLst/>
          </a:prstGeom>
        </p:spPr>
        <p:txBody>
          <a:bodyPr lIns="0" tIns="0" rIns="0" bIns="0" anchor="b" anchorCtr="0"/>
          <a:lstStyle>
            <a:lvl1pPr algn="l">
              <a:spcAft>
                <a:spcPts val="12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Date</a:t>
            </a:r>
          </a:p>
        </p:txBody>
      </p:sp>
      <p:pic>
        <p:nvPicPr>
          <p:cNvPr id="5" name="Picture 4" descr="AQPP – Logo blanc">
            <a:extLst>
              <a:ext uri="{FF2B5EF4-FFF2-40B4-BE49-F238E27FC236}">
                <a16:creationId xmlns:a16="http://schemas.microsoft.com/office/drawing/2014/main" id="{5F4E0CE4-678D-D09A-0599-F6B05810A2B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47799" y="563403"/>
            <a:ext cx="1511085" cy="655797"/>
          </a:xfrm>
          <a:prstGeom prst="rect">
            <a:avLst/>
          </a:prstGeom>
        </p:spPr>
      </p:pic>
    </p:spTree>
    <p:extLst>
      <p:ext uri="{BB962C8B-B14F-4D97-AF65-F5344CB8AC3E}">
        <p14:creationId xmlns:p14="http://schemas.microsoft.com/office/powerpoint/2010/main" val="1134263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ous-section-1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34160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tx2"/>
          </a:solidFill>
          <a:ln w="12700" cap="flat">
            <a:noFill/>
            <a:prstDash val="solid"/>
            <a:miter/>
          </a:ln>
        </p:spPr>
        <p:txBody>
          <a:bodyPr rtlCol="0" anchor="ctr"/>
          <a:lstStyle/>
          <a:p>
            <a:endParaRPr lang="en-US"/>
          </a:p>
        </p:txBody>
      </p:sp>
      <p:sp>
        <p:nvSpPr>
          <p:cNvPr id="9" name="Text Placeholder 8">
            <a:extLst>
              <a:ext uri="{FF2B5EF4-FFF2-40B4-BE49-F238E27FC236}">
                <a16:creationId xmlns:a16="http://schemas.microsoft.com/office/drawing/2014/main" id="{AB7AB5D2-34D8-92B6-B806-0D67E336C158}"/>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15387844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ous-section 2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9DCB4391-D91A-EBA8-2672-9B4688429C47}"/>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tx2"/>
          </a:solidFill>
          <a:ln w="1270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3C28D25-B352-2F54-2D06-6FF35293FB95}"/>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2"/>
          </a:solidFill>
          <a:ln w="1270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EA14296-D5E1-9BA8-65E4-BF2D5F49077D}"/>
              </a:ext>
            </a:extLst>
          </p:cNvPr>
          <p:cNvSpPr/>
          <p:nvPr/>
        </p:nvSpPr>
        <p:spPr>
          <a:xfrm>
            <a:off x="3352800" y="0"/>
            <a:ext cx="8839200" cy="6858000"/>
          </a:xfrm>
          <a:custGeom>
            <a:avLst/>
            <a:gdLst>
              <a:gd name="connsiteX0" fmla="*/ 4730115 w 8839200"/>
              <a:gd name="connsiteY0" fmla="*/ 0 h 6858000"/>
              <a:gd name="connsiteX1" fmla="*/ 4730115 w 8839200"/>
              <a:gd name="connsiteY1" fmla="*/ 1063879 h 6858000"/>
              <a:gd name="connsiteX2" fmla="*/ 0 w 8839200"/>
              <a:gd name="connsiteY2" fmla="*/ 1063879 h 6858000"/>
              <a:gd name="connsiteX3" fmla="*/ 0 w 8839200"/>
              <a:gd name="connsiteY3" fmla="*/ 5794121 h 6858000"/>
              <a:gd name="connsiteX4" fmla="*/ 4730115 w 8839200"/>
              <a:gd name="connsiteY4" fmla="*/ 5794121 h 6858000"/>
              <a:gd name="connsiteX5" fmla="*/ 4730115 w 8839200"/>
              <a:gd name="connsiteY5" fmla="*/ 6858000 h 6858000"/>
              <a:gd name="connsiteX6" fmla="*/ 8839200 w 8839200"/>
              <a:gd name="connsiteY6" fmla="*/ 6858000 h 6858000"/>
              <a:gd name="connsiteX7" fmla="*/ 8839200 w 8839200"/>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39200" h="6858000">
                <a:moveTo>
                  <a:pt x="4730115" y="0"/>
                </a:moveTo>
                <a:lnTo>
                  <a:pt x="4730115" y="1063879"/>
                </a:lnTo>
                <a:lnTo>
                  <a:pt x="0" y="1063879"/>
                </a:lnTo>
                <a:lnTo>
                  <a:pt x="0" y="5794121"/>
                </a:lnTo>
                <a:lnTo>
                  <a:pt x="4730115" y="5794121"/>
                </a:lnTo>
                <a:lnTo>
                  <a:pt x="4730115" y="6858000"/>
                </a:lnTo>
                <a:lnTo>
                  <a:pt x="8839200" y="6858000"/>
                </a:lnTo>
                <a:lnTo>
                  <a:pt x="8839200" y="0"/>
                </a:lnTo>
                <a:close/>
              </a:path>
            </a:pathLst>
          </a:custGeom>
          <a:solidFill>
            <a:srgbClr val="FFFFFF"/>
          </a:solidFill>
          <a:ln w="12700" cap="flat">
            <a:noFill/>
            <a:prstDash val="solid"/>
            <a:miter/>
          </a:ln>
        </p:spPr>
        <p:txBody>
          <a:bodyPr rtlCol="0" anchor="ctr"/>
          <a:lstStyle/>
          <a:p>
            <a:endParaRPr lang="en-US"/>
          </a:p>
        </p:txBody>
      </p:sp>
      <p:sp>
        <p:nvSpPr>
          <p:cNvPr id="16" name="Title 6">
            <a:extLst>
              <a:ext uri="{FF2B5EF4-FFF2-40B4-BE49-F238E27FC236}">
                <a16:creationId xmlns:a16="http://schemas.microsoft.com/office/drawing/2014/main" id="{06537158-0AEC-2722-FEA5-C548FDF335A7}"/>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accent2"/>
                </a:solidFill>
              </a:defRPr>
            </a:lvl1pPr>
          </a:lstStyle>
          <a:p>
            <a:r>
              <a:rPr lang="en-US"/>
              <a:t>Lorem ipsum odlor</a:t>
            </a:r>
            <a:br>
              <a:rPr lang="en-US"/>
            </a:br>
            <a:r>
              <a:rPr lang="en-US"/>
              <a:t>stlen amet</a:t>
            </a:r>
          </a:p>
        </p:txBody>
      </p:sp>
      <p:sp>
        <p:nvSpPr>
          <p:cNvPr id="17" name="Text Placeholder 8">
            <a:extLst>
              <a:ext uri="{FF2B5EF4-FFF2-40B4-BE49-F238E27FC236}">
                <a16:creationId xmlns:a16="http://schemas.microsoft.com/office/drawing/2014/main" id="{CECF65F2-E075-DDEE-1A63-DD8BDE5F3F72}"/>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20" name="Text Placeholder 8">
            <a:extLst>
              <a:ext uri="{FF2B5EF4-FFF2-40B4-BE49-F238E27FC236}">
                <a16:creationId xmlns:a16="http://schemas.microsoft.com/office/drawing/2014/main" id="{F425601A-4EA9-856B-25DC-45AA3C272F3F}"/>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2"/>
                </a:solidFill>
              </a:defRPr>
            </a:lvl1pPr>
          </a:lstStyle>
          <a:p>
            <a:pPr lvl="0"/>
            <a:r>
              <a:rPr lang="en-US"/>
              <a:t>2</a:t>
            </a:r>
          </a:p>
        </p:txBody>
      </p:sp>
    </p:spTree>
    <p:extLst>
      <p:ext uri="{BB962C8B-B14F-4D97-AF65-F5344CB8AC3E}">
        <p14:creationId xmlns:p14="http://schemas.microsoft.com/office/powerpoint/2010/main" val="28534970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ous-section 2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9DCB4391-D91A-EBA8-2672-9B4688429C47}"/>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tx2"/>
          </a:solidFill>
          <a:ln w="1270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3C28D25-B352-2F54-2D06-6FF35293FB95}"/>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1"/>
          </a:solidFill>
          <a:ln w="1270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EA14296-D5E1-9BA8-65E4-BF2D5F49077D}"/>
              </a:ext>
            </a:extLst>
          </p:cNvPr>
          <p:cNvSpPr/>
          <p:nvPr/>
        </p:nvSpPr>
        <p:spPr>
          <a:xfrm>
            <a:off x="3352800" y="0"/>
            <a:ext cx="8839200" cy="6858000"/>
          </a:xfrm>
          <a:custGeom>
            <a:avLst/>
            <a:gdLst>
              <a:gd name="connsiteX0" fmla="*/ 4730115 w 8839200"/>
              <a:gd name="connsiteY0" fmla="*/ 0 h 6858000"/>
              <a:gd name="connsiteX1" fmla="*/ 4730115 w 8839200"/>
              <a:gd name="connsiteY1" fmla="*/ 1063879 h 6858000"/>
              <a:gd name="connsiteX2" fmla="*/ 0 w 8839200"/>
              <a:gd name="connsiteY2" fmla="*/ 1063879 h 6858000"/>
              <a:gd name="connsiteX3" fmla="*/ 0 w 8839200"/>
              <a:gd name="connsiteY3" fmla="*/ 5794121 h 6858000"/>
              <a:gd name="connsiteX4" fmla="*/ 4730115 w 8839200"/>
              <a:gd name="connsiteY4" fmla="*/ 5794121 h 6858000"/>
              <a:gd name="connsiteX5" fmla="*/ 4730115 w 8839200"/>
              <a:gd name="connsiteY5" fmla="*/ 6858000 h 6858000"/>
              <a:gd name="connsiteX6" fmla="*/ 8839200 w 8839200"/>
              <a:gd name="connsiteY6" fmla="*/ 6858000 h 6858000"/>
              <a:gd name="connsiteX7" fmla="*/ 8839200 w 8839200"/>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39200" h="6858000">
                <a:moveTo>
                  <a:pt x="4730115" y="0"/>
                </a:moveTo>
                <a:lnTo>
                  <a:pt x="4730115" y="1063879"/>
                </a:lnTo>
                <a:lnTo>
                  <a:pt x="0" y="1063879"/>
                </a:lnTo>
                <a:lnTo>
                  <a:pt x="0" y="5794121"/>
                </a:lnTo>
                <a:lnTo>
                  <a:pt x="4730115" y="5794121"/>
                </a:lnTo>
                <a:lnTo>
                  <a:pt x="4730115" y="6858000"/>
                </a:lnTo>
                <a:lnTo>
                  <a:pt x="8839200" y="6858000"/>
                </a:lnTo>
                <a:lnTo>
                  <a:pt x="8839200" y="0"/>
                </a:lnTo>
                <a:close/>
              </a:path>
            </a:pathLst>
          </a:custGeom>
          <a:solidFill>
            <a:srgbClr val="FFFFFF"/>
          </a:solidFill>
          <a:ln w="12700" cap="flat">
            <a:noFill/>
            <a:prstDash val="solid"/>
            <a:miter/>
          </a:ln>
        </p:spPr>
        <p:txBody>
          <a:bodyPr rtlCol="0" anchor="ctr"/>
          <a:lstStyle/>
          <a:p>
            <a:endParaRPr lang="en-US"/>
          </a:p>
        </p:txBody>
      </p:sp>
      <p:sp>
        <p:nvSpPr>
          <p:cNvPr id="16" name="Title 6">
            <a:extLst>
              <a:ext uri="{FF2B5EF4-FFF2-40B4-BE49-F238E27FC236}">
                <a16:creationId xmlns:a16="http://schemas.microsoft.com/office/drawing/2014/main" id="{06537158-0AEC-2722-FEA5-C548FDF335A7}"/>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accent1"/>
                </a:solidFill>
              </a:defRPr>
            </a:lvl1pPr>
          </a:lstStyle>
          <a:p>
            <a:r>
              <a:rPr lang="en-US"/>
              <a:t>Lorem ipsum odlor</a:t>
            </a:r>
            <a:br>
              <a:rPr lang="en-US"/>
            </a:br>
            <a:r>
              <a:rPr lang="en-US"/>
              <a:t>stlen amet</a:t>
            </a:r>
          </a:p>
        </p:txBody>
      </p:sp>
      <p:sp>
        <p:nvSpPr>
          <p:cNvPr id="17" name="Text Placeholder 8">
            <a:extLst>
              <a:ext uri="{FF2B5EF4-FFF2-40B4-BE49-F238E27FC236}">
                <a16:creationId xmlns:a16="http://schemas.microsoft.com/office/drawing/2014/main" id="{CECF65F2-E075-DDEE-1A63-DD8BDE5F3F72}"/>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20" name="Text Placeholder 8">
            <a:extLst>
              <a:ext uri="{FF2B5EF4-FFF2-40B4-BE49-F238E27FC236}">
                <a16:creationId xmlns:a16="http://schemas.microsoft.com/office/drawing/2014/main" id="{F425601A-4EA9-856B-25DC-45AA3C272F3F}"/>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2"/>
                </a:solidFill>
              </a:defRPr>
            </a:lvl1pPr>
          </a:lstStyle>
          <a:p>
            <a:pPr lvl="0"/>
            <a:r>
              <a:rPr lang="en-US"/>
              <a:t>2</a:t>
            </a:r>
          </a:p>
        </p:txBody>
      </p:sp>
    </p:spTree>
    <p:extLst>
      <p:ext uri="{BB962C8B-B14F-4D97-AF65-F5344CB8AC3E}">
        <p14:creationId xmlns:p14="http://schemas.microsoft.com/office/powerpoint/2010/main" val="151338719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ous-section 2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9DCB4391-D91A-EBA8-2672-9B4688429C47}"/>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tx2"/>
          </a:solidFill>
          <a:ln w="1270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3C28D25-B352-2F54-2D06-6FF35293FB95}"/>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bg2"/>
          </a:solidFill>
          <a:ln w="1270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EA14296-D5E1-9BA8-65E4-BF2D5F49077D}"/>
              </a:ext>
            </a:extLst>
          </p:cNvPr>
          <p:cNvSpPr/>
          <p:nvPr/>
        </p:nvSpPr>
        <p:spPr>
          <a:xfrm>
            <a:off x="3352800" y="0"/>
            <a:ext cx="8839200" cy="6858000"/>
          </a:xfrm>
          <a:custGeom>
            <a:avLst/>
            <a:gdLst>
              <a:gd name="connsiteX0" fmla="*/ 4730115 w 8839200"/>
              <a:gd name="connsiteY0" fmla="*/ 0 h 6858000"/>
              <a:gd name="connsiteX1" fmla="*/ 4730115 w 8839200"/>
              <a:gd name="connsiteY1" fmla="*/ 1063879 h 6858000"/>
              <a:gd name="connsiteX2" fmla="*/ 0 w 8839200"/>
              <a:gd name="connsiteY2" fmla="*/ 1063879 h 6858000"/>
              <a:gd name="connsiteX3" fmla="*/ 0 w 8839200"/>
              <a:gd name="connsiteY3" fmla="*/ 5794121 h 6858000"/>
              <a:gd name="connsiteX4" fmla="*/ 4730115 w 8839200"/>
              <a:gd name="connsiteY4" fmla="*/ 5794121 h 6858000"/>
              <a:gd name="connsiteX5" fmla="*/ 4730115 w 8839200"/>
              <a:gd name="connsiteY5" fmla="*/ 6858000 h 6858000"/>
              <a:gd name="connsiteX6" fmla="*/ 8839200 w 8839200"/>
              <a:gd name="connsiteY6" fmla="*/ 6858000 h 6858000"/>
              <a:gd name="connsiteX7" fmla="*/ 8839200 w 8839200"/>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39200" h="6858000">
                <a:moveTo>
                  <a:pt x="4730115" y="0"/>
                </a:moveTo>
                <a:lnTo>
                  <a:pt x="4730115" y="1063879"/>
                </a:lnTo>
                <a:lnTo>
                  <a:pt x="0" y="1063879"/>
                </a:lnTo>
                <a:lnTo>
                  <a:pt x="0" y="5794121"/>
                </a:lnTo>
                <a:lnTo>
                  <a:pt x="4730115" y="5794121"/>
                </a:lnTo>
                <a:lnTo>
                  <a:pt x="4730115" y="6858000"/>
                </a:lnTo>
                <a:lnTo>
                  <a:pt x="8839200" y="6858000"/>
                </a:lnTo>
                <a:lnTo>
                  <a:pt x="8839200" y="0"/>
                </a:lnTo>
                <a:close/>
              </a:path>
            </a:pathLst>
          </a:custGeom>
          <a:solidFill>
            <a:srgbClr val="FFFFFF"/>
          </a:solidFill>
          <a:ln w="12700" cap="flat">
            <a:noFill/>
            <a:prstDash val="solid"/>
            <a:miter/>
          </a:ln>
        </p:spPr>
        <p:txBody>
          <a:bodyPr rtlCol="0" anchor="ctr"/>
          <a:lstStyle/>
          <a:p>
            <a:endParaRPr lang="en-US"/>
          </a:p>
        </p:txBody>
      </p:sp>
      <p:sp>
        <p:nvSpPr>
          <p:cNvPr id="16" name="Title 6">
            <a:extLst>
              <a:ext uri="{FF2B5EF4-FFF2-40B4-BE49-F238E27FC236}">
                <a16:creationId xmlns:a16="http://schemas.microsoft.com/office/drawing/2014/main" id="{06537158-0AEC-2722-FEA5-C548FDF335A7}"/>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17" name="Text Placeholder 8">
            <a:extLst>
              <a:ext uri="{FF2B5EF4-FFF2-40B4-BE49-F238E27FC236}">
                <a16:creationId xmlns:a16="http://schemas.microsoft.com/office/drawing/2014/main" id="{CECF65F2-E075-DDEE-1A63-DD8BDE5F3F72}"/>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20" name="Text Placeholder 8">
            <a:extLst>
              <a:ext uri="{FF2B5EF4-FFF2-40B4-BE49-F238E27FC236}">
                <a16:creationId xmlns:a16="http://schemas.microsoft.com/office/drawing/2014/main" id="{F425601A-4EA9-856B-25DC-45AA3C272F3F}"/>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tx2"/>
                </a:solidFill>
              </a:defRPr>
            </a:lvl1pPr>
          </a:lstStyle>
          <a:p>
            <a:pPr lvl="0"/>
            <a:r>
              <a:rPr lang="en-US"/>
              <a:t>2</a:t>
            </a:r>
          </a:p>
        </p:txBody>
      </p:sp>
    </p:spTree>
    <p:extLst>
      <p:ext uri="{BB962C8B-B14F-4D97-AF65-F5344CB8AC3E}">
        <p14:creationId xmlns:p14="http://schemas.microsoft.com/office/powerpoint/2010/main" val="41965441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u 1">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63BB135B-411D-CF59-EEBA-463940A4A27C}"/>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bg1"/>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5" name="Picture 4" descr="AQPP – Logo blanc">
            <a:extLst>
              <a:ext uri="{FF2B5EF4-FFF2-40B4-BE49-F238E27FC236}">
                <a16:creationId xmlns:a16="http://schemas.microsoft.com/office/drawing/2014/main" id="{E4624D8F-EA1B-925F-A5B3-48FDBDE15E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7400" y="504372"/>
            <a:ext cx="1511085" cy="655797"/>
          </a:xfrm>
          <a:prstGeom prst="rect">
            <a:avLst/>
          </a:prstGeom>
        </p:spPr>
      </p:pic>
    </p:spTree>
    <p:extLst>
      <p:ext uri="{BB962C8B-B14F-4D97-AF65-F5344CB8AC3E}">
        <p14:creationId xmlns:p14="http://schemas.microsoft.com/office/powerpoint/2010/main" val="1319444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u 2">
    <p:bg>
      <p:bgPr>
        <a:solidFill>
          <a:schemeClr val="tx2"/>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DA690888-072E-4358-DDB1-32E05A086661}"/>
              </a:ext>
            </a:extLst>
          </p:cNvPr>
          <p:cNvSpPr/>
          <p:nvPr/>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bg1"/>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5" name="Picture 4" descr="AQPP – Logo blanc">
            <a:extLst>
              <a:ext uri="{FF2B5EF4-FFF2-40B4-BE49-F238E27FC236}">
                <a16:creationId xmlns:a16="http://schemas.microsoft.com/office/drawing/2014/main" id="{E4624D8F-EA1B-925F-A5B3-48FDBDE15E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7400" y="504372"/>
            <a:ext cx="1511085" cy="655797"/>
          </a:xfrm>
          <a:prstGeom prst="rect">
            <a:avLst/>
          </a:prstGeom>
        </p:spPr>
      </p:pic>
    </p:spTree>
    <p:extLst>
      <p:ext uri="{BB962C8B-B14F-4D97-AF65-F5344CB8AC3E}">
        <p14:creationId xmlns:p14="http://schemas.microsoft.com/office/powerpoint/2010/main" val="1748898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u 3">
    <p:bg>
      <p:bgPr>
        <a:solidFill>
          <a:schemeClr val="tx2"/>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DA690888-072E-4358-DDB1-32E05A086661}"/>
              </a:ext>
            </a:extLst>
          </p:cNvPr>
          <p:cNvSpPr/>
          <p:nvPr/>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5" name="Picture 4" descr="AQPP – Logo blanc">
            <a:extLst>
              <a:ext uri="{FF2B5EF4-FFF2-40B4-BE49-F238E27FC236}">
                <a16:creationId xmlns:a16="http://schemas.microsoft.com/office/drawing/2014/main" id="{E4624D8F-EA1B-925F-A5B3-48FDBDE15E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7400" y="504372"/>
            <a:ext cx="1511085" cy="655797"/>
          </a:xfrm>
          <a:prstGeom prst="rect">
            <a:avLst/>
          </a:prstGeom>
        </p:spPr>
      </p:pic>
    </p:spTree>
    <p:extLst>
      <p:ext uri="{BB962C8B-B14F-4D97-AF65-F5344CB8AC3E}">
        <p14:creationId xmlns:p14="http://schemas.microsoft.com/office/powerpoint/2010/main" val="20399922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u 1">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63BB135B-411D-CF59-EEBA-463940A4A27C}"/>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bg1"/>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41F22786-335D-3FB8-5F3A-2290AA4C5760}"/>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32936916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u 2">
    <p:bg>
      <p:bgPr>
        <a:solidFill>
          <a:schemeClr val="tx2"/>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DA690888-072E-4358-DDB1-32E05A086661}"/>
              </a:ext>
            </a:extLst>
          </p:cNvPr>
          <p:cNvSpPr/>
          <p:nvPr/>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bg1"/>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7" name="Picture 7">
            <a:extLst>
              <a:ext uri="{FF2B5EF4-FFF2-40B4-BE49-F238E27FC236}">
                <a16:creationId xmlns:a16="http://schemas.microsoft.com/office/drawing/2014/main" id="{C3F81C99-4B05-DF6D-D468-F17376E36A9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26658363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u 3">
    <p:bg>
      <p:bgPr>
        <a:solidFill>
          <a:schemeClr val="tx2"/>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DA690888-072E-4358-DDB1-32E05A086661}"/>
              </a:ext>
            </a:extLst>
          </p:cNvPr>
          <p:cNvSpPr/>
          <p:nvPr/>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21197" y="1586896"/>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7" name="Picture 7">
            <a:extLst>
              <a:ext uri="{FF2B5EF4-FFF2-40B4-BE49-F238E27FC236}">
                <a16:creationId xmlns:a16="http://schemas.microsoft.com/office/drawing/2014/main" id="{E3464AC0-A756-3247-0213-5F2B0402278B}"/>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38752055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uver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1411638" y="2057400"/>
            <a:ext cx="7884762" cy="1676400"/>
          </a:xfrm>
          <a:prstGeom prst="rect">
            <a:avLst/>
          </a:prstGeom>
        </p:spPr>
        <p:txBody>
          <a:bodyPr lIns="0" tIns="0" rIns="0" bIns="0" anchor="t" anchorCtr="0"/>
          <a:lstStyle>
            <a:lvl1pPr>
              <a:lnSpc>
                <a:spcPct val="90000"/>
              </a:lnSpc>
              <a:defRPr sz="5500" baseline="0">
                <a:solidFill>
                  <a:schemeClr val="bg1"/>
                </a:solidFill>
              </a:defRPr>
            </a:lvl1pPr>
          </a:lstStyle>
          <a:p>
            <a:r>
              <a:rPr lang="en-US"/>
              <a:t>Lorem ipsum odlor</a:t>
            </a:r>
            <a:br>
              <a:rPr lang="en-US"/>
            </a:br>
            <a:r>
              <a:rPr lang="en-US"/>
              <a:t>stlen amet</a:t>
            </a:r>
          </a:p>
        </p:txBody>
      </p:sp>
      <p:sp>
        <p:nvSpPr>
          <p:cNvPr id="11" name="Text Placeholder 8">
            <a:extLst>
              <a:ext uri="{FF2B5EF4-FFF2-40B4-BE49-F238E27FC236}">
                <a16:creationId xmlns:a16="http://schemas.microsoft.com/office/drawing/2014/main" id="{914E0839-F31F-D77F-8719-0EB248C9DF2B}"/>
              </a:ext>
            </a:extLst>
          </p:cNvPr>
          <p:cNvSpPr>
            <a:spLocks noGrp="1"/>
          </p:cNvSpPr>
          <p:nvPr>
            <p:ph type="body" sz="quarter" idx="11" hasCustomPrompt="1"/>
          </p:nvPr>
        </p:nvSpPr>
        <p:spPr>
          <a:xfrm>
            <a:off x="1447800" y="3886200"/>
            <a:ext cx="7848600" cy="1524000"/>
          </a:xfrm>
          <a:prstGeom prst="rect">
            <a:avLst/>
          </a:prstGeom>
        </p:spPr>
        <p:txBody>
          <a:bodyPr lIns="0" tIns="0" rIns="0" bIns="0" anchor="b" anchorCtr="0"/>
          <a:lstStyle>
            <a:lvl1pPr algn="l">
              <a:spcAft>
                <a:spcPts val="3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Présentée par :</a:t>
            </a:r>
          </a:p>
          <a:p>
            <a:pPr lvl="0"/>
            <a:r>
              <a:rPr lang="en-US"/>
              <a:t>Lorem Hipsum, présidente</a:t>
            </a:r>
          </a:p>
          <a:p>
            <a:pPr lvl="0"/>
            <a:r>
              <a:rPr lang="en-US"/>
              <a:t>Odlor Setamet, vice-président principal, Ventes et Marketing</a:t>
            </a:r>
          </a:p>
          <a:p>
            <a:pPr lvl="0"/>
            <a:r>
              <a:rPr lang="en-US"/>
              <a:t>Loremme Ipsumhe, directeur lorem ipsum</a:t>
            </a:r>
          </a:p>
          <a:p>
            <a:pPr lvl="0"/>
            <a:r>
              <a:rPr lang="en-US"/>
              <a:t>Odlor Setamet, vice-président principal, Ventes et Marketing</a:t>
            </a:r>
          </a:p>
          <a:p>
            <a:pPr lvl="0"/>
            <a:r>
              <a:rPr lang="en-US"/>
              <a:t>Loremme Ipsumhe, directeur lorem ipsum</a:t>
            </a:r>
          </a:p>
        </p:txBody>
      </p:sp>
      <p:sp>
        <p:nvSpPr>
          <p:cNvPr id="2" name="Text Placeholder 8">
            <a:extLst>
              <a:ext uri="{FF2B5EF4-FFF2-40B4-BE49-F238E27FC236}">
                <a16:creationId xmlns:a16="http://schemas.microsoft.com/office/drawing/2014/main" id="{3D707C00-5A70-75CE-A199-E00A2B3A2002}"/>
              </a:ext>
            </a:extLst>
          </p:cNvPr>
          <p:cNvSpPr>
            <a:spLocks noGrp="1"/>
          </p:cNvSpPr>
          <p:nvPr>
            <p:ph type="body" sz="quarter" idx="12" hasCustomPrompt="1"/>
          </p:nvPr>
        </p:nvSpPr>
        <p:spPr>
          <a:xfrm>
            <a:off x="1447800" y="5943600"/>
            <a:ext cx="3339885" cy="414042"/>
          </a:xfrm>
          <a:prstGeom prst="rect">
            <a:avLst/>
          </a:prstGeom>
        </p:spPr>
        <p:txBody>
          <a:bodyPr lIns="0" tIns="0" rIns="0" bIns="0" anchor="b" anchorCtr="0"/>
          <a:lstStyle>
            <a:lvl1pPr algn="l">
              <a:spcAft>
                <a:spcPts val="12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Date</a:t>
            </a:r>
          </a:p>
        </p:txBody>
      </p:sp>
      <p:pic>
        <p:nvPicPr>
          <p:cNvPr id="5" name="Picture 4" descr="AQPP – Logo blanc">
            <a:extLst>
              <a:ext uri="{FF2B5EF4-FFF2-40B4-BE49-F238E27FC236}">
                <a16:creationId xmlns:a16="http://schemas.microsoft.com/office/drawing/2014/main" id="{5F4E0CE4-678D-D09A-0599-F6B05810A2B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47799" y="563403"/>
            <a:ext cx="1511085" cy="655797"/>
          </a:xfrm>
          <a:prstGeom prst="rect">
            <a:avLst/>
          </a:prstGeom>
        </p:spPr>
      </p:pic>
    </p:spTree>
    <p:extLst>
      <p:ext uri="{BB962C8B-B14F-4D97-AF65-F5344CB8AC3E}">
        <p14:creationId xmlns:p14="http://schemas.microsoft.com/office/powerpoint/2010/main" val="36353913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u 4">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411D5F97-61D4-2CA2-C8EC-5856FD311D9E}"/>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4394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39362466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u 5">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411D5F97-61D4-2CA2-C8EC-5856FD311D9E}"/>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4394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12165965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u 6">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411D5F97-61D4-2CA2-C8EC-5856FD311D9E}"/>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4394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16245172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u 7">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CB7D42B-572D-39A2-712E-7A5847E6D557}"/>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6" name="Text Placeholder 14">
            <a:extLst>
              <a:ext uri="{FF2B5EF4-FFF2-40B4-BE49-F238E27FC236}">
                <a16:creationId xmlns:a16="http://schemas.microsoft.com/office/drawing/2014/main" id="{04E23B6C-63A8-BF44-961E-5101F2FDEDC5}"/>
              </a:ext>
            </a:extLst>
          </p:cNvPr>
          <p:cNvSpPr>
            <a:spLocks noGrp="1"/>
          </p:cNvSpPr>
          <p:nvPr>
            <p:ph type="body" sz="quarter" idx="13" hasCustomPrompt="1"/>
          </p:nvPr>
        </p:nvSpPr>
        <p:spPr>
          <a:xfrm>
            <a:off x="60960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34945540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u 8">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CB7D42B-572D-39A2-712E-7A5847E6D557}"/>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6" name="Text Placeholder 14">
            <a:extLst>
              <a:ext uri="{FF2B5EF4-FFF2-40B4-BE49-F238E27FC236}">
                <a16:creationId xmlns:a16="http://schemas.microsoft.com/office/drawing/2014/main" id="{04E23B6C-63A8-BF44-961E-5101F2FDEDC5}"/>
              </a:ext>
            </a:extLst>
          </p:cNvPr>
          <p:cNvSpPr>
            <a:spLocks noGrp="1"/>
          </p:cNvSpPr>
          <p:nvPr>
            <p:ph type="body" sz="quarter" idx="13" hasCustomPrompt="1"/>
          </p:nvPr>
        </p:nvSpPr>
        <p:spPr>
          <a:xfrm>
            <a:off x="60960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26352045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u 9">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CB7D42B-572D-39A2-712E-7A5847E6D557}"/>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6" name="Text Placeholder 14">
            <a:extLst>
              <a:ext uri="{FF2B5EF4-FFF2-40B4-BE49-F238E27FC236}">
                <a16:creationId xmlns:a16="http://schemas.microsoft.com/office/drawing/2014/main" id="{04E23B6C-63A8-BF44-961E-5101F2FDEDC5}"/>
              </a:ext>
            </a:extLst>
          </p:cNvPr>
          <p:cNvSpPr>
            <a:spLocks noGrp="1"/>
          </p:cNvSpPr>
          <p:nvPr>
            <p:ph type="body" sz="quarter" idx="13" hasCustomPrompt="1"/>
          </p:nvPr>
        </p:nvSpPr>
        <p:spPr>
          <a:xfrm>
            <a:off x="60960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1738359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u 10">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8D9D8987-A15C-90A7-B712-DA6E705B9B83}"/>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7" name="Content Placeholder 6">
            <a:extLst>
              <a:ext uri="{FF2B5EF4-FFF2-40B4-BE49-F238E27FC236}">
                <a16:creationId xmlns:a16="http://schemas.microsoft.com/office/drawing/2014/main" id="{5760C257-E18E-0C57-A2B3-1855C9A112B4}"/>
              </a:ext>
            </a:extLst>
          </p:cNvPr>
          <p:cNvSpPr>
            <a:spLocks noGrp="1"/>
          </p:cNvSpPr>
          <p:nvPr>
            <p:ph sz="quarter" idx="13" hasCustomPrompt="1"/>
          </p:nvPr>
        </p:nvSpPr>
        <p:spPr>
          <a:xfrm>
            <a:off x="6107906" y="2209800"/>
            <a:ext cx="5448300" cy="373062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11400860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u 11">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8D9D8987-A15C-90A7-B712-DA6E705B9B83}"/>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7" name="Content Placeholder 6">
            <a:extLst>
              <a:ext uri="{FF2B5EF4-FFF2-40B4-BE49-F238E27FC236}">
                <a16:creationId xmlns:a16="http://schemas.microsoft.com/office/drawing/2014/main" id="{5760C257-E18E-0C57-A2B3-1855C9A112B4}"/>
              </a:ext>
            </a:extLst>
          </p:cNvPr>
          <p:cNvSpPr>
            <a:spLocks noGrp="1"/>
          </p:cNvSpPr>
          <p:nvPr>
            <p:ph sz="quarter" idx="13" hasCustomPrompt="1"/>
          </p:nvPr>
        </p:nvSpPr>
        <p:spPr>
          <a:xfrm>
            <a:off x="6107906" y="2209800"/>
            <a:ext cx="5448300" cy="373062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16395897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u 12">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8D9D8987-A15C-90A7-B712-DA6E705B9B83}"/>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7" name="Content Placeholder 6">
            <a:extLst>
              <a:ext uri="{FF2B5EF4-FFF2-40B4-BE49-F238E27FC236}">
                <a16:creationId xmlns:a16="http://schemas.microsoft.com/office/drawing/2014/main" id="{5760C257-E18E-0C57-A2B3-1855C9A112B4}"/>
              </a:ext>
            </a:extLst>
          </p:cNvPr>
          <p:cNvSpPr>
            <a:spLocks noGrp="1"/>
          </p:cNvSpPr>
          <p:nvPr>
            <p:ph sz="quarter" idx="13" hasCustomPrompt="1"/>
          </p:nvPr>
        </p:nvSpPr>
        <p:spPr>
          <a:xfrm>
            <a:off x="6107906" y="2209800"/>
            <a:ext cx="5448300" cy="373062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29103250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u 13">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0AC50D-D186-386E-E1ED-22500087EC89}"/>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905000" y="2133600"/>
            <a:ext cx="4495800" cy="457200"/>
          </a:xfrm>
          <a:prstGeom prst="rect">
            <a:avLst/>
          </a:prstGeom>
        </p:spPr>
        <p:txBody>
          <a:bodyPr lIns="0" tIns="0" rIns="0" bIns="0"/>
          <a:lstStyle>
            <a:lvl1pPr>
              <a:spcAft>
                <a:spcPts val="1200"/>
              </a:spcAft>
              <a:defRPr sz="1500" b="1" cap="all" baseline="0">
                <a:solidFill>
                  <a:schemeClr val="accent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itre du tableau – Lorem ipsum</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5" name="Content Placeholder 6">
            <a:extLst>
              <a:ext uri="{FF2B5EF4-FFF2-40B4-BE49-F238E27FC236}">
                <a16:creationId xmlns:a16="http://schemas.microsoft.com/office/drawing/2014/main" id="{74FDEFC3-36D7-BB11-D9F7-FD40363CB96C}"/>
              </a:ext>
            </a:extLst>
          </p:cNvPr>
          <p:cNvSpPr>
            <a:spLocks noGrp="1"/>
          </p:cNvSpPr>
          <p:nvPr>
            <p:ph sz="quarter" idx="13" hasCustomPrompt="1"/>
          </p:nvPr>
        </p:nvSpPr>
        <p:spPr>
          <a:xfrm>
            <a:off x="1904998" y="2524125"/>
            <a:ext cx="7848601" cy="341947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19206874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uver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33953" y="2133600"/>
            <a:ext cx="7567047" cy="1524000"/>
          </a:xfrm>
          <a:prstGeom prst="rect">
            <a:avLst/>
          </a:prstGeom>
        </p:spPr>
        <p:txBody>
          <a:bodyPr lIns="0" tIns="0" rIns="0" bIns="0" anchor="t" anchorCtr="0"/>
          <a:lstStyle>
            <a:lvl1pPr>
              <a:lnSpc>
                <a:spcPct val="90000"/>
              </a:lnSpc>
              <a:defRPr sz="5500" baseline="0">
                <a:solidFill>
                  <a:schemeClr val="bg1"/>
                </a:solidFill>
              </a:defRPr>
            </a:lvl1pPr>
          </a:lstStyle>
          <a:p>
            <a:r>
              <a:rPr lang="en-US"/>
              <a:t>Lorem ipsum odlor</a:t>
            </a:r>
            <a:br>
              <a:rPr lang="en-US"/>
            </a:br>
            <a:r>
              <a:rPr lang="en-US"/>
              <a:t>stlen amet</a:t>
            </a:r>
          </a:p>
        </p:txBody>
      </p:sp>
      <p:sp>
        <p:nvSpPr>
          <p:cNvPr id="11" name="Text Placeholder 8">
            <a:extLst>
              <a:ext uri="{FF2B5EF4-FFF2-40B4-BE49-F238E27FC236}">
                <a16:creationId xmlns:a16="http://schemas.microsoft.com/office/drawing/2014/main" id="{914E0839-F31F-D77F-8719-0EB248C9DF2B}"/>
              </a:ext>
            </a:extLst>
          </p:cNvPr>
          <p:cNvSpPr>
            <a:spLocks noGrp="1"/>
          </p:cNvSpPr>
          <p:nvPr>
            <p:ph type="body" sz="quarter" idx="11" hasCustomPrompt="1"/>
          </p:nvPr>
        </p:nvSpPr>
        <p:spPr>
          <a:xfrm>
            <a:off x="470115" y="4267200"/>
            <a:ext cx="7530885" cy="1143000"/>
          </a:xfrm>
          <a:prstGeom prst="rect">
            <a:avLst/>
          </a:prstGeom>
        </p:spPr>
        <p:txBody>
          <a:bodyPr lIns="0" tIns="0" rIns="0" bIns="0" anchor="b" anchorCtr="0"/>
          <a:lstStyle>
            <a:lvl1pPr algn="l">
              <a:spcAft>
                <a:spcPts val="3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Présentée par :</a:t>
            </a:r>
          </a:p>
          <a:p>
            <a:pPr lvl="0"/>
            <a:r>
              <a:rPr lang="en-US"/>
              <a:t>Lorem Hipsum, présidente</a:t>
            </a:r>
          </a:p>
          <a:p>
            <a:pPr lvl="0"/>
            <a:r>
              <a:rPr lang="en-US"/>
              <a:t>Odlor Setamet, vice-président principal, Ventes et Marketing</a:t>
            </a:r>
          </a:p>
          <a:p>
            <a:pPr lvl="0"/>
            <a:r>
              <a:rPr lang="en-US"/>
              <a:t>Loremme Ipsumhe, directeur lorem ipsum</a:t>
            </a:r>
          </a:p>
          <a:p>
            <a:pPr lvl="0"/>
            <a:r>
              <a:rPr lang="en-US"/>
              <a:t>Odlor Setamet, vice-président principal, Ventes </a:t>
            </a:r>
          </a:p>
        </p:txBody>
      </p:sp>
      <p:sp>
        <p:nvSpPr>
          <p:cNvPr id="2" name="Text Placeholder 8">
            <a:extLst>
              <a:ext uri="{FF2B5EF4-FFF2-40B4-BE49-F238E27FC236}">
                <a16:creationId xmlns:a16="http://schemas.microsoft.com/office/drawing/2014/main" id="{3D707C00-5A70-75CE-A199-E00A2B3A2002}"/>
              </a:ext>
            </a:extLst>
          </p:cNvPr>
          <p:cNvSpPr>
            <a:spLocks noGrp="1"/>
          </p:cNvSpPr>
          <p:nvPr>
            <p:ph type="body" sz="quarter" idx="12" hasCustomPrompt="1"/>
          </p:nvPr>
        </p:nvSpPr>
        <p:spPr>
          <a:xfrm>
            <a:off x="470115" y="5943600"/>
            <a:ext cx="3339885" cy="414042"/>
          </a:xfrm>
          <a:prstGeom prst="rect">
            <a:avLst/>
          </a:prstGeom>
        </p:spPr>
        <p:txBody>
          <a:bodyPr lIns="0" tIns="0" rIns="0" bIns="0" anchor="b" anchorCtr="0"/>
          <a:lstStyle>
            <a:lvl1pPr algn="l">
              <a:spcAft>
                <a:spcPts val="12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Date</a:t>
            </a:r>
          </a:p>
        </p:txBody>
      </p:sp>
      <p:pic>
        <p:nvPicPr>
          <p:cNvPr id="5" name="Picture 4" descr="AQPP – Logo blanc">
            <a:extLst>
              <a:ext uri="{FF2B5EF4-FFF2-40B4-BE49-F238E27FC236}">
                <a16:creationId xmlns:a16="http://schemas.microsoft.com/office/drawing/2014/main" id="{5F4E0CE4-678D-D09A-0599-F6B05810A2B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0114" y="563403"/>
            <a:ext cx="1511085" cy="655797"/>
          </a:xfrm>
          <a:prstGeom prst="rect">
            <a:avLst/>
          </a:prstGeom>
        </p:spPr>
      </p:pic>
      <p:sp>
        <p:nvSpPr>
          <p:cNvPr id="6" name="TextBox 5">
            <a:extLst>
              <a:ext uri="{FF2B5EF4-FFF2-40B4-BE49-F238E27FC236}">
                <a16:creationId xmlns:a16="http://schemas.microsoft.com/office/drawing/2014/main" id="{987A0B2E-2877-77D4-E475-E68B1CFB78D3}"/>
              </a:ext>
            </a:extLst>
          </p:cNvPr>
          <p:cNvSpPr txBox="1"/>
          <p:nvPr userDrawn="1"/>
        </p:nvSpPr>
        <p:spPr>
          <a:xfrm>
            <a:off x="8763000" y="1197600"/>
            <a:ext cx="3352800" cy="343200"/>
          </a:xfrm>
          <a:prstGeom prst="rect">
            <a:avLst/>
          </a:prstGeom>
          <a:noFill/>
        </p:spPr>
        <p:txBody>
          <a:bodyPr wrap="square" lIns="0" tIns="0" rIns="0" bIns="0" rtlCol="0" anchor="t" anchorCtr="0">
            <a:noAutofit/>
          </a:bodyPr>
          <a:lstStyle/>
          <a:p>
            <a:pPr algn="ctr">
              <a:lnSpc>
                <a:spcPct val="90000"/>
              </a:lnSpc>
            </a:pPr>
            <a:r>
              <a:rPr lang="en-CA" sz="1100" cap="all">
                <a:solidFill>
                  <a:schemeClr val="tx1"/>
                </a:solidFill>
                <a:effectLst/>
                <a:latin typeface="Arial" panose="020B0604020202020204" pitchFamily="34" charset="0"/>
              </a:rPr>
              <a:t>Formation </a:t>
            </a:r>
            <a:br>
              <a:rPr lang="en-CA" sz="1100" cap="all">
                <a:solidFill>
                  <a:schemeClr val="tx1"/>
                </a:solidFill>
                <a:effectLst/>
                <a:latin typeface="Arial" panose="020B0604020202020204" pitchFamily="34" charset="0"/>
              </a:rPr>
            </a:br>
            <a:r>
              <a:rPr lang="en-CA" sz="1100" cap="all">
                <a:solidFill>
                  <a:schemeClr val="tx1"/>
                </a:solidFill>
                <a:effectLst/>
                <a:latin typeface="Arial" panose="020B0604020202020204" pitchFamily="34" charset="0"/>
              </a:rPr>
              <a:t>commanditée par :</a:t>
            </a:r>
          </a:p>
        </p:txBody>
      </p:sp>
    </p:spTree>
    <p:extLst>
      <p:ext uri="{BB962C8B-B14F-4D97-AF65-F5344CB8AC3E}">
        <p14:creationId xmlns:p14="http://schemas.microsoft.com/office/powerpoint/2010/main" val="247185872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u 14">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0AC50D-D186-386E-E1ED-22500087EC89}"/>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905000" y="2133600"/>
            <a:ext cx="4495800" cy="457200"/>
          </a:xfrm>
          <a:prstGeom prst="rect">
            <a:avLst/>
          </a:prstGeom>
        </p:spPr>
        <p:txBody>
          <a:bodyPr lIns="0" tIns="0" rIns="0" bIns="0"/>
          <a:lstStyle>
            <a:lvl1pPr>
              <a:spcAft>
                <a:spcPts val="1200"/>
              </a:spcAft>
              <a:defRPr sz="1500" b="1" cap="all" baseline="0">
                <a:solidFill>
                  <a:schemeClr val="accent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itre du tableau – Lorem ipsum</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5" name="Content Placeholder 6">
            <a:extLst>
              <a:ext uri="{FF2B5EF4-FFF2-40B4-BE49-F238E27FC236}">
                <a16:creationId xmlns:a16="http://schemas.microsoft.com/office/drawing/2014/main" id="{74FDEFC3-36D7-BB11-D9F7-FD40363CB96C}"/>
              </a:ext>
            </a:extLst>
          </p:cNvPr>
          <p:cNvSpPr>
            <a:spLocks noGrp="1"/>
          </p:cNvSpPr>
          <p:nvPr>
            <p:ph sz="quarter" idx="13" hasCustomPrompt="1"/>
          </p:nvPr>
        </p:nvSpPr>
        <p:spPr>
          <a:xfrm>
            <a:off x="1904998" y="2524125"/>
            <a:ext cx="7848601" cy="341947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11494809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u 15">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0AC50D-D186-386E-E1ED-22500087EC89}"/>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905000" y="2133600"/>
            <a:ext cx="4495800" cy="457200"/>
          </a:xfrm>
          <a:prstGeom prst="rect">
            <a:avLst/>
          </a:prstGeom>
        </p:spPr>
        <p:txBody>
          <a:bodyPr lIns="0" tIns="0" rIns="0" bIns="0"/>
          <a:lstStyle>
            <a:lvl1pPr>
              <a:spcAft>
                <a:spcPts val="1200"/>
              </a:spcAft>
              <a:defRPr sz="1500" b="1" cap="all" baseline="0">
                <a:solidFill>
                  <a:schemeClr val="accent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itre du tableau – Lorem ipsum</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5" name="Content Placeholder 6">
            <a:extLst>
              <a:ext uri="{FF2B5EF4-FFF2-40B4-BE49-F238E27FC236}">
                <a16:creationId xmlns:a16="http://schemas.microsoft.com/office/drawing/2014/main" id="{74FDEFC3-36D7-BB11-D9F7-FD40363CB96C}"/>
              </a:ext>
            </a:extLst>
          </p:cNvPr>
          <p:cNvSpPr>
            <a:spLocks noGrp="1"/>
          </p:cNvSpPr>
          <p:nvPr>
            <p:ph sz="quarter" idx="13" hasCustomPrompt="1"/>
          </p:nvPr>
        </p:nvSpPr>
        <p:spPr>
          <a:xfrm>
            <a:off x="1904998" y="2524125"/>
            <a:ext cx="7848601" cy="341947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41211176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u 16">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9822B272-56D4-376E-9B19-E916A2E6D062}"/>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raphic 6">
            <a:extLst>
              <a:ext uri="{FF2B5EF4-FFF2-40B4-BE49-F238E27FC236}">
                <a16:creationId xmlns:a16="http://schemas.microsoft.com/office/drawing/2014/main" id="{696FCC50-75C6-CFE3-4681-232893F38E3C}"/>
              </a:ext>
            </a:extLst>
          </p:cNvPr>
          <p:cNvSpPr/>
          <p:nvPr/>
        </p:nvSpPr>
        <p:spPr>
          <a:xfrm>
            <a:off x="609807" y="1972348"/>
            <a:ext cx="11855285" cy="4878456"/>
          </a:xfrm>
          <a:custGeom>
            <a:avLst/>
            <a:gdLst>
              <a:gd name="connsiteX0" fmla="*/ 11855285 w 11855285"/>
              <a:gd name="connsiteY0" fmla="*/ 4878457 h 4878456"/>
              <a:gd name="connsiteX1" fmla="*/ 9822214 w 11855285"/>
              <a:gd name="connsiteY1" fmla="*/ 793512 h 4878456"/>
              <a:gd name="connsiteX2" fmla="*/ 8686829 w 11855285"/>
              <a:gd name="connsiteY2" fmla="*/ 0 h 4878456"/>
              <a:gd name="connsiteX3" fmla="*/ 1209070 w 11855285"/>
              <a:gd name="connsiteY3" fmla="*/ 0 h 4878456"/>
              <a:gd name="connsiteX4" fmla="*/ 0 w 11855285"/>
              <a:gd name="connsiteY4" fmla="*/ 1209070 h 4878456"/>
              <a:gd name="connsiteX5" fmla="*/ 0 w 11855285"/>
              <a:gd name="connsiteY5" fmla="*/ 4878457 h 4878456"/>
              <a:gd name="connsiteX6" fmla="*/ 11855285 w 11855285"/>
              <a:gd name="connsiteY6" fmla="*/ 4878457 h 48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55285" h="4878456">
                <a:moveTo>
                  <a:pt x="11855285" y="4878457"/>
                </a:moveTo>
                <a:lnTo>
                  <a:pt x="9822214" y="793512"/>
                </a:lnTo>
                <a:cubicBezTo>
                  <a:pt x="9583881" y="318878"/>
                  <a:pt x="9194240" y="0"/>
                  <a:pt x="8686829" y="0"/>
                </a:cubicBezTo>
                <a:lnTo>
                  <a:pt x="1209070" y="0"/>
                </a:lnTo>
                <a:cubicBezTo>
                  <a:pt x="541331" y="0"/>
                  <a:pt x="0" y="541331"/>
                  <a:pt x="0" y="1209070"/>
                </a:cubicBezTo>
                <a:lnTo>
                  <a:pt x="0" y="4878457"/>
                </a:lnTo>
                <a:lnTo>
                  <a:pt x="11855285" y="4878457"/>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7239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371600" y="2665759"/>
            <a:ext cx="8305800" cy="31973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4359775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u 17">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9822B272-56D4-376E-9B19-E916A2E6D062}"/>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raphic 6">
            <a:extLst>
              <a:ext uri="{FF2B5EF4-FFF2-40B4-BE49-F238E27FC236}">
                <a16:creationId xmlns:a16="http://schemas.microsoft.com/office/drawing/2014/main" id="{696FCC50-75C6-CFE3-4681-232893F38E3C}"/>
              </a:ext>
            </a:extLst>
          </p:cNvPr>
          <p:cNvSpPr/>
          <p:nvPr/>
        </p:nvSpPr>
        <p:spPr>
          <a:xfrm>
            <a:off x="609807" y="1972348"/>
            <a:ext cx="11855285" cy="4878456"/>
          </a:xfrm>
          <a:custGeom>
            <a:avLst/>
            <a:gdLst>
              <a:gd name="connsiteX0" fmla="*/ 11855285 w 11855285"/>
              <a:gd name="connsiteY0" fmla="*/ 4878457 h 4878456"/>
              <a:gd name="connsiteX1" fmla="*/ 9822214 w 11855285"/>
              <a:gd name="connsiteY1" fmla="*/ 793512 h 4878456"/>
              <a:gd name="connsiteX2" fmla="*/ 8686829 w 11855285"/>
              <a:gd name="connsiteY2" fmla="*/ 0 h 4878456"/>
              <a:gd name="connsiteX3" fmla="*/ 1209070 w 11855285"/>
              <a:gd name="connsiteY3" fmla="*/ 0 h 4878456"/>
              <a:gd name="connsiteX4" fmla="*/ 0 w 11855285"/>
              <a:gd name="connsiteY4" fmla="*/ 1209070 h 4878456"/>
              <a:gd name="connsiteX5" fmla="*/ 0 w 11855285"/>
              <a:gd name="connsiteY5" fmla="*/ 4878457 h 4878456"/>
              <a:gd name="connsiteX6" fmla="*/ 11855285 w 11855285"/>
              <a:gd name="connsiteY6" fmla="*/ 4878457 h 48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55285" h="4878456">
                <a:moveTo>
                  <a:pt x="11855285" y="4878457"/>
                </a:moveTo>
                <a:lnTo>
                  <a:pt x="9822214" y="793512"/>
                </a:lnTo>
                <a:cubicBezTo>
                  <a:pt x="9583881" y="318878"/>
                  <a:pt x="9194240" y="0"/>
                  <a:pt x="8686829" y="0"/>
                </a:cubicBezTo>
                <a:lnTo>
                  <a:pt x="1209070" y="0"/>
                </a:lnTo>
                <a:cubicBezTo>
                  <a:pt x="541331" y="0"/>
                  <a:pt x="0" y="541331"/>
                  <a:pt x="0" y="1209070"/>
                </a:cubicBezTo>
                <a:lnTo>
                  <a:pt x="0" y="4878457"/>
                </a:lnTo>
                <a:lnTo>
                  <a:pt x="11855285" y="4878457"/>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7239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371600" y="2665759"/>
            <a:ext cx="8305800" cy="31973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5910344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u 18">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9822B272-56D4-376E-9B19-E916A2E6D062}"/>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raphic 6">
            <a:extLst>
              <a:ext uri="{FF2B5EF4-FFF2-40B4-BE49-F238E27FC236}">
                <a16:creationId xmlns:a16="http://schemas.microsoft.com/office/drawing/2014/main" id="{696FCC50-75C6-CFE3-4681-232893F38E3C}"/>
              </a:ext>
            </a:extLst>
          </p:cNvPr>
          <p:cNvSpPr/>
          <p:nvPr/>
        </p:nvSpPr>
        <p:spPr>
          <a:xfrm>
            <a:off x="609807" y="1972348"/>
            <a:ext cx="11855285" cy="4878456"/>
          </a:xfrm>
          <a:custGeom>
            <a:avLst/>
            <a:gdLst>
              <a:gd name="connsiteX0" fmla="*/ 11855285 w 11855285"/>
              <a:gd name="connsiteY0" fmla="*/ 4878457 h 4878456"/>
              <a:gd name="connsiteX1" fmla="*/ 9822214 w 11855285"/>
              <a:gd name="connsiteY1" fmla="*/ 793512 h 4878456"/>
              <a:gd name="connsiteX2" fmla="*/ 8686829 w 11855285"/>
              <a:gd name="connsiteY2" fmla="*/ 0 h 4878456"/>
              <a:gd name="connsiteX3" fmla="*/ 1209070 w 11855285"/>
              <a:gd name="connsiteY3" fmla="*/ 0 h 4878456"/>
              <a:gd name="connsiteX4" fmla="*/ 0 w 11855285"/>
              <a:gd name="connsiteY4" fmla="*/ 1209070 h 4878456"/>
              <a:gd name="connsiteX5" fmla="*/ 0 w 11855285"/>
              <a:gd name="connsiteY5" fmla="*/ 4878457 h 4878456"/>
              <a:gd name="connsiteX6" fmla="*/ 11855285 w 11855285"/>
              <a:gd name="connsiteY6" fmla="*/ 4878457 h 48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55285" h="4878456">
                <a:moveTo>
                  <a:pt x="11855285" y="4878457"/>
                </a:moveTo>
                <a:lnTo>
                  <a:pt x="9822214" y="793512"/>
                </a:lnTo>
                <a:cubicBezTo>
                  <a:pt x="9583881" y="318878"/>
                  <a:pt x="9194240" y="0"/>
                  <a:pt x="8686829" y="0"/>
                </a:cubicBezTo>
                <a:lnTo>
                  <a:pt x="1209070" y="0"/>
                </a:lnTo>
                <a:cubicBezTo>
                  <a:pt x="541331" y="0"/>
                  <a:pt x="0" y="541331"/>
                  <a:pt x="0" y="1209070"/>
                </a:cubicBezTo>
                <a:lnTo>
                  <a:pt x="0" y="4878457"/>
                </a:lnTo>
                <a:lnTo>
                  <a:pt x="11855285" y="4878457"/>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7239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371600" y="2665759"/>
            <a:ext cx="8305800" cy="31973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40640269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u 19">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60960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4619624" cy="1905000"/>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0" name="Text Placeholder 14">
            <a:extLst>
              <a:ext uri="{FF2B5EF4-FFF2-40B4-BE49-F238E27FC236}">
                <a16:creationId xmlns:a16="http://schemas.microsoft.com/office/drawing/2014/main" id="{1CF310E3-AC2A-F1A5-62E8-4B80F4F9C3AF}"/>
              </a:ext>
            </a:extLst>
          </p:cNvPr>
          <p:cNvSpPr>
            <a:spLocks noGrp="1"/>
          </p:cNvSpPr>
          <p:nvPr>
            <p:ph type="body" sz="quarter" idx="13" hasCustomPrompt="1"/>
          </p:nvPr>
        </p:nvSpPr>
        <p:spPr>
          <a:xfrm>
            <a:off x="638176" y="2438400"/>
            <a:ext cx="4876800" cy="3217069"/>
          </a:xfrm>
          <a:prstGeom prst="rect">
            <a:avLst/>
          </a:prstGeom>
        </p:spPr>
        <p:txBody>
          <a:bodyPr lIns="0" tIns="0" rIns="0" bIns="0"/>
          <a:lstStyle>
            <a:lvl1pPr>
              <a:spcAft>
                <a:spcPts val="1200"/>
              </a:spcAft>
              <a:defRPr>
                <a:solidFill>
                  <a:schemeClr val="bg1"/>
                </a:solidFill>
              </a:defRPr>
            </a:lvl1pPr>
            <a:lvl2pPr marL="457200" indent="-228600">
              <a:spcAft>
                <a:spcPts val="1200"/>
              </a:spcAft>
              <a:buClr>
                <a:schemeClr val="tx2"/>
              </a:buClr>
              <a:buFont typeface="Arial" panose="020B0604020202020204" pitchFamily="34" charset="0"/>
              <a:buChar char="•"/>
              <a:defRPr>
                <a:solidFill>
                  <a:schemeClr val="bg1"/>
                </a:solidFill>
              </a:defRPr>
            </a:lvl2pPr>
            <a:lvl3pPr marL="914400" indent="-228600">
              <a:spcAft>
                <a:spcPts val="1200"/>
              </a:spcAft>
              <a:buClr>
                <a:schemeClr val="tx1"/>
              </a:buClr>
              <a:buFont typeface="System Font Regular"/>
              <a:buChar char="−"/>
              <a:defRPr>
                <a:solidFill>
                  <a:schemeClr val="bg1"/>
                </a:solidFill>
              </a:defRPr>
            </a:lvl3pPr>
            <a:lvl4pPr marL="1371600" indent="-228600">
              <a:spcAft>
                <a:spcPts val="1200"/>
              </a:spcAft>
              <a:buClr>
                <a:schemeClr val="tx1"/>
              </a:buClr>
              <a:buFont typeface="Arial" panose="020B0604020202020204" pitchFamily="34" charset="0"/>
              <a:buChar char="•"/>
              <a:defRPr>
                <a:solidFill>
                  <a:schemeClr val="bg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Tree>
    <p:extLst>
      <p:ext uri="{BB962C8B-B14F-4D97-AF65-F5344CB8AC3E}">
        <p14:creationId xmlns:p14="http://schemas.microsoft.com/office/powerpoint/2010/main" val="18260793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u 20">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60960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4619624" cy="1905000"/>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0" name="Text Placeholder 14">
            <a:extLst>
              <a:ext uri="{FF2B5EF4-FFF2-40B4-BE49-F238E27FC236}">
                <a16:creationId xmlns:a16="http://schemas.microsoft.com/office/drawing/2014/main" id="{1CF310E3-AC2A-F1A5-62E8-4B80F4F9C3AF}"/>
              </a:ext>
            </a:extLst>
          </p:cNvPr>
          <p:cNvSpPr>
            <a:spLocks noGrp="1"/>
          </p:cNvSpPr>
          <p:nvPr>
            <p:ph type="body" sz="quarter" idx="13" hasCustomPrompt="1"/>
          </p:nvPr>
        </p:nvSpPr>
        <p:spPr>
          <a:xfrm>
            <a:off x="638176" y="2438400"/>
            <a:ext cx="4876800" cy="3217069"/>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Tree>
    <p:extLst>
      <p:ext uri="{BB962C8B-B14F-4D97-AF65-F5344CB8AC3E}">
        <p14:creationId xmlns:p14="http://schemas.microsoft.com/office/powerpoint/2010/main" val="23961564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u 21">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7DC475BB-C2E6-4ACA-C29A-6D5A6DB4DA04}"/>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Graphic 6">
            <a:extLst>
              <a:ext uri="{FF2B5EF4-FFF2-40B4-BE49-F238E27FC236}">
                <a16:creationId xmlns:a16="http://schemas.microsoft.com/office/drawing/2014/main" id="{2250C2EB-0DC3-D699-00ED-4F4CB4C0E6E3}"/>
              </a:ext>
            </a:extLst>
          </p:cNvPr>
          <p:cNvSpPr/>
          <p:nvPr userDrawn="1"/>
        </p:nvSpPr>
        <p:spPr>
          <a:xfrm>
            <a:off x="60960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5" name="Graphic 11">
            <a:extLst>
              <a:ext uri="{FF2B5EF4-FFF2-40B4-BE49-F238E27FC236}">
                <a16:creationId xmlns:a16="http://schemas.microsoft.com/office/drawing/2014/main" id="{346F50D4-73EF-EB89-B131-9EF34877463B}"/>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4619624" cy="18288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7155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0" name="Text Placeholder 14">
            <a:extLst>
              <a:ext uri="{FF2B5EF4-FFF2-40B4-BE49-F238E27FC236}">
                <a16:creationId xmlns:a16="http://schemas.microsoft.com/office/drawing/2014/main" id="{1CF310E3-AC2A-F1A5-62E8-4B80F4F9C3AF}"/>
              </a:ext>
            </a:extLst>
          </p:cNvPr>
          <p:cNvSpPr>
            <a:spLocks noGrp="1"/>
          </p:cNvSpPr>
          <p:nvPr>
            <p:ph type="body" sz="quarter" idx="13" hasCustomPrompt="1"/>
          </p:nvPr>
        </p:nvSpPr>
        <p:spPr>
          <a:xfrm>
            <a:off x="638176" y="2362200"/>
            <a:ext cx="4876800" cy="3293269"/>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Tree>
    <p:extLst>
      <p:ext uri="{BB962C8B-B14F-4D97-AF65-F5344CB8AC3E}">
        <p14:creationId xmlns:p14="http://schemas.microsoft.com/office/powerpoint/2010/main" val="13864096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u 22">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41148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6" name="Graphic 6">
            <a:extLst>
              <a:ext uri="{FF2B5EF4-FFF2-40B4-BE49-F238E27FC236}">
                <a16:creationId xmlns:a16="http://schemas.microsoft.com/office/drawing/2014/main" id="{29FE4D8F-2BA6-4A80-F366-D816A24160F4}"/>
              </a:ext>
            </a:extLst>
          </p:cNvPr>
          <p:cNvSpPr/>
          <p:nvPr userDrawn="1"/>
        </p:nvSpPr>
        <p:spPr>
          <a:xfrm>
            <a:off x="6098438"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3171824" cy="1905000"/>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4800600" y="990600"/>
            <a:ext cx="6753224"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8" name="Picture Placeholder 7">
            <a:extLst>
              <a:ext uri="{FF2B5EF4-FFF2-40B4-BE49-F238E27FC236}">
                <a16:creationId xmlns:a16="http://schemas.microsoft.com/office/drawing/2014/main" id="{06039153-F838-D3B4-2E0D-D037172D2184}"/>
              </a:ext>
            </a:extLst>
          </p:cNvPr>
          <p:cNvSpPr>
            <a:spLocks noGrp="1"/>
          </p:cNvSpPr>
          <p:nvPr>
            <p:ph type="pic" sz="quarter" idx="13" hasCustomPrompt="1"/>
          </p:nvPr>
        </p:nvSpPr>
        <p:spPr>
          <a:xfrm>
            <a:off x="638175" y="2590800"/>
            <a:ext cx="3171825" cy="3276600"/>
          </a:xfrm>
          <a:prstGeom prst="rect">
            <a:avLst/>
          </a:prstGeom>
        </p:spPr>
        <p:txBody>
          <a:bodyPr lIns="0" tIns="0" rIns="0" bIns="0" anchor="ctr" anchorCtr="0"/>
          <a:lstStyle>
            <a:lvl1pPr algn="ctr">
              <a:defRPr sz="1400">
                <a:solidFill>
                  <a:schemeClr val="tx1"/>
                </a:solidFill>
              </a:defRPr>
            </a:lvl1pPr>
          </a:lstStyle>
          <a:p>
            <a:r>
              <a:rPr lang="en-US"/>
              <a:t>Insérez une photo</a:t>
            </a:r>
          </a:p>
        </p:txBody>
      </p:sp>
    </p:spTree>
    <p:extLst>
      <p:ext uri="{BB962C8B-B14F-4D97-AF65-F5344CB8AC3E}">
        <p14:creationId xmlns:p14="http://schemas.microsoft.com/office/powerpoint/2010/main" val="42802868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u 23">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41148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6" name="Graphic 6">
            <a:extLst>
              <a:ext uri="{FF2B5EF4-FFF2-40B4-BE49-F238E27FC236}">
                <a16:creationId xmlns:a16="http://schemas.microsoft.com/office/drawing/2014/main" id="{29FE4D8F-2BA6-4A80-F366-D816A24160F4}"/>
              </a:ext>
            </a:extLst>
          </p:cNvPr>
          <p:cNvSpPr/>
          <p:nvPr userDrawn="1"/>
        </p:nvSpPr>
        <p:spPr>
          <a:xfrm>
            <a:off x="6098438"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3171824" cy="1905000"/>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4800600" y="990600"/>
            <a:ext cx="6753224"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8" name="Picture Placeholder 7">
            <a:extLst>
              <a:ext uri="{FF2B5EF4-FFF2-40B4-BE49-F238E27FC236}">
                <a16:creationId xmlns:a16="http://schemas.microsoft.com/office/drawing/2014/main" id="{06039153-F838-D3B4-2E0D-D037172D2184}"/>
              </a:ext>
            </a:extLst>
          </p:cNvPr>
          <p:cNvSpPr>
            <a:spLocks noGrp="1"/>
          </p:cNvSpPr>
          <p:nvPr>
            <p:ph type="pic" sz="quarter" idx="13" hasCustomPrompt="1"/>
          </p:nvPr>
        </p:nvSpPr>
        <p:spPr>
          <a:xfrm>
            <a:off x="638175" y="2590800"/>
            <a:ext cx="3171825" cy="3276600"/>
          </a:xfrm>
          <a:prstGeom prst="rect">
            <a:avLst/>
          </a:prstGeom>
        </p:spPr>
        <p:txBody>
          <a:bodyPr lIns="0" tIns="0" rIns="0" bIns="0" anchor="ctr" anchorCtr="0"/>
          <a:lstStyle>
            <a:lvl1pPr algn="ctr">
              <a:defRPr sz="1400">
                <a:solidFill>
                  <a:schemeClr val="tx1"/>
                </a:solidFill>
              </a:defRPr>
            </a:lvl1pPr>
          </a:lstStyle>
          <a:p>
            <a:r>
              <a:rPr lang="en-US"/>
              <a:t>Insérez une photo</a:t>
            </a:r>
          </a:p>
        </p:txBody>
      </p:sp>
    </p:spTree>
    <p:extLst>
      <p:ext uri="{BB962C8B-B14F-4D97-AF65-F5344CB8AC3E}">
        <p14:creationId xmlns:p14="http://schemas.microsoft.com/office/powerpoint/2010/main" val="34136993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uver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33953" y="2133600"/>
            <a:ext cx="7567047" cy="1524000"/>
          </a:xfrm>
          <a:prstGeom prst="rect">
            <a:avLst/>
          </a:prstGeom>
        </p:spPr>
        <p:txBody>
          <a:bodyPr lIns="0" tIns="0" rIns="0" bIns="0" anchor="t" anchorCtr="0"/>
          <a:lstStyle>
            <a:lvl1pPr>
              <a:lnSpc>
                <a:spcPct val="90000"/>
              </a:lnSpc>
              <a:defRPr sz="5500" baseline="0">
                <a:solidFill>
                  <a:schemeClr val="bg1"/>
                </a:solidFill>
              </a:defRPr>
            </a:lvl1pPr>
          </a:lstStyle>
          <a:p>
            <a:r>
              <a:rPr lang="en-US"/>
              <a:t>Lorem ipsum odlor</a:t>
            </a:r>
            <a:br>
              <a:rPr lang="en-US"/>
            </a:br>
            <a:r>
              <a:rPr lang="en-US"/>
              <a:t>stlen amet</a:t>
            </a:r>
          </a:p>
        </p:txBody>
      </p:sp>
      <p:sp>
        <p:nvSpPr>
          <p:cNvPr id="11" name="Text Placeholder 8">
            <a:extLst>
              <a:ext uri="{FF2B5EF4-FFF2-40B4-BE49-F238E27FC236}">
                <a16:creationId xmlns:a16="http://schemas.microsoft.com/office/drawing/2014/main" id="{914E0839-F31F-D77F-8719-0EB248C9DF2B}"/>
              </a:ext>
            </a:extLst>
          </p:cNvPr>
          <p:cNvSpPr>
            <a:spLocks noGrp="1"/>
          </p:cNvSpPr>
          <p:nvPr>
            <p:ph type="body" sz="quarter" idx="11" hasCustomPrompt="1"/>
          </p:nvPr>
        </p:nvSpPr>
        <p:spPr>
          <a:xfrm>
            <a:off x="470115" y="4267200"/>
            <a:ext cx="7530885" cy="1143000"/>
          </a:xfrm>
          <a:prstGeom prst="rect">
            <a:avLst/>
          </a:prstGeom>
        </p:spPr>
        <p:txBody>
          <a:bodyPr lIns="0" tIns="0" rIns="0" bIns="0" anchor="b" anchorCtr="0"/>
          <a:lstStyle>
            <a:lvl1pPr algn="l">
              <a:spcAft>
                <a:spcPts val="3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Présentée par :</a:t>
            </a:r>
          </a:p>
          <a:p>
            <a:pPr lvl="0"/>
            <a:r>
              <a:rPr lang="en-US"/>
              <a:t>Lorem Hipsum, présidente</a:t>
            </a:r>
          </a:p>
          <a:p>
            <a:pPr lvl="0"/>
            <a:r>
              <a:rPr lang="en-US"/>
              <a:t>Odlor Setamet, vice-président principal, Ventes et Marketing</a:t>
            </a:r>
          </a:p>
          <a:p>
            <a:pPr lvl="0"/>
            <a:r>
              <a:rPr lang="en-US"/>
              <a:t>Loremme Ipsumhe, directeur lorem ipsum</a:t>
            </a:r>
          </a:p>
          <a:p>
            <a:pPr lvl="0"/>
            <a:r>
              <a:rPr lang="en-US"/>
              <a:t>Odlor Setamet, vice-président principal, Ventes </a:t>
            </a:r>
          </a:p>
        </p:txBody>
      </p:sp>
      <p:sp>
        <p:nvSpPr>
          <p:cNvPr id="2" name="Text Placeholder 8">
            <a:extLst>
              <a:ext uri="{FF2B5EF4-FFF2-40B4-BE49-F238E27FC236}">
                <a16:creationId xmlns:a16="http://schemas.microsoft.com/office/drawing/2014/main" id="{3D707C00-5A70-75CE-A199-E00A2B3A2002}"/>
              </a:ext>
            </a:extLst>
          </p:cNvPr>
          <p:cNvSpPr>
            <a:spLocks noGrp="1"/>
          </p:cNvSpPr>
          <p:nvPr>
            <p:ph type="body" sz="quarter" idx="12" hasCustomPrompt="1"/>
          </p:nvPr>
        </p:nvSpPr>
        <p:spPr>
          <a:xfrm>
            <a:off x="470115" y="5943600"/>
            <a:ext cx="3339885" cy="414042"/>
          </a:xfrm>
          <a:prstGeom prst="rect">
            <a:avLst/>
          </a:prstGeom>
        </p:spPr>
        <p:txBody>
          <a:bodyPr lIns="0" tIns="0" rIns="0" bIns="0" anchor="b" anchorCtr="0"/>
          <a:lstStyle>
            <a:lvl1pPr algn="l">
              <a:spcAft>
                <a:spcPts val="12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Date</a:t>
            </a:r>
          </a:p>
        </p:txBody>
      </p:sp>
      <p:pic>
        <p:nvPicPr>
          <p:cNvPr id="5" name="Picture 4" descr="AQPP – Logo blanc">
            <a:extLst>
              <a:ext uri="{FF2B5EF4-FFF2-40B4-BE49-F238E27FC236}">
                <a16:creationId xmlns:a16="http://schemas.microsoft.com/office/drawing/2014/main" id="{5F4E0CE4-678D-D09A-0599-F6B05810A2B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0114" y="563403"/>
            <a:ext cx="1511085" cy="655797"/>
          </a:xfrm>
          <a:prstGeom prst="rect">
            <a:avLst/>
          </a:prstGeom>
        </p:spPr>
      </p:pic>
      <p:sp>
        <p:nvSpPr>
          <p:cNvPr id="3" name="TextBox 2">
            <a:extLst>
              <a:ext uri="{FF2B5EF4-FFF2-40B4-BE49-F238E27FC236}">
                <a16:creationId xmlns:a16="http://schemas.microsoft.com/office/drawing/2014/main" id="{E0BC68FB-32FA-B16D-F840-59F451E68BB5}"/>
              </a:ext>
            </a:extLst>
          </p:cNvPr>
          <p:cNvSpPr txBox="1"/>
          <p:nvPr userDrawn="1"/>
        </p:nvSpPr>
        <p:spPr>
          <a:xfrm>
            <a:off x="4419600" y="5638800"/>
            <a:ext cx="1676400" cy="1219200"/>
          </a:xfrm>
          <a:prstGeom prst="rect">
            <a:avLst/>
          </a:prstGeom>
          <a:noFill/>
        </p:spPr>
        <p:txBody>
          <a:bodyPr wrap="square" lIns="0" tIns="0" rIns="0" bIns="0" rtlCol="0" anchor="ctr" anchorCtr="0">
            <a:noAutofit/>
          </a:bodyPr>
          <a:lstStyle/>
          <a:p>
            <a:pPr>
              <a:lnSpc>
                <a:spcPct val="90000"/>
              </a:lnSpc>
            </a:pPr>
            <a:r>
              <a:rPr lang="en-CA" sz="1100" cap="all">
                <a:solidFill>
                  <a:schemeClr val="tx1"/>
                </a:solidFill>
                <a:effectLst/>
                <a:latin typeface="Arial" panose="020B0604020202020204" pitchFamily="34" charset="0"/>
              </a:rPr>
              <a:t>Formation </a:t>
            </a:r>
            <a:br>
              <a:rPr lang="en-CA" sz="1100" cap="all">
                <a:solidFill>
                  <a:schemeClr val="tx1"/>
                </a:solidFill>
                <a:effectLst/>
                <a:latin typeface="Arial" panose="020B0604020202020204" pitchFamily="34" charset="0"/>
              </a:rPr>
            </a:br>
            <a:r>
              <a:rPr lang="en-CA" sz="1100" cap="all">
                <a:solidFill>
                  <a:schemeClr val="tx1"/>
                </a:solidFill>
                <a:effectLst/>
                <a:latin typeface="Arial" panose="020B0604020202020204" pitchFamily="34" charset="0"/>
              </a:rPr>
              <a:t>commanditée par :</a:t>
            </a:r>
          </a:p>
        </p:txBody>
      </p:sp>
    </p:spTree>
    <p:extLst>
      <p:ext uri="{BB962C8B-B14F-4D97-AF65-F5344CB8AC3E}">
        <p14:creationId xmlns:p14="http://schemas.microsoft.com/office/powerpoint/2010/main" val="27844129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u 24">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41148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6" name="Graphic 6">
            <a:extLst>
              <a:ext uri="{FF2B5EF4-FFF2-40B4-BE49-F238E27FC236}">
                <a16:creationId xmlns:a16="http://schemas.microsoft.com/office/drawing/2014/main" id="{29FE4D8F-2BA6-4A80-F366-D816A24160F4}"/>
              </a:ext>
            </a:extLst>
          </p:cNvPr>
          <p:cNvSpPr/>
          <p:nvPr userDrawn="1"/>
        </p:nvSpPr>
        <p:spPr>
          <a:xfrm>
            <a:off x="6098438"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3171824" cy="1905000"/>
          </a:xfrm>
          <a:prstGeom prst="rect">
            <a:avLst/>
          </a:prstGeom>
        </p:spPr>
        <p:txBody>
          <a:bodyPr lIns="0" tIns="0" rIns="0" bIns="0" anchor="t" anchorCtr="0">
            <a:noAutofit/>
          </a:bodyPr>
          <a:lstStyle>
            <a:lvl1pPr>
              <a:lnSpc>
                <a:spcPct val="90000"/>
              </a:lnSpc>
              <a:defRPr sz="3600">
                <a:solidFill>
                  <a:schemeClr val="tx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4800600" y="990600"/>
            <a:ext cx="6753224"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8" name="Picture Placeholder 7">
            <a:extLst>
              <a:ext uri="{FF2B5EF4-FFF2-40B4-BE49-F238E27FC236}">
                <a16:creationId xmlns:a16="http://schemas.microsoft.com/office/drawing/2014/main" id="{06039153-F838-D3B4-2E0D-D037172D2184}"/>
              </a:ext>
            </a:extLst>
          </p:cNvPr>
          <p:cNvSpPr>
            <a:spLocks noGrp="1"/>
          </p:cNvSpPr>
          <p:nvPr>
            <p:ph type="pic" sz="quarter" idx="13" hasCustomPrompt="1"/>
          </p:nvPr>
        </p:nvSpPr>
        <p:spPr>
          <a:xfrm>
            <a:off x="638175" y="2590800"/>
            <a:ext cx="3171825" cy="3276600"/>
          </a:xfrm>
          <a:prstGeom prst="rect">
            <a:avLst/>
          </a:prstGeom>
        </p:spPr>
        <p:txBody>
          <a:bodyPr lIns="0" tIns="0" rIns="0" bIns="0" anchor="ctr" anchorCtr="0"/>
          <a:lstStyle>
            <a:lvl1pPr algn="ctr">
              <a:defRPr sz="1400">
                <a:solidFill>
                  <a:schemeClr val="tx1"/>
                </a:solidFill>
              </a:defRPr>
            </a:lvl1pPr>
          </a:lstStyle>
          <a:p>
            <a:r>
              <a:rPr lang="en-US"/>
              <a:t>Insérez une photo</a:t>
            </a:r>
          </a:p>
        </p:txBody>
      </p:sp>
    </p:spTree>
    <p:extLst>
      <p:ext uri="{BB962C8B-B14F-4D97-AF65-F5344CB8AC3E}">
        <p14:creationId xmlns:p14="http://schemas.microsoft.com/office/powerpoint/2010/main" val="27018456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u 25">
    <p:bg>
      <p:bgPr>
        <a:solidFill>
          <a:schemeClr val="tx2"/>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2DDB0CA7-7F7A-547A-89FB-CC9336A63BC8}"/>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8" name="Graphic 6">
            <a:extLst>
              <a:ext uri="{FF2B5EF4-FFF2-40B4-BE49-F238E27FC236}">
                <a16:creationId xmlns:a16="http://schemas.microsoft.com/office/drawing/2014/main" id="{FB028EC3-F568-199F-7F1B-2BCB9C6AAC43}"/>
              </a:ext>
            </a:extLst>
          </p:cNvPr>
          <p:cNvSpPr/>
          <p:nvPr/>
        </p:nvSpPr>
        <p:spPr>
          <a:xfrm>
            <a:off x="60960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5" name="Graphic 11">
            <a:extLst>
              <a:ext uri="{FF2B5EF4-FFF2-40B4-BE49-F238E27FC236}">
                <a16:creationId xmlns:a16="http://schemas.microsoft.com/office/drawing/2014/main" id="{C4A16EB3-31FA-0847-9D63-FF70CF470B3F}"/>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4648200" cy="1325563"/>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lorem</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2" name="Picture Placeholder 11">
            <a:extLst>
              <a:ext uri="{FF2B5EF4-FFF2-40B4-BE49-F238E27FC236}">
                <a16:creationId xmlns:a16="http://schemas.microsoft.com/office/drawing/2014/main" id="{7F9FC480-B76A-0942-547A-6AADC58C52EF}"/>
              </a:ext>
            </a:extLst>
          </p:cNvPr>
          <p:cNvSpPr>
            <a:spLocks noGrp="1"/>
          </p:cNvSpPr>
          <p:nvPr>
            <p:ph type="pic" sz="quarter" idx="13" hasCustomPrompt="1"/>
          </p:nvPr>
        </p:nvSpPr>
        <p:spPr>
          <a:xfrm>
            <a:off x="609600" y="2209800"/>
            <a:ext cx="4876800" cy="3886200"/>
          </a:xfrm>
          <a:prstGeom prst="rect">
            <a:avLst/>
          </a:prstGeom>
        </p:spPr>
        <p:txBody>
          <a:bodyPr anchor="ctr" anchorCtr="0"/>
          <a:lstStyle>
            <a:lvl1pPr algn="ctr">
              <a:defRPr sz="1100">
                <a:solidFill>
                  <a:schemeClr val="tx1"/>
                </a:solidFill>
              </a:defRPr>
            </a:lvl1pPr>
          </a:lstStyle>
          <a:p>
            <a:r>
              <a:rPr lang="en-US"/>
              <a:t>Insérer une photo</a:t>
            </a:r>
          </a:p>
        </p:txBody>
      </p:sp>
    </p:spTree>
    <p:extLst>
      <p:ext uri="{BB962C8B-B14F-4D97-AF65-F5344CB8AC3E}">
        <p14:creationId xmlns:p14="http://schemas.microsoft.com/office/powerpoint/2010/main" val="823576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BB0E82-8581-52E5-D583-1F9234E1501E}"/>
              </a:ext>
            </a:extLst>
          </p:cNvPr>
          <p:cNvSpPr/>
          <p:nvPr userDrawn="1"/>
        </p:nvSpPr>
        <p:spPr>
          <a:xfrm>
            <a:off x="0" y="304801"/>
            <a:ext cx="12192000" cy="62483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Graphic 8">
            <a:extLst>
              <a:ext uri="{FF2B5EF4-FFF2-40B4-BE49-F238E27FC236}">
                <a16:creationId xmlns:a16="http://schemas.microsoft.com/office/drawing/2014/main" id="{C8F13F1D-A61E-EA85-82A8-AE76338D1291}"/>
              </a:ext>
            </a:extLst>
          </p:cNvPr>
          <p:cNvSpPr/>
          <p:nvPr/>
        </p:nvSpPr>
        <p:spPr>
          <a:xfrm>
            <a:off x="0" y="0"/>
            <a:ext cx="5410200" cy="6858000"/>
          </a:xfrm>
          <a:custGeom>
            <a:avLst/>
            <a:gdLst>
              <a:gd name="connsiteX0" fmla="*/ 0 w 5410200"/>
              <a:gd name="connsiteY0" fmla="*/ 0 h 6858000"/>
              <a:gd name="connsiteX1" fmla="*/ 0 w 5410200"/>
              <a:gd name="connsiteY1" fmla="*/ 6858000 h 6858000"/>
              <a:gd name="connsiteX2" fmla="*/ 1507871 w 5410200"/>
              <a:gd name="connsiteY2" fmla="*/ 6858000 h 6858000"/>
              <a:gd name="connsiteX3" fmla="*/ 1507871 w 5410200"/>
              <a:gd name="connsiteY3" fmla="*/ 5380228 h 6858000"/>
              <a:gd name="connsiteX4" fmla="*/ 5410200 w 5410200"/>
              <a:gd name="connsiteY4" fmla="*/ 5380228 h 6858000"/>
              <a:gd name="connsiteX5" fmla="*/ 5410200 w 5410200"/>
              <a:gd name="connsiteY5" fmla="*/ 1477772 h 6858000"/>
              <a:gd name="connsiteX6" fmla="*/ 1507871 w 5410200"/>
              <a:gd name="connsiteY6" fmla="*/ 1477772 h 6858000"/>
              <a:gd name="connsiteX7" fmla="*/ 1507871 w 5410200"/>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0200" h="6858000">
                <a:moveTo>
                  <a:pt x="0" y="0"/>
                </a:moveTo>
                <a:lnTo>
                  <a:pt x="0" y="6858000"/>
                </a:lnTo>
                <a:lnTo>
                  <a:pt x="1507871" y="6858000"/>
                </a:lnTo>
                <a:lnTo>
                  <a:pt x="1507871" y="5380228"/>
                </a:lnTo>
                <a:lnTo>
                  <a:pt x="5410200" y="5380228"/>
                </a:lnTo>
                <a:lnTo>
                  <a:pt x="5410200" y="1477772"/>
                </a:lnTo>
                <a:lnTo>
                  <a:pt x="1507871" y="1477772"/>
                </a:lnTo>
                <a:lnTo>
                  <a:pt x="1507871" y="0"/>
                </a:lnTo>
                <a:close/>
              </a:path>
            </a:pathLst>
          </a:custGeom>
          <a:solidFill>
            <a:schemeClr val="tx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1524000"/>
            <a:ext cx="4648200" cy="3810000"/>
          </a:xfrm>
          <a:prstGeom prst="rect">
            <a:avLst/>
          </a:prstGeom>
        </p:spPr>
        <p:txBody>
          <a:bodyPr lIns="0" tIns="0" rIns="0" bIns="0" anchor="ctr" anchorCtr="0">
            <a:noAutofit/>
          </a:bodyPr>
          <a:lstStyle>
            <a:lvl1pPr>
              <a:lnSpc>
                <a:spcPct val="90000"/>
              </a:lnSpc>
              <a:defRPr sz="8800">
                <a:solidFill>
                  <a:schemeClr val="bg1"/>
                </a:solidFill>
              </a:defRPr>
            </a:lvl1pPr>
          </a:lstStyle>
          <a:p>
            <a:r>
              <a:rPr lang="en-US"/>
              <a:t>Merci !</a:t>
            </a:r>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nchor="ctr" anchorCtr="0"/>
          <a:lstStyle>
            <a:lvl1pPr>
              <a:spcAft>
                <a:spcPts val="0"/>
              </a:spcAft>
              <a:defRPr sz="4000">
                <a:solidFill>
                  <a:schemeClr val="tx2"/>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r>
              <a:rPr lang="en-CA">
                <a:solidFill>
                  <a:srgbClr val="00A8EC"/>
                </a:solidFill>
                <a:effectLst/>
                <a:latin typeface="Arial" panose="020B0604020202020204" pitchFamily="34" charset="0"/>
              </a:rPr>
              <a:t>Questions?</a:t>
            </a:r>
          </a:p>
          <a:p>
            <a:r>
              <a:rPr lang="en-CA">
                <a:solidFill>
                  <a:srgbClr val="3963AC"/>
                </a:solidFill>
                <a:effectLst/>
                <a:latin typeface="Arial" panose="020B0604020202020204" pitchFamily="34" charset="0"/>
              </a:rPr>
              <a:t>info@aqpp.qc.ca</a:t>
            </a:r>
          </a:p>
        </p:txBody>
      </p:sp>
    </p:spTree>
    <p:extLst>
      <p:ext uri="{BB962C8B-B14F-4D97-AF65-F5344CB8AC3E}">
        <p14:creationId xmlns:p14="http://schemas.microsoft.com/office/powerpoint/2010/main" val="33761735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fr-CA"/>
              <a:t>AQPP  |  Du patient à l'entente</a:t>
            </a:r>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n°›</a:t>
            </a:fld>
            <a:endParaRPr lang="en-US"/>
          </a:p>
        </p:txBody>
      </p:sp>
    </p:spTree>
    <p:extLst>
      <p:ext uri="{BB962C8B-B14F-4D97-AF65-F5344CB8AC3E}">
        <p14:creationId xmlns:p14="http://schemas.microsoft.com/office/powerpoint/2010/main" val="2110373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fr-CA"/>
              <a:t>AQPP  |  Du patient à l'entente</a:t>
            </a:r>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n°›</a:t>
            </a:fld>
            <a:endParaRPr lang="en-US"/>
          </a:p>
        </p:txBody>
      </p:sp>
    </p:spTree>
    <p:extLst>
      <p:ext uri="{BB962C8B-B14F-4D97-AF65-F5344CB8AC3E}">
        <p14:creationId xmlns:p14="http://schemas.microsoft.com/office/powerpoint/2010/main" val="17584790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Titre seul 03">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D43667F-33FB-5301-1B0B-2901EDCDDC6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787" imgH="788" progId="TCLayout.ActiveDocument.1">
                  <p:embed/>
                </p:oleObj>
              </mc:Choice>
              <mc:Fallback>
                <p:oleObj name="Diapositive think-cell" r:id="rId3" imgW="787" imgH="788" progId="TCLayout.ActiveDocument.1">
                  <p:embed/>
                  <p:pic>
                    <p:nvPicPr>
                      <p:cNvPr id="6" name="think-cell data - do not delete" hidden="1">
                        <a:extLst>
                          <a:ext uri="{FF2B5EF4-FFF2-40B4-BE49-F238E27FC236}">
                            <a16:creationId xmlns:a16="http://schemas.microsoft.com/office/drawing/2014/main" id="{6D43667F-33FB-5301-1B0B-2901EDCDDC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 2" descr="Une image contenant nature&#10;&#10;Description générée automatiquement">
            <a:extLst>
              <a:ext uri="{FF2B5EF4-FFF2-40B4-BE49-F238E27FC236}">
                <a16:creationId xmlns:a16="http://schemas.microsoft.com/office/drawing/2014/main" id="{59857130-F2FD-46CA-D907-7886C609509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re 1">
            <a:extLst>
              <a:ext uri="{FF2B5EF4-FFF2-40B4-BE49-F238E27FC236}">
                <a16:creationId xmlns:a16="http://schemas.microsoft.com/office/drawing/2014/main" id="{97850163-3715-0FCF-88BD-5E9F47FBDE71}"/>
              </a:ext>
            </a:extLst>
          </p:cNvPr>
          <p:cNvSpPr>
            <a:spLocks noGrp="1"/>
          </p:cNvSpPr>
          <p:nvPr>
            <p:ph type="title"/>
          </p:nvPr>
        </p:nvSpPr>
        <p:spPr/>
        <p:txBody>
          <a:bodyPr vert="horz"/>
          <a:lstStyle>
            <a:lvl1pPr>
              <a:defRPr>
                <a:solidFill>
                  <a:schemeClr val="bg1"/>
                </a:solidFill>
              </a:defRPr>
            </a:lvl1pPr>
          </a:lstStyle>
          <a:p>
            <a:r>
              <a:rPr lang="fr-FR"/>
              <a:t>Modifiez le style du titre</a:t>
            </a:r>
            <a:endParaRPr lang="fr-CA"/>
          </a:p>
        </p:txBody>
      </p:sp>
    </p:spTree>
    <p:extLst>
      <p:ext uri="{BB962C8B-B14F-4D97-AF65-F5344CB8AC3E}">
        <p14:creationId xmlns:p14="http://schemas.microsoft.com/office/powerpoint/2010/main" val="223738961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u 3">
    <p:bg>
      <p:bgPr>
        <a:solidFill>
          <a:schemeClr val="tx2"/>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DA690888-072E-4358-DDB1-32E05A086661}"/>
              </a:ext>
            </a:extLst>
          </p:cNvPr>
          <p:cNvSpPr/>
          <p:nvPr/>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21197" y="1586896"/>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7" name="Picture 7">
            <a:extLst>
              <a:ext uri="{FF2B5EF4-FFF2-40B4-BE49-F238E27FC236}">
                <a16:creationId xmlns:a16="http://schemas.microsoft.com/office/drawing/2014/main" id="{E3464AC0-A756-3247-0213-5F2B0402278B}"/>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20730727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u 9">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CB7D42B-572D-39A2-712E-7A5847E6D557}"/>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6" name="Text Placeholder 14">
            <a:extLst>
              <a:ext uri="{FF2B5EF4-FFF2-40B4-BE49-F238E27FC236}">
                <a16:creationId xmlns:a16="http://schemas.microsoft.com/office/drawing/2014/main" id="{04E23B6C-63A8-BF44-961E-5101F2FDEDC5}"/>
              </a:ext>
            </a:extLst>
          </p:cNvPr>
          <p:cNvSpPr>
            <a:spLocks noGrp="1"/>
          </p:cNvSpPr>
          <p:nvPr>
            <p:ph type="body" sz="quarter" idx="13" hasCustomPrompt="1"/>
          </p:nvPr>
        </p:nvSpPr>
        <p:spPr>
          <a:xfrm>
            <a:off x="60960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40368330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u 15">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0AC50D-D186-386E-E1ED-22500087EC89}"/>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905000" y="2133600"/>
            <a:ext cx="4495800" cy="457200"/>
          </a:xfrm>
          <a:prstGeom prst="rect">
            <a:avLst/>
          </a:prstGeom>
        </p:spPr>
        <p:txBody>
          <a:bodyPr lIns="0" tIns="0" rIns="0" bIns="0"/>
          <a:lstStyle>
            <a:lvl1pPr>
              <a:spcAft>
                <a:spcPts val="1200"/>
              </a:spcAft>
              <a:defRPr sz="1500" b="1" cap="all" baseline="0">
                <a:solidFill>
                  <a:schemeClr val="accent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itre du tableau – Lorem ipsum</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5" name="Content Placeholder 6">
            <a:extLst>
              <a:ext uri="{FF2B5EF4-FFF2-40B4-BE49-F238E27FC236}">
                <a16:creationId xmlns:a16="http://schemas.microsoft.com/office/drawing/2014/main" id="{74FDEFC3-36D7-BB11-D9F7-FD40363CB96C}"/>
              </a:ext>
            </a:extLst>
          </p:cNvPr>
          <p:cNvSpPr>
            <a:spLocks noGrp="1"/>
          </p:cNvSpPr>
          <p:nvPr>
            <p:ph sz="quarter" idx="13" hasCustomPrompt="1"/>
          </p:nvPr>
        </p:nvSpPr>
        <p:spPr>
          <a:xfrm>
            <a:off x="1904998" y="2524125"/>
            <a:ext cx="7848601" cy="341947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38041174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u 18">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9822B272-56D4-376E-9B19-E916A2E6D062}"/>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raphic 6">
            <a:extLst>
              <a:ext uri="{FF2B5EF4-FFF2-40B4-BE49-F238E27FC236}">
                <a16:creationId xmlns:a16="http://schemas.microsoft.com/office/drawing/2014/main" id="{696FCC50-75C6-CFE3-4681-232893F38E3C}"/>
              </a:ext>
            </a:extLst>
          </p:cNvPr>
          <p:cNvSpPr/>
          <p:nvPr/>
        </p:nvSpPr>
        <p:spPr>
          <a:xfrm>
            <a:off x="609807" y="1972348"/>
            <a:ext cx="11855285" cy="4878456"/>
          </a:xfrm>
          <a:custGeom>
            <a:avLst/>
            <a:gdLst>
              <a:gd name="connsiteX0" fmla="*/ 11855285 w 11855285"/>
              <a:gd name="connsiteY0" fmla="*/ 4878457 h 4878456"/>
              <a:gd name="connsiteX1" fmla="*/ 9822214 w 11855285"/>
              <a:gd name="connsiteY1" fmla="*/ 793512 h 4878456"/>
              <a:gd name="connsiteX2" fmla="*/ 8686829 w 11855285"/>
              <a:gd name="connsiteY2" fmla="*/ 0 h 4878456"/>
              <a:gd name="connsiteX3" fmla="*/ 1209070 w 11855285"/>
              <a:gd name="connsiteY3" fmla="*/ 0 h 4878456"/>
              <a:gd name="connsiteX4" fmla="*/ 0 w 11855285"/>
              <a:gd name="connsiteY4" fmla="*/ 1209070 h 4878456"/>
              <a:gd name="connsiteX5" fmla="*/ 0 w 11855285"/>
              <a:gd name="connsiteY5" fmla="*/ 4878457 h 4878456"/>
              <a:gd name="connsiteX6" fmla="*/ 11855285 w 11855285"/>
              <a:gd name="connsiteY6" fmla="*/ 4878457 h 48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55285" h="4878456">
                <a:moveTo>
                  <a:pt x="11855285" y="4878457"/>
                </a:moveTo>
                <a:lnTo>
                  <a:pt x="9822214" y="793512"/>
                </a:lnTo>
                <a:cubicBezTo>
                  <a:pt x="9583881" y="318878"/>
                  <a:pt x="9194240" y="0"/>
                  <a:pt x="8686829" y="0"/>
                </a:cubicBezTo>
                <a:lnTo>
                  <a:pt x="1209070" y="0"/>
                </a:lnTo>
                <a:cubicBezTo>
                  <a:pt x="541331" y="0"/>
                  <a:pt x="0" y="541331"/>
                  <a:pt x="0" y="1209070"/>
                </a:cubicBezTo>
                <a:lnTo>
                  <a:pt x="0" y="4878457"/>
                </a:lnTo>
                <a:lnTo>
                  <a:pt x="11855285" y="4878457"/>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7239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371600" y="2665759"/>
            <a:ext cx="8305800" cy="31973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4091043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1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2"/>
          </a:solidFill>
          <a:ln w="12700" cap="flat">
            <a:noFill/>
            <a:prstDash val="solid"/>
            <a:miter/>
          </a:ln>
        </p:spPr>
        <p:txBody>
          <a:bodyPr rtlCol="0" anchor="ctr"/>
          <a:lstStyle/>
          <a:p>
            <a:endParaRPr lang="en-US"/>
          </a:p>
        </p:txBody>
      </p:sp>
      <p:sp>
        <p:nvSpPr>
          <p:cNvPr id="2" name="Text Placeholder 8">
            <a:extLst>
              <a:ext uri="{FF2B5EF4-FFF2-40B4-BE49-F238E27FC236}">
                <a16:creationId xmlns:a16="http://schemas.microsoft.com/office/drawing/2014/main" id="{5094ED09-A902-EF7B-6E1E-A6FF717FB9C7}"/>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4567774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u 24">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41148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6" name="Graphic 6">
            <a:extLst>
              <a:ext uri="{FF2B5EF4-FFF2-40B4-BE49-F238E27FC236}">
                <a16:creationId xmlns:a16="http://schemas.microsoft.com/office/drawing/2014/main" id="{29FE4D8F-2BA6-4A80-F366-D816A24160F4}"/>
              </a:ext>
            </a:extLst>
          </p:cNvPr>
          <p:cNvSpPr/>
          <p:nvPr userDrawn="1"/>
        </p:nvSpPr>
        <p:spPr>
          <a:xfrm>
            <a:off x="6098438"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3171824" cy="1905000"/>
          </a:xfrm>
          <a:prstGeom prst="rect">
            <a:avLst/>
          </a:prstGeom>
        </p:spPr>
        <p:txBody>
          <a:bodyPr lIns="0" tIns="0" rIns="0" bIns="0" anchor="t" anchorCtr="0">
            <a:noAutofit/>
          </a:bodyPr>
          <a:lstStyle>
            <a:lvl1pPr>
              <a:lnSpc>
                <a:spcPct val="90000"/>
              </a:lnSpc>
              <a:defRPr sz="3600">
                <a:solidFill>
                  <a:schemeClr val="tx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4800600" y="990600"/>
            <a:ext cx="6753224"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8" name="Picture Placeholder 7">
            <a:extLst>
              <a:ext uri="{FF2B5EF4-FFF2-40B4-BE49-F238E27FC236}">
                <a16:creationId xmlns:a16="http://schemas.microsoft.com/office/drawing/2014/main" id="{06039153-F838-D3B4-2E0D-D037172D2184}"/>
              </a:ext>
            </a:extLst>
          </p:cNvPr>
          <p:cNvSpPr>
            <a:spLocks noGrp="1"/>
          </p:cNvSpPr>
          <p:nvPr>
            <p:ph type="pic" sz="quarter" idx="13" hasCustomPrompt="1"/>
          </p:nvPr>
        </p:nvSpPr>
        <p:spPr>
          <a:xfrm>
            <a:off x="638175" y="2590800"/>
            <a:ext cx="3171825" cy="3276600"/>
          </a:xfrm>
          <a:prstGeom prst="rect">
            <a:avLst/>
          </a:prstGeom>
        </p:spPr>
        <p:txBody>
          <a:bodyPr lIns="0" tIns="0" rIns="0" bIns="0" anchor="ctr" anchorCtr="0"/>
          <a:lstStyle>
            <a:lvl1pPr algn="ctr">
              <a:defRPr sz="1400">
                <a:solidFill>
                  <a:schemeClr val="tx1"/>
                </a:solidFill>
              </a:defRPr>
            </a:lvl1pPr>
          </a:lstStyle>
          <a:p>
            <a:r>
              <a:rPr lang="en-US"/>
              <a:t>Insérez une photo</a:t>
            </a:r>
          </a:p>
        </p:txBody>
      </p:sp>
    </p:spTree>
    <p:extLst>
      <p:ext uri="{BB962C8B-B14F-4D97-AF65-F5344CB8AC3E}">
        <p14:creationId xmlns:p14="http://schemas.microsoft.com/office/powerpoint/2010/main" val="41465915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u 22">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41148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6" name="Graphic 6">
            <a:extLst>
              <a:ext uri="{FF2B5EF4-FFF2-40B4-BE49-F238E27FC236}">
                <a16:creationId xmlns:a16="http://schemas.microsoft.com/office/drawing/2014/main" id="{29FE4D8F-2BA6-4A80-F366-D816A24160F4}"/>
              </a:ext>
            </a:extLst>
          </p:cNvPr>
          <p:cNvSpPr/>
          <p:nvPr userDrawn="1"/>
        </p:nvSpPr>
        <p:spPr>
          <a:xfrm>
            <a:off x="6098438"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3171824" cy="1905000"/>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4800600" y="990600"/>
            <a:ext cx="6753224"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8" name="Picture Placeholder 7">
            <a:extLst>
              <a:ext uri="{FF2B5EF4-FFF2-40B4-BE49-F238E27FC236}">
                <a16:creationId xmlns:a16="http://schemas.microsoft.com/office/drawing/2014/main" id="{06039153-F838-D3B4-2E0D-D037172D2184}"/>
              </a:ext>
            </a:extLst>
          </p:cNvPr>
          <p:cNvSpPr>
            <a:spLocks noGrp="1"/>
          </p:cNvSpPr>
          <p:nvPr>
            <p:ph type="pic" sz="quarter" idx="13" hasCustomPrompt="1"/>
          </p:nvPr>
        </p:nvSpPr>
        <p:spPr>
          <a:xfrm>
            <a:off x="638175" y="2590800"/>
            <a:ext cx="3171825" cy="3276600"/>
          </a:xfrm>
          <a:prstGeom prst="rect">
            <a:avLst/>
          </a:prstGeom>
        </p:spPr>
        <p:txBody>
          <a:bodyPr lIns="0" tIns="0" rIns="0" bIns="0" anchor="ctr" anchorCtr="0"/>
          <a:lstStyle>
            <a:lvl1pPr algn="ctr">
              <a:defRPr sz="1400">
                <a:solidFill>
                  <a:schemeClr val="tx1"/>
                </a:solidFill>
              </a:defRPr>
            </a:lvl1pPr>
          </a:lstStyle>
          <a:p>
            <a:r>
              <a:rPr lang="en-US"/>
              <a:t>Insérez une photo</a:t>
            </a:r>
          </a:p>
        </p:txBody>
      </p:sp>
    </p:spTree>
    <p:extLst>
      <p:ext uri="{BB962C8B-B14F-4D97-AF65-F5344CB8AC3E}">
        <p14:creationId xmlns:p14="http://schemas.microsoft.com/office/powerpoint/2010/main" val="8711872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tenu 1">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63BB135B-411D-CF59-EEBA-463940A4A27C}"/>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bg1"/>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41F22786-335D-3FB8-5F3A-2290AA4C5760}"/>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8868023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u 7">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CB7D42B-572D-39A2-712E-7A5847E6D557}"/>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6" name="Text Placeholder 14">
            <a:extLst>
              <a:ext uri="{FF2B5EF4-FFF2-40B4-BE49-F238E27FC236}">
                <a16:creationId xmlns:a16="http://schemas.microsoft.com/office/drawing/2014/main" id="{04E23B6C-63A8-BF44-961E-5101F2FDEDC5}"/>
              </a:ext>
            </a:extLst>
          </p:cNvPr>
          <p:cNvSpPr>
            <a:spLocks noGrp="1"/>
          </p:cNvSpPr>
          <p:nvPr>
            <p:ph type="body" sz="quarter" idx="13" hasCustomPrompt="1"/>
          </p:nvPr>
        </p:nvSpPr>
        <p:spPr>
          <a:xfrm>
            <a:off x="60960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29223055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u 19">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60960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4619624" cy="1905000"/>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0" name="Text Placeholder 14">
            <a:extLst>
              <a:ext uri="{FF2B5EF4-FFF2-40B4-BE49-F238E27FC236}">
                <a16:creationId xmlns:a16="http://schemas.microsoft.com/office/drawing/2014/main" id="{1CF310E3-AC2A-F1A5-62E8-4B80F4F9C3AF}"/>
              </a:ext>
            </a:extLst>
          </p:cNvPr>
          <p:cNvSpPr>
            <a:spLocks noGrp="1"/>
          </p:cNvSpPr>
          <p:nvPr>
            <p:ph type="body" sz="quarter" idx="13" hasCustomPrompt="1"/>
          </p:nvPr>
        </p:nvSpPr>
        <p:spPr>
          <a:xfrm>
            <a:off x="638176" y="2438400"/>
            <a:ext cx="4876800" cy="3217069"/>
          </a:xfrm>
          <a:prstGeom prst="rect">
            <a:avLst/>
          </a:prstGeom>
        </p:spPr>
        <p:txBody>
          <a:bodyPr lIns="0" tIns="0" rIns="0" bIns="0"/>
          <a:lstStyle>
            <a:lvl1pPr>
              <a:spcAft>
                <a:spcPts val="1200"/>
              </a:spcAft>
              <a:defRPr>
                <a:solidFill>
                  <a:schemeClr val="bg1"/>
                </a:solidFill>
              </a:defRPr>
            </a:lvl1pPr>
            <a:lvl2pPr marL="457200" indent="-228600">
              <a:spcAft>
                <a:spcPts val="1200"/>
              </a:spcAft>
              <a:buClr>
                <a:schemeClr val="tx2"/>
              </a:buClr>
              <a:buFont typeface="Arial" panose="020B0604020202020204" pitchFamily="34" charset="0"/>
              <a:buChar char="•"/>
              <a:defRPr>
                <a:solidFill>
                  <a:schemeClr val="bg1"/>
                </a:solidFill>
              </a:defRPr>
            </a:lvl2pPr>
            <a:lvl3pPr marL="914400" indent="-228600">
              <a:spcAft>
                <a:spcPts val="1200"/>
              </a:spcAft>
              <a:buClr>
                <a:schemeClr val="tx1"/>
              </a:buClr>
              <a:buFont typeface="System Font Regular"/>
              <a:buChar char="−"/>
              <a:defRPr>
                <a:solidFill>
                  <a:schemeClr val="bg1"/>
                </a:solidFill>
              </a:defRPr>
            </a:lvl3pPr>
            <a:lvl4pPr marL="1371600" indent="-228600">
              <a:spcAft>
                <a:spcPts val="1200"/>
              </a:spcAft>
              <a:buClr>
                <a:schemeClr val="tx1"/>
              </a:buClr>
              <a:buFont typeface="Arial" panose="020B0604020202020204" pitchFamily="34" charset="0"/>
              <a:buChar char="•"/>
              <a:defRPr>
                <a:solidFill>
                  <a:schemeClr val="bg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Tree>
    <p:extLst>
      <p:ext uri="{BB962C8B-B14F-4D97-AF65-F5344CB8AC3E}">
        <p14:creationId xmlns:p14="http://schemas.microsoft.com/office/powerpoint/2010/main" val="3742248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u 10">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8D9D8987-A15C-90A7-B712-DA6E705B9B83}"/>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7" name="Content Placeholder 6">
            <a:extLst>
              <a:ext uri="{FF2B5EF4-FFF2-40B4-BE49-F238E27FC236}">
                <a16:creationId xmlns:a16="http://schemas.microsoft.com/office/drawing/2014/main" id="{5760C257-E18E-0C57-A2B3-1855C9A112B4}"/>
              </a:ext>
            </a:extLst>
          </p:cNvPr>
          <p:cNvSpPr>
            <a:spLocks noGrp="1"/>
          </p:cNvSpPr>
          <p:nvPr>
            <p:ph sz="quarter" idx="13" hasCustomPrompt="1"/>
          </p:nvPr>
        </p:nvSpPr>
        <p:spPr>
          <a:xfrm>
            <a:off x="6107906" y="2209800"/>
            <a:ext cx="5448300" cy="373062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2642333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u 13">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0AC50D-D186-386E-E1ED-22500087EC89}"/>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905000" y="2133600"/>
            <a:ext cx="4495800" cy="457200"/>
          </a:xfrm>
          <a:prstGeom prst="rect">
            <a:avLst/>
          </a:prstGeom>
        </p:spPr>
        <p:txBody>
          <a:bodyPr lIns="0" tIns="0" rIns="0" bIns="0"/>
          <a:lstStyle>
            <a:lvl1pPr>
              <a:spcAft>
                <a:spcPts val="1200"/>
              </a:spcAft>
              <a:defRPr sz="1500" b="1" cap="all" baseline="0">
                <a:solidFill>
                  <a:schemeClr val="accent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itre du tableau – Lorem ipsum</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5" name="Content Placeholder 6">
            <a:extLst>
              <a:ext uri="{FF2B5EF4-FFF2-40B4-BE49-F238E27FC236}">
                <a16:creationId xmlns:a16="http://schemas.microsoft.com/office/drawing/2014/main" id="{74FDEFC3-36D7-BB11-D9F7-FD40363CB96C}"/>
              </a:ext>
            </a:extLst>
          </p:cNvPr>
          <p:cNvSpPr>
            <a:spLocks noGrp="1"/>
          </p:cNvSpPr>
          <p:nvPr>
            <p:ph sz="quarter" idx="13" hasCustomPrompt="1"/>
          </p:nvPr>
        </p:nvSpPr>
        <p:spPr>
          <a:xfrm>
            <a:off x="1904998" y="2524125"/>
            <a:ext cx="7848601" cy="341947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16251664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u 16">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9822B272-56D4-376E-9B19-E916A2E6D062}"/>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raphic 6">
            <a:extLst>
              <a:ext uri="{FF2B5EF4-FFF2-40B4-BE49-F238E27FC236}">
                <a16:creationId xmlns:a16="http://schemas.microsoft.com/office/drawing/2014/main" id="{696FCC50-75C6-CFE3-4681-232893F38E3C}"/>
              </a:ext>
            </a:extLst>
          </p:cNvPr>
          <p:cNvSpPr/>
          <p:nvPr/>
        </p:nvSpPr>
        <p:spPr>
          <a:xfrm>
            <a:off x="609807" y="1972348"/>
            <a:ext cx="11855285" cy="4878456"/>
          </a:xfrm>
          <a:custGeom>
            <a:avLst/>
            <a:gdLst>
              <a:gd name="connsiteX0" fmla="*/ 11855285 w 11855285"/>
              <a:gd name="connsiteY0" fmla="*/ 4878457 h 4878456"/>
              <a:gd name="connsiteX1" fmla="*/ 9822214 w 11855285"/>
              <a:gd name="connsiteY1" fmla="*/ 793512 h 4878456"/>
              <a:gd name="connsiteX2" fmla="*/ 8686829 w 11855285"/>
              <a:gd name="connsiteY2" fmla="*/ 0 h 4878456"/>
              <a:gd name="connsiteX3" fmla="*/ 1209070 w 11855285"/>
              <a:gd name="connsiteY3" fmla="*/ 0 h 4878456"/>
              <a:gd name="connsiteX4" fmla="*/ 0 w 11855285"/>
              <a:gd name="connsiteY4" fmla="*/ 1209070 h 4878456"/>
              <a:gd name="connsiteX5" fmla="*/ 0 w 11855285"/>
              <a:gd name="connsiteY5" fmla="*/ 4878457 h 4878456"/>
              <a:gd name="connsiteX6" fmla="*/ 11855285 w 11855285"/>
              <a:gd name="connsiteY6" fmla="*/ 4878457 h 48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55285" h="4878456">
                <a:moveTo>
                  <a:pt x="11855285" y="4878457"/>
                </a:moveTo>
                <a:lnTo>
                  <a:pt x="9822214" y="793512"/>
                </a:lnTo>
                <a:cubicBezTo>
                  <a:pt x="9583881" y="318878"/>
                  <a:pt x="9194240" y="0"/>
                  <a:pt x="8686829" y="0"/>
                </a:cubicBezTo>
                <a:lnTo>
                  <a:pt x="1209070" y="0"/>
                </a:lnTo>
                <a:cubicBezTo>
                  <a:pt x="541331" y="0"/>
                  <a:pt x="0" y="541331"/>
                  <a:pt x="0" y="1209070"/>
                </a:cubicBezTo>
                <a:lnTo>
                  <a:pt x="0" y="4878457"/>
                </a:lnTo>
                <a:lnTo>
                  <a:pt x="11855285" y="4878457"/>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7239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371600" y="2665759"/>
            <a:ext cx="8305800" cy="31973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16403943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u 4">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411D5F97-61D4-2CA2-C8EC-5856FD311D9E}"/>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4394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14943283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u 5">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411D5F97-61D4-2CA2-C8EC-5856FD311D9E}"/>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4394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42315397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1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1"/>
          </a:solidFill>
          <a:ln w="12700" cap="flat">
            <a:noFill/>
            <a:prstDash val="solid"/>
            <a:miter/>
          </a:ln>
        </p:spPr>
        <p:txBody>
          <a:bodyPr rtlCol="0" anchor="ctr"/>
          <a:lstStyle/>
          <a:p>
            <a:endParaRPr lang="en-US"/>
          </a:p>
        </p:txBody>
      </p:sp>
      <p:sp>
        <p:nvSpPr>
          <p:cNvPr id="2" name="Text Placeholder 8">
            <a:extLst>
              <a:ext uri="{FF2B5EF4-FFF2-40B4-BE49-F238E27FC236}">
                <a16:creationId xmlns:a16="http://schemas.microsoft.com/office/drawing/2014/main" id="{5094ED09-A902-EF7B-6E1E-A6FF717FB9C7}"/>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39054722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uver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1411638" y="2057400"/>
            <a:ext cx="7884762" cy="1676400"/>
          </a:xfrm>
          <a:prstGeom prst="rect">
            <a:avLst/>
          </a:prstGeom>
        </p:spPr>
        <p:txBody>
          <a:bodyPr lIns="0" tIns="0" rIns="0" bIns="0" anchor="t" anchorCtr="0"/>
          <a:lstStyle>
            <a:lvl1pPr>
              <a:lnSpc>
                <a:spcPct val="90000"/>
              </a:lnSpc>
              <a:defRPr sz="5500" baseline="0">
                <a:solidFill>
                  <a:schemeClr val="bg1"/>
                </a:solidFill>
              </a:defRPr>
            </a:lvl1pPr>
          </a:lstStyle>
          <a:p>
            <a:r>
              <a:rPr lang="en-US"/>
              <a:t>Lorem ipsum odlor</a:t>
            </a:r>
            <a:br>
              <a:rPr lang="en-US"/>
            </a:br>
            <a:r>
              <a:rPr lang="en-US"/>
              <a:t>stlen amet</a:t>
            </a:r>
          </a:p>
        </p:txBody>
      </p:sp>
      <p:sp>
        <p:nvSpPr>
          <p:cNvPr id="11" name="Text Placeholder 8">
            <a:extLst>
              <a:ext uri="{FF2B5EF4-FFF2-40B4-BE49-F238E27FC236}">
                <a16:creationId xmlns:a16="http://schemas.microsoft.com/office/drawing/2014/main" id="{914E0839-F31F-D77F-8719-0EB248C9DF2B}"/>
              </a:ext>
            </a:extLst>
          </p:cNvPr>
          <p:cNvSpPr>
            <a:spLocks noGrp="1"/>
          </p:cNvSpPr>
          <p:nvPr>
            <p:ph type="body" sz="quarter" idx="11" hasCustomPrompt="1"/>
          </p:nvPr>
        </p:nvSpPr>
        <p:spPr>
          <a:xfrm>
            <a:off x="1447800" y="3886200"/>
            <a:ext cx="7848600" cy="1524000"/>
          </a:xfrm>
          <a:prstGeom prst="rect">
            <a:avLst/>
          </a:prstGeom>
        </p:spPr>
        <p:txBody>
          <a:bodyPr lIns="0" tIns="0" rIns="0" bIns="0" anchor="b" anchorCtr="0"/>
          <a:lstStyle>
            <a:lvl1pPr algn="l">
              <a:spcAft>
                <a:spcPts val="3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Présentée par :</a:t>
            </a:r>
          </a:p>
          <a:p>
            <a:pPr lvl="0"/>
            <a:r>
              <a:rPr lang="en-US"/>
              <a:t>Lorem Hipsum, présidente</a:t>
            </a:r>
          </a:p>
          <a:p>
            <a:pPr lvl="0"/>
            <a:r>
              <a:rPr lang="en-US"/>
              <a:t>Odlor Setamet, vice-président principal, Ventes et Marketing</a:t>
            </a:r>
          </a:p>
          <a:p>
            <a:pPr lvl="0"/>
            <a:r>
              <a:rPr lang="en-US"/>
              <a:t>Loremme Ipsumhe, directeur lorem ipsum</a:t>
            </a:r>
          </a:p>
          <a:p>
            <a:pPr lvl="0"/>
            <a:r>
              <a:rPr lang="en-US"/>
              <a:t>Odlor Setamet, vice-président principal, Ventes et Marketing</a:t>
            </a:r>
          </a:p>
          <a:p>
            <a:pPr lvl="0"/>
            <a:r>
              <a:rPr lang="en-US"/>
              <a:t>Loremme Ipsumhe, directeur lorem ipsum</a:t>
            </a:r>
          </a:p>
        </p:txBody>
      </p:sp>
      <p:sp>
        <p:nvSpPr>
          <p:cNvPr id="2" name="Text Placeholder 8">
            <a:extLst>
              <a:ext uri="{FF2B5EF4-FFF2-40B4-BE49-F238E27FC236}">
                <a16:creationId xmlns:a16="http://schemas.microsoft.com/office/drawing/2014/main" id="{3D707C00-5A70-75CE-A199-E00A2B3A2002}"/>
              </a:ext>
            </a:extLst>
          </p:cNvPr>
          <p:cNvSpPr>
            <a:spLocks noGrp="1"/>
          </p:cNvSpPr>
          <p:nvPr>
            <p:ph type="body" sz="quarter" idx="12" hasCustomPrompt="1"/>
          </p:nvPr>
        </p:nvSpPr>
        <p:spPr>
          <a:xfrm>
            <a:off x="1447800" y="5943600"/>
            <a:ext cx="3339885" cy="414042"/>
          </a:xfrm>
          <a:prstGeom prst="rect">
            <a:avLst/>
          </a:prstGeom>
        </p:spPr>
        <p:txBody>
          <a:bodyPr lIns="0" tIns="0" rIns="0" bIns="0" anchor="b" anchorCtr="0"/>
          <a:lstStyle>
            <a:lvl1pPr algn="l">
              <a:spcAft>
                <a:spcPts val="12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Date</a:t>
            </a:r>
          </a:p>
        </p:txBody>
      </p:sp>
      <p:pic>
        <p:nvPicPr>
          <p:cNvPr id="5" name="Picture 4" descr="AQPP – Logo blanc">
            <a:extLst>
              <a:ext uri="{FF2B5EF4-FFF2-40B4-BE49-F238E27FC236}">
                <a16:creationId xmlns:a16="http://schemas.microsoft.com/office/drawing/2014/main" id="{5F4E0CE4-678D-D09A-0599-F6B05810A2B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47799" y="563403"/>
            <a:ext cx="1511085" cy="655797"/>
          </a:xfrm>
          <a:prstGeom prst="rect">
            <a:avLst/>
          </a:prstGeom>
        </p:spPr>
      </p:pic>
    </p:spTree>
    <p:extLst>
      <p:ext uri="{BB962C8B-B14F-4D97-AF65-F5344CB8AC3E}">
        <p14:creationId xmlns:p14="http://schemas.microsoft.com/office/powerpoint/2010/main" val="16329110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uver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1411638" y="2057400"/>
            <a:ext cx="7884762" cy="1676400"/>
          </a:xfrm>
          <a:prstGeom prst="rect">
            <a:avLst/>
          </a:prstGeom>
        </p:spPr>
        <p:txBody>
          <a:bodyPr lIns="0" tIns="0" rIns="0" bIns="0" anchor="t" anchorCtr="0"/>
          <a:lstStyle>
            <a:lvl1pPr>
              <a:lnSpc>
                <a:spcPct val="90000"/>
              </a:lnSpc>
              <a:defRPr sz="5500" baseline="0">
                <a:solidFill>
                  <a:schemeClr val="bg1"/>
                </a:solidFill>
              </a:defRPr>
            </a:lvl1pPr>
          </a:lstStyle>
          <a:p>
            <a:r>
              <a:rPr lang="en-US"/>
              <a:t>Lorem ipsum odlor</a:t>
            </a:r>
            <a:br>
              <a:rPr lang="en-US"/>
            </a:br>
            <a:r>
              <a:rPr lang="en-US"/>
              <a:t>stlen amet</a:t>
            </a:r>
          </a:p>
        </p:txBody>
      </p:sp>
      <p:sp>
        <p:nvSpPr>
          <p:cNvPr id="11" name="Text Placeholder 8">
            <a:extLst>
              <a:ext uri="{FF2B5EF4-FFF2-40B4-BE49-F238E27FC236}">
                <a16:creationId xmlns:a16="http://schemas.microsoft.com/office/drawing/2014/main" id="{914E0839-F31F-D77F-8719-0EB248C9DF2B}"/>
              </a:ext>
            </a:extLst>
          </p:cNvPr>
          <p:cNvSpPr>
            <a:spLocks noGrp="1"/>
          </p:cNvSpPr>
          <p:nvPr>
            <p:ph type="body" sz="quarter" idx="11" hasCustomPrompt="1"/>
          </p:nvPr>
        </p:nvSpPr>
        <p:spPr>
          <a:xfrm>
            <a:off x="1447800" y="3886200"/>
            <a:ext cx="7848600" cy="1524000"/>
          </a:xfrm>
          <a:prstGeom prst="rect">
            <a:avLst/>
          </a:prstGeom>
        </p:spPr>
        <p:txBody>
          <a:bodyPr lIns="0" tIns="0" rIns="0" bIns="0" anchor="b" anchorCtr="0"/>
          <a:lstStyle>
            <a:lvl1pPr algn="l">
              <a:spcAft>
                <a:spcPts val="3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Présentée par :</a:t>
            </a:r>
          </a:p>
          <a:p>
            <a:pPr lvl="0"/>
            <a:r>
              <a:rPr lang="en-US"/>
              <a:t>Lorem Hipsum, présidente</a:t>
            </a:r>
          </a:p>
          <a:p>
            <a:pPr lvl="0"/>
            <a:r>
              <a:rPr lang="en-US"/>
              <a:t>Odlor Setamet, vice-président principal, Ventes et Marketing</a:t>
            </a:r>
          </a:p>
          <a:p>
            <a:pPr lvl="0"/>
            <a:r>
              <a:rPr lang="en-US"/>
              <a:t>Loremme Ipsumhe, directeur lorem ipsum</a:t>
            </a:r>
          </a:p>
          <a:p>
            <a:pPr lvl="0"/>
            <a:r>
              <a:rPr lang="en-US"/>
              <a:t>Odlor Setamet, vice-président principal, Ventes et Marketing</a:t>
            </a:r>
          </a:p>
          <a:p>
            <a:pPr lvl="0"/>
            <a:r>
              <a:rPr lang="en-US"/>
              <a:t>Loremme Ipsumhe, directeur lorem ipsum</a:t>
            </a:r>
          </a:p>
        </p:txBody>
      </p:sp>
      <p:sp>
        <p:nvSpPr>
          <p:cNvPr id="2" name="Text Placeholder 8">
            <a:extLst>
              <a:ext uri="{FF2B5EF4-FFF2-40B4-BE49-F238E27FC236}">
                <a16:creationId xmlns:a16="http://schemas.microsoft.com/office/drawing/2014/main" id="{3D707C00-5A70-75CE-A199-E00A2B3A2002}"/>
              </a:ext>
            </a:extLst>
          </p:cNvPr>
          <p:cNvSpPr>
            <a:spLocks noGrp="1"/>
          </p:cNvSpPr>
          <p:nvPr>
            <p:ph type="body" sz="quarter" idx="12" hasCustomPrompt="1"/>
          </p:nvPr>
        </p:nvSpPr>
        <p:spPr>
          <a:xfrm>
            <a:off x="1447800" y="5943600"/>
            <a:ext cx="3339885" cy="414042"/>
          </a:xfrm>
          <a:prstGeom prst="rect">
            <a:avLst/>
          </a:prstGeom>
        </p:spPr>
        <p:txBody>
          <a:bodyPr lIns="0" tIns="0" rIns="0" bIns="0" anchor="b" anchorCtr="0"/>
          <a:lstStyle>
            <a:lvl1pPr algn="l">
              <a:spcAft>
                <a:spcPts val="12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Date</a:t>
            </a:r>
          </a:p>
        </p:txBody>
      </p:sp>
      <p:pic>
        <p:nvPicPr>
          <p:cNvPr id="5" name="Picture 4" descr="AQPP – Logo blanc">
            <a:extLst>
              <a:ext uri="{FF2B5EF4-FFF2-40B4-BE49-F238E27FC236}">
                <a16:creationId xmlns:a16="http://schemas.microsoft.com/office/drawing/2014/main" id="{5F4E0CE4-678D-D09A-0599-F6B05810A2B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47799" y="563403"/>
            <a:ext cx="1511085" cy="655797"/>
          </a:xfrm>
          <a:prstGeom prst="rect">
            <a:avLst/>
          </a:prstGeom>
        </p:spPr>
      </p:pic>
    </p:spTree>
    <p:extLst>
      <p:ext uri="{BB962C8B-B14F-4D97-AF65-F5344CB8AC3E}">
        <p14:creationId xmlns:p14="http://schemas.microsoft.com/office/powerpoint/2010/main" val="10944640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uver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33953" y="2133600"/>
            <a:ext cx="7567047" cy="1524000"/>
          </a:xfrm>
          <a:prstGeom prst="rect">
            <a:avLst/>
          </a:prstGeom>
        </p:spPr>
        <p:txBody>
          <a:bodyPr lIns="0" tIns="0" rIns="0" bIns="0" anchor="t" anchorCtr="0"/>
          <a:lstStyle>
            <a:lvl1pPr>
              <a:lnSpc>
                <a:spcPct val="90000"/>
              </a:lnSpc>
              <a:defRPr sz="5500" baseline="0">
                <a:solidFill>
                  <a:schemeClr val="bg1"/>
                </a:solidFill>
              </a:defRPr>
            </a:lvl1pPr>
          </a:lstStyle>
          <a:p>
            <a:r>
              <a:rPr lang="en-US"/>
              <a:t>Lorem ipsum odlor</a:t>
            </a:r>
            <a:br>
              <a:rPr lang="en-US"/>
            </a:br>
            <a:r>
              <a:rPr lang="en-US"/>
              <a:t>stlen amet</a:t>
            </a:r>
          </a:p>
        </p:txBody>
      </p:sp>
      <p:sp>
        <p:nvSpPr>
          <p:cNvPr id="11" name="Text Placeholder 8">
            <a:extLst>
              <a:ext uri="{FF2B5EF4-FFF2-40B4-BE49-F238E27FC236}">
                <a16:creationId xmlns:a16="http://schemas.microsoft.com/office/drawing/2014/main" id="{914E0839-F31F-D77F-8719-0EB248C9DF2B}"/>
              </a:ext>
            </a:extLst>
          </p:cNvPr>
          <p:cNvSpPr>
            <a:spLocks noGrp="1"/>
          </p:cNvSpPr>
          <p:nvPr>
            <p:ph type="body" sz="quarter" idx="11" hasCustomPrompt="1"/>
          </p:nvPr>
        </p:nvSpPr>
        <p:spPr>
          <a:xfrm>
            <a:off x="470115" y="4267200"/>
            <a:ext cx="7530885" cy="1143000"/>
          </a:xfrm>
          <a:prstGeom prst="rect">
            <a:avLst/>
          </a:prstGeom>
        </p:spPr>
        <p:txBody>
          <a:bodyPr lIns="0" tIns="0" rIns="0" bIns="0" anchor="b" anchorCtr="0"/>
          <a:lstStyle>
            <a:lvl1pPr algn="l">
              <a:spcAft>
                <a:spcPts val="3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Présentée par :</a:t>
            </a:r>
          </a:p>
          <a:p>
            <a:pPr lvl="0"/>
            <a:r>
              <a:rPr lang="en-US"/>
              <a:t>Lorem Hipsum, présidente</a:t>
            </a:r>
          </a:p>
          <a:p>
            <a:pPr lvl="0"/>
            <a:r>
              <a:rPr lang="en-US"/>
              <a:t>Odlor Setamet, vice-président principal, Ventes et Marketing</a:t>
            </a:r>
          </a:p>
          <a:p>
            <a:pPr lvl="0"/>
            <a:r>
              <a:rPr lang="en-US"/>
              <a:t>Loremme Ipsumhe, directeur lorem ipsum</a:t>
            </a:r>
          </a:p>
          <a:p>
            <a:pPr lvl="0"/>
            <a:r>
              <a:rPr lang="en-US"/>
              <a:t>Odlor Setamet, vice-président principal, Ventes </a:t>
            </a:r>
          </a:p>
        </p:txBody>
      </p:sp>
      <p:sp>
        <p:nvSpPr>
          <p:cNvPr id="2" name="Text Placeholder 8">
            <a:extLst>
              <a:ext uri="{FF2B5EF4-FFF2-40B4-BE49-F238E27FC236}">
                <a16:creationId xmlns:a16="http://schemas.microsoft.com/office/drawing/2014/main" id="{3D707C00-5A70-75CE-A199-E00A2B3A2002}"/>
              </a:ext>
            </a:extLst>
          </p:cNvPr>
          <p:cNvSpPr>
            <a:spLocks noGrp="1"/>
          </p:cNvSpPr>
          <p:nvPr>
            <p:ph type="body" sz="quarter" idx="12" hasCustomPrompt="1"/>
          </p:nvPr>
        </p:nvSpPr>
        <p:spPr>
          <a:xfrm>
            <a:off x="470115" y="5943600"/>
            <a:ext cx="3339885" cy="414042"/>
          </a:xfrm>
          <a:prstGeom prst="rect">
            <a:avLst/>
          </a:prstGeom>
        </p:spPr>
        <p:txBody>
          <a:bodyPr lIns="0" tIns="0" rIns="0" bIns="0" anchor="b" anchorCtr="0"/>
          <a:lstStyle>
            <a:lvl1pPr algn="l">
              <a:spcAft>
                <a:spcPts val="12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Date</a:t>
            </a:r>
          </a:p>
        </p:txBody>
      </p:sp>
      <p:pic>
        <p:nvPicPr>
          <p:cNvPr id="5" name="Picture 4" descr="AQPP – Logo blanc">
            <a:extLst>
              <a:ext uri="{FF2B5EF4-FFF2-40B4-BE49-F238E27FC236}">
                <a16:creationId xmlns:a16="http://schemas.microsoft.com/office/drawing/2014/main" id="{5F4E0CE4-678D-D09A-0599-F6B05810A2B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0114" y="563403"/>
            <a:ext cx="1511085" cy="655797"/>
          </a:xfrm>
          <a:prstGeom prst="rect">
            <a:avLst/>
          </a:prstGeom>
        </p:spPr>
      </p:pic>
      <p:sp>
        <p:nvSpPr>
          <p:cNvPr id="6" name="TextBox 5">
            <a:extLst>
              <a:ext uri="{FF2B5EF4-FFF2-40B4-BE49-F238E27FC236}">
                <a16:creationId xmlns:a16="http://schemas.microsoft.com/office/drawing/2014/main" id="{987A0B2E-2877-77D4-E475-E68B1CFB78D3}"/>
              </a:ext>
            </a:extLst>
          </p:cNvPr>
          <p:cNvSpPr txBox="1"/>
          <p:nvPr userDrawn="1"/>
        </p:nvSpPr>
        <p:spPr>
          <a:xfrm>
            <a:off x="8763000" y="1197600"/>
            <a:ext cx="3352800" cy="343200"/>
          </a:xfrm>
          <a:prstGeom prst="rect">
            <a:avLst/>
          </a:prstGeom>
          <a:noFill/>
        </p:spPr>
        <p:txBody>
          <a:bodyPr wrap="square" lIns="0" tIns="0" rIns="0" bIns="0" rtlCol="0" anchor="t" anchorCtr="0">
            <a:noAutofit/>
          </a:bodyPr>
          <a:lstStyle/>
          <a:p>
            <a:pPr algn="ctr">
              <a:lnSpc>
                <a:spcPct val="90000"/>
              </a:lnSpc>
            </a:pPr>
            <a:r>
              <a:rPr lang="en-CA" sz="1100" cap="all">
                <a:solidFill>
                  <a:schemeClr val="tx1"/>
                </a:solidFill>
                <a:effectLst/>
                <a:latin typeface="Arial" panose="020B0604020202020204" pitchFamily="34" charset="0"/>
              </a:rPr>
              <a:t>Formation </a:t>
            </a:r>
            <a:br>
              <a:rPr lang="en-CA" sz="1100" cap="all">
                <a:solidFill>
                  <a:schemeClr val="tx1"/>
                </a:solidFill>
                <a:effectLst/>
                <a:latin typeface="Arial" panose="020B0604020202020204" pitchFamily="34" charset="0"/>
              </a:rPr>
            </a:br>
            <a:r>
              <a:rPr lang="en-CA" sz="1100" cap="all">
                <a:solidFill>
                  <a:schemeClr val="tx1"/>
                </a:solidFill>
                <a:effectLst/>
                <a:latin typeface="Arial" panose="020B0604020202020204" pitchFamily="34" charset="0"/>
              </a:rPr>
              <a:t>commanditée par :</a:t>
            </a:r>
          </a:p>
        </p:txBody>
      </p:sp>
    </p:spTree>
    <p:extLst>
      <p:ext uri="{BB962C8B-B14F-4D97-AF65-F5344CB8AC3E}">
        <p14:creationId xmlns:p14="http://schemas.microsoft.com/office/powerpoint/2010/main" val="712393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uver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33953" y="2133600"/>
            <a:ext cx="7567047" cy="1524000"/>
          </a:xfrm>
          <a:prstGeom prst="rect">
            <a:avLst/>
          </a:prstGeom>
        </p:spPr>
        <p:txBody>
          <a:bodyPr lIns="0" tIns="0" rIns="0" bIns="0" anchor="t" anchorCtr="0"/>
          <a:lstStyle>
            <a:lvl1pPr>
              <a:lnSpc>
                <a:spcPct val="90000"/>
              </a:lnSpc>
              <a:defRPr sz="5500" baseline="0">
                <a:solidFill>
                  <a:schemeClr val="bg1"/>
                </a:solidFill>
              </a:defRPr>
            </a:lvl1pPr>
          </a:lstStyle>
          <a:p>
            <a:r>
              <a:rPr lang="en-US"/>
              <a:t>Lorem ipsum odlor</a:t>
            </a:r>
            <a:br>
              <a:rPr lang="en-US"/>
            </a:br>
            <a:r>
              <a:rPr lang="en-US"/>
              <a:t>stlen amet</a:t>
            </a:r>
          </a:p>
        </p:txBody>
      </p:sp>
      <p:sp>
        <p:nvSpPr>
          <p:cNvPr id="11" name="Text Placeholder 8">
            <a:extLst>
              <a:ext uri="{FF2B5EF4-FFF2-40B4-BE49-F238E27FC236}">
                <a16:creationId xmlns:a16="http://schemas.microsoft.com/office/drawing/2014/main" id="{914E0839-F31F-D77F-8719-0EB248C9DF2B}"/>
              </a:ext>
            </a:extLst>
          </p:cNvPr>
          <p:cNvSpPr>
            <a:spLocks noGrp="1"/>
          </p:cNvSpPr>
          <p:nvPr>
            <p:ph type="body" sz="quarter" idx="11" hasCustomPrompt="1"/>
          </p:nvPr>
        </p:nvSpPr>
        <p:spPr>
          <a:xfrm>
            <a:off x="470115" y="4267200"/>
            <a:ext cx="7530885" cy="1143000"/>
          </a:xfrm>
          <a:prstGeom prst="rect">
            <a:avLst/>
          </a:prstGeom>
        </p:spPr>
        <p:txBody>
          <a:bodyPr lIns="0" tIns="0" rIns="0" bIns="0" anchor="b" anchorCtr="0"/>
          <a:lstStyle>
            <a:lvl1pPr algn="l">
              <a:spcAft>
                <a:spcPts val="3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Présentée par :</a:t>
            </a:r>
          </a:p>
          <a:p>
            <a:pPr lvl="0"/>
            <a:r>
              <a:rPr lang="en-US"/>
              <a:t>Lorem Hipsum, présidente</a:t>
            </a:r>
          </a:p>
          <a:p>
            <a:pPr lvl="0"/>
            <a:r>
              <a:rPr lang="en-US"/>
              <a:t>Odlor Setamet, vice-président principal, Ventes et Marketing</a:t>
            </a:r>
          </a:p>
          <a:p>
            <a:pPr lvl="0"/>
            <a:r>
              <a:rPr lang="en-US"/>
              <a:t>Loremme Ipsumhe, directeur lorem ipsum</a:t>
            </a:r>
          </a:p>
          <a:p>
            <a:pPr lvl="0"/>
            <a:r>
              <a:rPr lang="en-US"/>
              <a:t>Odlor Setamet, vice-président principal, Ventes </a:t>
            </a:r>
          </a:p>
        </p:txBody>
      </p:sp>
      <p:sp>
        <p:nvSpPr>
          <p:cNvPr id="2" name="Text Placeholder 8">
            <a:extLst>
              <a:ext uri="{FF2B5EF4-FFF2-40B4-BE49-F238E27FC236}">
                <a16:creationId xmlns:a16="http://schemas.microsoft.com/office/drawing/2014/main" id="{3D707C00-5A70-75CE-A199-E00A2B3A2002}"/>
              </a:ext>
            </a:extLst>
          </p:cNvPr>
          <p:cNvSpPr>
            <a:spLocks noGrp="1"/>
          </p:cNvSpPr>
          <p:nvPr>
            <p:ph type="body" sz="quarter" idx="12" hasCustomPrompt="1"/>
          </p:nvPr>
        </p:nvSpPr>
        <p:spPr>
          <a:xfrm>
            <a:off x="470115" y="5943600"/>
            <a:ext cx="3339885" cy="414042"/>
          </a:xfrm>
          <a:prstGeom prst="rect">
            <a:avLst/>
          </a:prstGeom>
        </p:spPr>
        <p:txBody>
          <a:bodyPr lIns="0" tIns="0" rIns="0" bIns="0" anchor="b" anchorCtr="0"/>
          <a:lstStyle>
            <a:lvl1pPr algn="l">
              <a:spcAft>
                <a:spcPts val="1200"/>
              </a:spcAft>
              <a:defRPr sz="1400">
                <a:solidFill>
                  <a:schemeClr val="bg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Date</a:t>
            </a:r>
          </a:p>
        </p:txBody>
      </p:sp>
      <p:pic>
        <p:nvPicPr>
          <p:cNvPr id="5" name="Picture 4" descr="AQPP – Logo blanc">
            <a:extLst>
              <a:ext uri="{FF2B5EF4-FFF2-40B4-BE49-F238E27FC236}">
                <a16:creationId xmlns:a16="http://schemas.microsoft.com/office/drawing/2014/main" id="{5F4E0CE4-678D-D09A-0599-F6B05810A2B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0114" y="563403"/>
            <a:ext cx="1511085" cy="655797"/>
          </a:xfrm>
          <a:prstGeom prst="rect">
            <a:avLst/>
          </a:prstGeom>
        </p:spPr>
      </p:pic>
      <p:sp>
        <p:nvSpPr>
          <p:cNvPr id="3" name="TextBox 2">
            <a:extLst>
              <a:ext uri="{FF2B5EF4-FFF2-40B4-BE49-F238E27FC236}">
                <a16:creationId xmlns:a16="http://schemas.microsoft.com/office/drawing/2014/main" id="{E0BC68FB-32FA-B16D-F840-59F451E68BB5}"/>
              </a:ext>
            </a:extLst>
          </p:cNvPr>
          <p:cNvSpPr txBox="1"/>
          <p:nvPr userDrawn="1"/>
        </p:nvSpPr>
        <p:spPr>
          <a:xfrm>
            <a:off x="4419600" y="5638800"/>
            <a:ext cx="1676400" cy="1219200"/>
          </a:xfrm>
          <a:prstGeom prst="rect">
            <a:avLst/>
          </a:prstGeom>
          <a:noFill/>
        </p:spPr>
        <p:txBody>
          <a:bodyPr wrap="square" lIns="0" tIns="0" rIns="0" bIns="0" rtlCol="0" anchor="ctr" anchorCtr="0">
            <a:noAutofit/>
          </a:bodyPr>
          <a:lstStyle/>
          <a:p>
            <a:pPr>
              <a:lnSpc>
                <a:spcPct val="90000"/>
              </a:lnSpc>
            </a:pPr>
            <a:r>
              <a:rPr lang="en-CA" sz="1100" cap="all">
                <a:solidFill>
                  <a:schemeClr val="tx1"/>
                </a:solidFill>
                <a:effectLst/>
                <a:latin typeface="Arial" panose="020B0604020202020204" pitchFamily="34" charset="0"/>
              </a:rPr>
              <a:t>Formation </a:t>
            </a:r>
            <a:br>
              <a:rPr lang="en-CA" sz="1100" cap="all">
                <a:solidFill>
                  <a:schemeClr val="tx1"/>
                </a:solidFill>
                <a:effectLst/>
                <a:latin typeface="Arial" panose="020B0604020202020204" pitchFamily="34" charset="0"/>
              </a:rPr>
            </a:br>
            <a:r>
              <a:rPr lang="en-CA" sz="1100" cap="all">
                <a:solidFill>
                  <a:schemeClr val="tx1"/>
                </a:solidFill>
                <a:effectLst/>
                <a:latin typeface="Arial" panose="020B0604020202020204" pitchFamily="34" charset="0"/>
              </a:rPr>
              <a:t>commanditée par :</a:t>
            </a:r>
          </a:p>
        </p:txBody>
      </p:sp>
    </p:spTree>
    <p:extLst>
      <p:ext uri="{BB962C8B-B14F-4D97-AF65-F5344CB8AC3E}">
        <p14:creationId xmlns:p14="http://schemas.microsoft.com/office/powerpoint/2010/main" val="16064186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1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2"/>
          </a:solidFill>
          <a:ln w="12700" cap="flat">
            <a:noFill/>
            <a:prstDash val="solid"/>
            <a:miter/>
          </a:ln>
        </p:spPr>
        <p:txBody>
          <a:bodyPr rtlCol="0" anchor="ctr"/>
          <a:lstStyle/>
          <a:p>
            <a:endParaRPr lang="en-US"/>
          </a:p>
        </p:txBody>
      </p:sp>
      <p:sp>
        <p:nvSpPr>
          <p:cNvPr id="2" name="Text Placeholder 8">
            <a:extLst>
              <a:ext uri="{FF2B5EF4-FFF2-40B4-BE49-F238E27FC236}">
                <a16:creationId xmlns:a16="http://schemas.microsoft.com/office/drawing/2014/main" id="{5094ED09-A902-EF7B-6E1E-A6FF717FB9C7}"/>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6548435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1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1"/>
          </a:solidFill>
          <a:ln w="12700" cap="flat">
            <a:noFill/>
            <a:prstDash val="solid"/>
            <a:miter/>
          </a:ln>
        </p:spPr>
        <p:txBody>
          <a:bodyPr rtlCol="0" anchor="ctr"/>
          <a:lstStyle/>
          <a:p>
            <a:endParaRPr lang="en-US"/>
          </a:p>
        </p:txBody>
      </p:sp>
      <p:sp>
        <p:nvSpPr>
          <p:cNvPr id="2" name="Text Placeholder 8">
            <a:extLst>
              <a:ext uri="{FF2B5EF4-FFF2-40B4-BE49-F238E27FC236}">
                <a16:creationId xmlns:a16="http://schemas.microsoft.com/office/drawing/2014/main" id="{5094ED09-A902-EF7B-6E1E-A6FF717FB9C7}"/>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31945949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1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bg2"/>
          </a:solidFill>
          <a:ln w="12700" cap="flat">
            <a:noFill/>
            <a:prstDash val="solid"/>
            <a:miter/>
          </a:ln>
        </p:spPr>
        <p:txBody>
          <a:bodyPr rtlCol="0" anchor="ctr"/>
          <a:lstStyle/>
          <a:p>
            <a:endParaRPr lang="en-US"/>
          </a:p>
        </p:txBody>
      </p:sp>
      <p:sp>
        <p:nvSpPr>
          <p:cNvPr id="2" name="Text Placeholder 8">
            <a:extLst>
              <a:ext uri="{FF2B5EF4-FFF2-40B4-BE49-F238E27FC236}">
                <a16:creationId xmlns:a16="http://schemas.microsoft.com/office/drawing/2014/main" id="{5094ED09-A902-EF7B-6E1E-A6FF717FB9C7}"/>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tx2"/>
                </a:solidFill>
              </a:defRPr>
            </a:lvl1pPr>
          </a:lstStyle>
          <a:p>
            <a:pPr lvl="0"/>
            <a:r>
              <a:rPr lang="en-US"/>
              <a:t>2</a:t>
            </a:r>
          </a:p>
        </p:txBody>
      </p:sp>
    </p:spTree>
    <p:extLst>
      <p:ext uri="{BB962C8B-B14F-4D97-AF65-F5344CB8AC3E}">
        <p14:creationId xmlns:p14="http://schemas.microsoft.com/office/powerpoint/2010/main" val="33969255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ous-section-1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accent1"/>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34160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1"/>
          </a:solidFill>
          <a:ln w="12700" cap="flat">
            <a:noFill/>
            <a:prstDash val="solid"/>
            <a:miter/>
          </a:ln>
        </p:spPr>
        <p:txBody>
          <a:bodyPr rtlCol="0" anchor="ctr"/>
          <a:lstStyle/>
          <a:p>
            <a:endParaRPr lang="en-US"/>
          </a:p>
        </p:txBody>
      </p:sp>
      <p:sp>
        <p:nvSpPr>
          <p:cNvPr id="9" name="Text Placeholder 8">
            <a:extLst>
              <a:ext uri="{FF2B5EF4-FFF2-40B4-BE49-F238E27FC236}">
                <a16:creationId xmlns:a16="http://schemas.microsoft.com/office/drawing/2014/main" id="{AB7AB5D2-34D8-92B6-B806-0D67E336C158}"/>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40033156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ous-section-1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accent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34160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2"/>
          </a:solidFill>
          <a:ln w="12700" cap="flat">
            <a:noFill/>
            <a:prstDash val="solid"/>
            <a:miter/>
          </a:ln>
        </p:spPr>
        <p:txBody>
          <a:bodyPr rtlCol="0" anchor="ctr"/>
          <a:lstStyle/>
          <a:p>
            <a:endParaRPr lang="en-US"/>
          </a:p>
        </p:txBody>
      </p:sp>
      <p:sp>
        <p:nvSpPr>
          <p:cNvPr id="9" name="Text Placeholder 8">
            <a:extLst>
              <a:ext uri="{FF2B5EF4-FFF2-40B4-BE49-F238E27FC236}">
                <a16:creationId xmlns:a16="http://schemas.microsoft.com/office/drawing/2014/main" id="{AB7AB5D2-34D8-92B6-B806-0D67E336C158}"/>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14129023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ous-section-1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34160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tx2"/>
          </a:solidFill>
          <a:ln w="12700" cap="flat">
            <a:noFill/>
            <a:prstDash val="solid"/>
            <a:miter/>
          </a:ln>
        </p:spPr>
        <p:txBody>
          <a:bodyPr rtlCol="0" anchor="ctr"/>
          <a:lstStyle/>
          <a:p>
            <a:endParaRPr lang="en-US"/>
          </a:p>
        </p:txBody>
      </p:sp>
      <p:sp>
        <p:nvSpPr>
          <p:cNvPr id="9" name="Text Placeholder 8">
            <a:extLst>
              <a:ext uri="{FF2B5EF4-FFF2-40B4-BE49-F238E27FC236}">
                <a16:creationId xmlns:a16="http://schemas.microsoft.com/office/drawing/2014/main" id="{AB7AB5D2-34D8-92B6-B806-0D67E336C158}"/>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19365688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1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bg2"/>
          </a:solidFill>
          <a:ln w="12700" cap="flat">
            <a:noFill/>
            <a:prstDash val="solid"/>
            <a:miter/>
          </a:ln>
        </p:spPr>
        <p:txBody>
          <a:bodyPr rtlCol="0" anchor="ctr"/>
          <a:lstStyle/>
          <a:p>
            <a:endParaRPr lang="en-US"/>
          </a:p>
        </p:txBody>
      </p:sp>
      <p:sp>
        <p:nvSpPr>
          <p:cNvPr id="2" name="Text Placeholder 8">
            <a:extLst>
              <a:ext uri="{FF2B5EF4-FFF2-40B4-BE49-F238E27FC236}">
                <a16:creationId xmlns:a16="http://schemas.microsoft.com/office/drawing/2014/main" id="{5094ED09-A902-EF7B-6E1E-A6FF717FB9C7}"/>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tx2"/>
                </a:solidFill>
              </a:defRPr>
            </a:lvl1pPr>
          </a:lstStyle>
          <a:p>
            <a:pPr lvl="0"/>
            <a:r>
              <a:rPr lang="en-US"/>
              <a:t>2</a:t>
            </a:r>
          </a:p>
        </p:txBody>
      </p:sp>
    </p:spTree>
    <p:extLst>
      <p:ext uri="{BB962C8B-B14F-4D97-AF65-F5344CB8AC3E}">
        <p14:creationId xmlns:p14="http://schemas.microsoft.com/office/powerpoint/2010/main" val="129022268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ous-section 2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9DCB4391-D91A-EBA8-2672-9B4688429C47}"/>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tx2"/>
          </a:solidFill>
          <a:ln w="1270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3C28D25-B352-2F54-2D06-6FF35293FB95}"/>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2"/>
          </a:solidFill>
          <a:ln w="1270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EA14296-D5E1-9BA8-65E4-BF2D5F49077D}"/>
              </a:ext>
            </a:extLst>
          </p:cNvPr>
          <p:cNvSpPr/>
          <p:nvPr/>
        </p:nvSpPr>
        <p:spPr>
          <a:xfrm>
            <a:off x="3352800" y="0"/>
            <a:ext cx="8839200" cy="6858000"/>
          </a:xfrm>
          <a:custGeom>
            <a:avLst/>
            <a:gdLst>
              <a:gd name="connsiteX0" fmla="*/ 4730115 w 8839200"/>
              <a:gd name="connsiteY0" fmla="*/ 0 h 6858000"/>
              <a:gd name="connsiteX1" fmla="*/ 4730115 w 8839200"/>
              <a:gd name="connsiteY1" fmla="*/ 1063879 h 6858000"/>
              <a:gd name="connsiteX2" fmla="*/ 0 w 8839200"/>
              <a:gd name="connsiteY2" fmla="*/ 1063879 h 6858000"/>
              <a:gd name="connsiteX3" fmla="*/ 0 w 8839200"/>
              <a:gd name="connsiteY3" fmla="*/ 5794121 h 6858000"/>
              <a:gd name="connsiteX4" fmla="*/ 4730115 w 8839200"/>
              <a:gd name="connsiteY4" fmla="*/ 5794121 h 6858000"/>
              <a:gd name="connsiteX5" fmla="*/ 4730115 w 8839200"/>
              <a:gd name="connsiteY5" fmla="*/ 6858000 h 6858000"/>
              <a:gd name="connsiteX6" fmla="*/ 8839200 w 8839200"/>
              <a:gd name="connsiteY6" fmla="*/ 6858000 h 6858000"/>
              <a:gd name="connsiteX7" fmla="*/ 8839200 w 8839200"/>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39200" h="6858000">
                <a:moveTo>
                  <a:pt x="4730115" y="0"/>
                </a:moveTo>
                <a:lnTo>
                  <a:pt x="4730115" y="1063879"/>
                </a:lnTo>
                <a:lnTo>
                  <a:pt x="0" y="1063879"/>
                </a:lnTo>
                <a:lnTo>
                  <a:pt x="0" y="5794121"/>
                </a:lnTo>
                <a:lnTo>
                  <a:pt x="4730115" y="5794121"/>
                </a:lnTo>
                <a:lnTo>
                  <a:pt x="4730115" y="6858000"/>
                </a:lnTo>
                <a:lnTo>
                  <a:pt x="8839200" y="6858000"/>
                </a:lnTo>
                <a:lnTo>
                  <a:pt x="8839200" y="0"/>
                </a:lnTo>
                <a:close/>
              </a:path>
            </a:pathLst>
          </a:custGeom>
          <a:solidFill>
            <a:srgbClr val="FFFFFF"/>
          </a:solidFill>
          <a:ln w="12700" cap="flat">
            <a:noFill/>
            <a:prstDash val="solid"/>
            <a:miter/>
          </a:ln>
        </p:spPr>
        <p:txBody>
          <a:bodyPr rtlCol="0" anchor="ctr"/>
          <a:lstStyle/>
          <a:p>
            <a:endParaRPr lang="en-US"/>
          </a:p>
        </p:txBody>
      </p:sp>
      <p:sp>
        <p:nvSpPr>
          <p:cNvPr id="16" name="Title 6">
            <a:extLst>
              <a:ext uri="{FF2B5EF4-FFF2-40B4-BE49-F238E27FC236}">
                <a16:creationId xmlns:a16="http://schemas.microsoft.com/office/drawing/2014/main" id="{06537158-0AEC-2722-FEA5-C548FDF335A7}"/>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accent2"/>
                </a:solidFill>
              </a:defRPr>
            </a:lvl1pPr>
          </a:lstStyle>
          <a:p>
            <a:r>
              <a:rPr lang="en-US"/>
              <a:t>Lorem ipsum odlor</a:t>
            </a:r>
            <a:br>
              <a:rPr lang="en-US"/>
            </a:br>
            <a:r>
              <a:rPr lang="en-US"/>
              <a:t>stlen amet</a:t>
            </a:r>
          </a:p>
        </p:txBody>
      </p:sp>
      <p:sp>
        <p:nvSpPr>
          <p:cNvPr id="17" name="Text Placeholder 8">
            <a:extLst>
              <a:ext uri="{FF2B5EF4-FFF2-40B4-BE49-F238E27FC236}">
                <a16:creationId xmlns:a16="http://schemas.microsoft.com/office/drawing/2014/main" id="{CECF65F2-E075-DDEE-1A63-DD8BDE5F3F72}"/>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20" name="Text Placeholder 8">
            <a:extLst>
              <a:ext uri="{FF2B5EF4-FFF2-40B4-BE49-F238E27FC236}">
                <a16:creationId xmlns:a16="http://schemas.microsoft.com/office/drawing/2014/main" id="{F425601A-4EA9-856B-25DC-45AA3C272F3F}"/>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2"/>
                </a:solidFill>
              </a:defRPr>
            </a:lvl1pPr>
          </a:lstStyle>
          <a:p>
            <a:pPr lvl="0"/>
            <a:r>
              <a:rPr lang="en-US"/>
              <a:t>2</a:t>
            </a:r>
          </a:p>
        </p:txBody>
      </p:sp>
    </p:spTree>
    <p:extLst>
      <p:ext uri="{BB962C8B-B14F-4D97-AF65-F5344CB8AC3E}">
        <p14:creationId xmlns:p14="http://schemas.microsoft.com/office/powerpoint/2010/main" val="37229427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ous-section 2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9DCB4391-D91A-EBA8-2672-9B4688429C47}"/>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tx2"/>
          </a:solidFill>
          <a:ln w="1270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3C28D25-B352-2F54-2D06-6FF35293FB95}"/>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1"/>
          </a:solidFill>
          <a:ln w="1270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EA14296-D5E1-9BA8-65E4-BF2D5F49077D}"/>
              </a:ext>
            </a:extLst>
          </p:cNvPr>
          <p:cNvSpPr/>
          <p:nvPr/>
        </p:nvSpPr>
        <p:spPr>
          <a:xfrm>
            <a:off x="3352800" y="0"/>
            <a:ext cx="8839200" cy="6858000"/>
          </a:xfrm>
          <a:custGeom>
            <a:avLst/>
            <a:gdLst>
              <a:gd name="connsiteX0" fmla="*/ 4730115 w 8839200"/>
              <a:gd name="connsiteY0" fmla="*/ 0 h 6858000"/>
              <a:gd name="connsiteX1" fmla="*/ 4730115 w 8839200"/>
              <a:gd name="connsiteY1" fmla="*/ 1063879 h 6858000"/>
              <a:gd name="connsiteX2" fmla="*/ 0 w 8839200"/>
              <a:gd name="connsiteY2" fmla="*/ 1063879 h 6858000"/>
              <a:gd name="connsiteX3" fmla="*/ 0 w 8839200"/>
              <a:gd name="connsiteY3" fmla="*/ 5794121 h 6858000"/>
              <a:gd name="connsiteX4" fmla="*/ 4730115 w 8839200"/>
              <a:gd name="connsiteY4" fmla="*/ 5794121 h 6858000"/>
              <a:gd name="connsiteX5" fmla="*/ 4730115 w 8839200"/>
              <a:gd name="connsiteY5" fmla="*/ 6858000 h 6858000"/>
              <a:gd name="connsiteX6" fmla="*/ 8839200 w 8839200"/>
              <a:gd name="connsiteY6" fmla="*/ 6858000 h 6858000"/>
              <a:gd name="connsiteX7" fmla="*/ 8839200 w 8839200"/>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39200" h="6858000">
                <a:moveTo>
                  <a:pt x="4730115" y="0"/>
                </a:moveTo>
                <a:lnTo>
                  <a:pt x="4730115" y="1063879"/>
                </a:lnTo>
                <a:lnTo>
                  <a:pt x="0" y="1063879"/>
                </a:lnTo>
                <a:lnTo>
                  <a:pt x="0" y="5794121"/>
                </a:lnTo>
                <a:lnTo>
                  <a:pt x="4730115" y="5794121"/>
                </a:lnTo>
                <a:lnTo>
                  <a:pt x="4730115" y="6858000"/>
                </a:lnTo>
                <a:lnTo>
                  <a:pt x="8839200" y="6858000"/>
                </a:lnTo>
                <a:lnTo>
                  <a:pt x="8839200" y="0"/>
                </a:lnTo>
                <a:close/>
              </a:path>
            </a:pathLst>
          </a:custGeom>
          <a:solidFill>
            <a:srgbClr val="FFFFFF"/>
          </a:solidFill>
          <a:ln w="12700" cap="flat">
            <a:noFill/>
            <a:prstDash val="solid"/>
            <a:miter/>
          </a:ln>
        </p:spPr>
        <p:txBody>
          <a:bodyPr rtlCol="0" anchor="ctr"/>
          <a:lstStyle/>
          <a:p>
            <a:endParaRPr lang="en-US"/>
          </a:p>
        </p:txBody>
      </p:sp>
      <p:sp>
        <p:nvSpPr>
          <p:cNvPr id="16" name="Title 6">
            <a:extLst>
              <a:ext uri="{FF2B5EF4-FFF2-40B4-BE49-F238E27FC236}">
                <a16:creationId xmlns:a16="http://schemas.microsoft.com/office/drawing/2014/main" id="{06537158-0AEC-2722-FEA5-C548FDF335A7}"/>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accent1"/>
                </a:solidFill>
              </a:defRPr>
            </a:lvl1pPr>
          </a:lstStyle>
          <a:p>
            <a:r>
              <a:rPr lang="en-US"/>
              <a:t>Lorem ipsum odlor</a:t>
            </a:r>
            <a:br>
              <a:rPr lang="en-US"/>
            </a:br>
            <a:r>
              <a:rPr lang="en-US"/>
              <a:t>stlen amet</a:t>
            </a:r>
          </a:p>
        </p:txBody>
      </p:sp>
      <p:sp>
        <p:nvSpPr>
          <p:cNvPr id="17" name="Text Placeholder 8">
            <a:extLst>
              <a:ext uri="{FF2B5EF4-FFF2-40B4-BE49-F238E27FC236}">
                <a16:creationId xmlns:a16="http://schemas.microsoft.com/office/drawing/2014/main" id="{CECF65F2-E075-DDEE-1A63-DD8BDE5F3F72}"/>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20" name="Text Placeholder 8">
            <a:extLst>
              <a:ext uri="{FF2B5EF4-FFF2-40B4-BE49-F238E27FC236}">
                <a16:creationId xmlns:a16="http://schemas.microsoft.com/office/drawing/2014/main" id="{F425601A-4EA9-856B-25DC-45AA3C272F3F}"/>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2"/>
                </a:solidFill>
              </a:defRPr>
            </a:lvl1pPr>
          </a:lstStyle>
          <a:p>
            <a:pPr lvl="0"/>
            <a:r>
              <a:rPr lang="en-US"/>
              <a:t>2</a:t>
            </a:r>
          </a:p>
        </p:txBody>
      </p:sp>
    </p:spTree>
    <p:extLst>
      <p:ext uri="{BB962C8B-B14F-4D97-AF65-F5344CB8AC3E}">
        <p14:creationId xmlns:p14="http://schemas.microsoft.com/office/powerpoint/2010/main" val="6711580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ous-section 2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9DCB4391-D91A-EBA8-2672-9B4688429C47}"/>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tx2"/>
          </a:solidFill>
          <a:ln w="1270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3C28D25-B352-2F54-2D06-6FF35293FB95}"/>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bg2"/>
          </a:solidFill>
          <a:ln w="1270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EA14296-D5E1-9BA8-65E4-BF2D5F49077D}"/>
              </a:ext>
            </a:extLst>
          </p:cNvPr>
          <p:cNvSpPr/>
          <p:nvPr/>
        </p:nvSpPr>
        <p:spPr>
          <a:xfrm>
            <a:off x="3352800" y="0"/>
            <a:ext cx="8839200" cy="6858000"/>
          </a:xfrm>
          <a:custGeom>
            <a:avLst/>
            <a:gdLst>
              <a:gd name="connsiteX0" fmla="*/ 4730115 w 8839200"/>
              <a:gd name="connsiteY0" fmla="*/ 0 h 6858000"/>
              <a:gd name="connsiteX1" fmla="*/ 4730115 w 8839200"/>
              <a:gd name="connsiteY1" fmla="*/ 1063879 h 6858000"/>
              <a:gd name="connsiteX2" fmla="*/ 0 w 8839200"/>
              <a:gd name="connsiteY2" fmla="*/ 1063879 h 6858000"/>
              <a:gd name="connsiteX3" fmla="*/ 0 w 8839200"/>
              <a:gd name="connsiteY3" fmla="*/ 5794121 h 6858000"/>
              <a:gd name="connsiteX4" fmla="*/ 4730115 w 8839200"/>
              <a:gd name="connsiteY4" fmla="*/ 5794121 h 6858000"/>
              <a:gd name="connsiteX5" fmla="*/ 4730115 w 8839200"/>
              <a:gd name="connsiteY5" fmla="*/ 6858000 h 6858000"/>
              <a:gd name="connsiteX6" fmla="*/ 8839200 w 8839200"/>
              <a:gd name="connsiteY6" fmla="*/ 6858000 h 6858000"/>
              <a:gd name="connsiteX7" fmla="*/ 8839200 w 8839200"/>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39200" h="6858000">
                <a:moveTo>
                  <a:pt x="4730115" y="0"/>
                </a:moveTo>
                <a:lnTo>
                  <a:pt x="4730115" y="1063879"/>
                </a:lnTo>
                <a:lnTo>
                  <a:pt x="0" y="1063879"/>
                </a:lnTo>
                <a:lnTo>
                  <a:pt x="0" y="5794121"/>
                </a:lnTo>
                <a:lnTo>
                  <a:pt x="4730115" y="5794121"/>
                </a:lnTo>
                <a:lnTo>
                  <a:pt x="4730115" y="6858000"/>
                </a:lnTo>
                <a:lnTo>
                  <a:pt x="8839200" y="6858000"/>
                </a:lnTo>
                <a:lnTo>
                  <a:pt x="8839200" y="0"/>
                </a:lnTo>
                <a:close/>
              </a:path>
            </a:pathLst>
          </a:custGeom>
          <a:solidFill>
            <a:srgbClr val="FFFFFF"/>
          </a:solidFill>
          <a:ln w="12700" cap="flat">
            <a:noFill/>
            <a:prstDash val="solid"/>
            <a:miter/>
          </a:ln>
        </p:spPr>
        <p:txBody>
          <a:bodyPr rtlCol="0" anchor="ctr"/>
          <a:lstStyle/>
          <a:p>
            <a:endParaRPr lang="en-US"/>
          </a:p>
        </p:txBody>
      </p:sp>
      <p:sp>
        <p:nvSpPr>
          <p:cNvPr id="16" name="Title 6">
            <a:extLst>
              <a:ext uri="{FF2B5EF4-FFF2-40B4-BE49-F238E27FC236}">
                <a16:creationId xmlns:a16="http://schemas.microsoft.com/office/drawing/2014/main" id="{06537158-0AEC-2722-FEA5-C548FDF335A7}"/>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tx2"/>
                </a:solidFill>
              </a:defRPr>
            </a:lvl1pPr>
          </a:lstStyle>
          <a:p>
            <a:r>
              <a:rPr lang="en-US"/>
              <a:t>Lorem ipsum odlor</a:t>
            </a:r>
            <a:br>
              <a:rPr lang="en-US"/>
            </a:br>
            <a:r>
              <a:rPr lang="en-US"/>
              <a:t>stlen amet</a:t>
            </a:r>
          </a:p>
        </p:txBody>
      </p:sp>
      <p:sp>
        <p:nvSpPr>
          <p:cNvPr id="17" name="Text Placeholder 8">
            <a:extLst>
              <a:ext uri="{FF2B5EF4-FFF2-40B4-BE49-F238E27FC236}">
                <a16:creationId xmlns:a16="http://schemas.microsoft.com/office/drawing/2014/main" id="{CECF65F2-E075-DDEE-1A63-DD8BDE5F3F72}"/>
              </a:ext>
            </a:extLst>
          </p:cNvPr>
          <p:cNvSpPr>
            <a:spLocks noGrp="1"/>
          </p:cNvSpPr>
          <p:nvPr>
            <p:ph type="body" sz="quarter" idx="13" hasCustomPrompt="1"/>
          </p:nvPr>
        </p:nvSpPr>
        <p:spPr>
          <a:xfrm>
            <a:off x="4572000" y="2362200"/>
            <a:ext cx="63116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20" name="Text Placeholder 8">
            <a:extLst>
              <a:ext uri="{FF2B5EF4-FFF2-40B4-BE49-F238E27FC236}">
                <a16:creationId xmlns:a16="http://schemas.microsoft.com/office/drawing/2014/main" id="{F425601A-4EA9-856B-25DC-45AA3C272F3F}"/>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tx2"/>
                </a:solidFill>
              </a:defRPr>
            </a:lvl1pPr>
          </a:lstStyle>
          <a:p>
            <a:pPr lvl="0"/>
            <a:r>
              <a:rPr lang="en-US"/>
              <a:t>2</a:t>
            </a:r>
          </a:p>
        </p:txBody>
      </p:sp>
    </p:spTree>
    <p:extLst>
      <p:ext uri="{BB962C8B-B14F-4D97-AF65-F5344CB8AC3E}">
        <p14:creationId xmlns:p14="http://schemas.microsoft.com/office/powerpoint/2010/main" val="20432289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guide id="4" orient="horz" pos="14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u 1">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63BB135B-411D-CF59-EEBA-463940A4A27C}"/>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bg1"/>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5" name="Picture 4" descr="AQPP – Logo blanc">
            <a:extLst>
              <a:ext uri="{FF2B5EF4-FFF2-40B4-BE49-F238E27FC236}">
                <a16:creationId xmlns:a16="http://schemas.microsoft.com/office/drawing/2014/main" id="{E4624D8F-EA1B-925F-A5B3-48FDBDE15E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7400" y="504372"/>
            <a:ext cx="1511085" cy="655797"/>
          </a:xfrm>
          <a:prstGeom prst="rect">
            <a:avLst/>
          </a:prstGeom>
        </p:spPr>
      </p:pic>
    </p:spTree>
    <p:extLst>
      <p:ext uri="{BB962C8B-B14F-4D97-AF65-F5344CB8AC3E}">
        <p14:creationId xmlns:p14="http://schemas.microsoft.com/office/powerpoint/2010/main" val="30416944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u 2">
    <p:bg>
      <p:bgPr>
        <a:solidFill>
          <a:schemeClr val="tx2"/>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DA690888-072E-4358-DDB1-32E05A086661}"/>
              </a:ext>
            </a:extLst>
          </p:cNvPr>
          <p:cNvSpPr/>
          <p:nvPr/>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bg1"/>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5" name="Picture 4" descr="AQPP – Logo blanc">
            <a:extLst>
              <a:ext uri="{FF2B5EF4-FFF2-40B4-BE49-F238E27FC236}">
                <a16:creationId xmlns:a16="http://schemas.microsoft.com/office/drawing/2014/main" id="{E4624D8F-EA1B-925F-A5B3-48FDBDE15E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7400" y="504372"/>
            <a:ext cx="1511085" cy="655797"/>
          </a:xfrm>
          <a:prstGeom prst="rect">
            <a:avLst/>
          </a:prstGeom>
        </p:spPr>
      </p:pic>
    </p:spTree>
    <p:extLst>
      <p:ext uri="{BB962C8B-B14F-4D97-AF65-F5344CB8AC3E}">
        <p14:creationId xmlns:p14="http://schemas.microsoft.com/office/powerpoint/2010/main" val="28607273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u 3">
    <p:bg>
      <p:bgPr>
        <a:solidFill>
          <a:schemeClr val="tx2"/>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DA690888-072E-4358-DDB1-32E05A086661}"/>
              </a:ext>
            </a:extLst>
          </p:cNvPr>
          <p:cNvSpPr/>
          <p:nvPr/>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5" name="Picture 4" descr="AQPP – Logo blanc">
            <a:extLst>
              <a:ext uri="{FF2B5EF4-FFF2-40B4-BE49-F238E27FC236}">
                <a16:creationId xmlns:a16="http://schemas.microsoft.com/office/drawing/2014/main" id="{E4624D8F-EA1B-925F-A5B3-48FDBDE15E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7400" y="504372"/>
            <a:ext cx="1511085" cy="655797"/>
          </a:xfrm>
          <a:prstGeom prst="rect">
            <a:avLst/>
          </a:prstGeom>
        </p:spPr>
      </p:pic>
    </p:spTree>
    <p:extLst>
      <p:ext uri="{BB962C8B-B14F-4D97-AF65-F5344CB8AC3E}">
        <p14:creationId xmlns:p14="http://schemas.microsoft.com/office/powerpoint/2010/main" val="25526019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ntenu 2">
    <p:bg>
      <p:bgPr>
        <a:solidFill>
          <a:schemeClr val="tx2"/>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DA690888-072E-4358-DDB1-32E05A086661}"/>
              </a:ext>
            </a:extLst>
          </p:cNvPr>
          <p:cNvSpPr/>
          <p:nvPr/>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1600200"/>
            <a:ext cx="12192000" cy="5257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0"/>
            <a:ext cx="7010400" cy="1600201"/>
          </a:xfrm>
          <a:prstGeom prst="rect">
            <a:avLst/>
          </a:prstGeom>
        </p:spPr>
        <p:txBody>
          <a:bodyPr lIns="0" tIns="0" rIns="0" bIns="0" anchor="ctr" anchorCtr="0">
            <a:noAutofit/>
          </a:bodyPr>
          <a:lstStyle>
            <a:lvl1pPr>
              <a:lnSpc>
                <a:spcPct val="90000"/>
              </a:lnSpc>
              <a:defRPr sz="3600">
                <a:solidFill>
                  <a:schemeClr val="bg1"/>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845798"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bg1">
                  <a:lumMod val="50000"/>
                </a:schemeClr>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7" name="Picture 7">
            <a:extLst>
              <a:ext uri="{FF2B5EF4-FFF2-40B4-BE49-F238E27FC236}">
                <a16:creationId xmlns:a16="http://schemas.microsoft.com/office/drawing/2014/main" id="{C3F81C99-4B05-DF6D-D468-F17376E36A9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38990126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u 6">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411D5F97-61D4-2CA2-C8EC-5856FD311D9E}"/>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104394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29341136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u 8">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CB7D42B-572D-39A2-712E-7A5847E6D557}"/>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1"/>
            <a:ext cx="6553200" cy="9906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6" name="Text Placeholder 14">
            <a:extLst>
              <a:ext uri="{FF2B5EF4-FFF2-40B4-BE49-F238E27FC236}">
                <a16:creationId xmlns:a16="http://schemas.microsoft.com/office/drawing/2014/main" id="{04E23B6C-63A8-BF44-961E-5101F2FDEDC5}"/>
              </a:ext>
            </a:extLst>
          </p:cNvPr>
          <p:cNvSpPr>
            <a:spLocks noGrp="1"/>
          </p:cNvSpPr>
          <p:nvPr>
            <p:ph type="body" sz="quarter" idx="13" hasCustomPrompt="1"/>
          </p:nvPr>
        </p:nvSpPr>
        <p:spPr>
          <a:xfrm>
            <a:off x="60960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29459694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u 11">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8D9D8987-A15C-90A7-B712-DA6E705B9B83}"/>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7" name="Content Placeholder 6">
            <a:extLst>
              <a:ext uri="{FF2B5EF4-FFF2-40B4-BE49-F238E27FC236}">
                <a16:creationId xmlns:a16="http://schemas.microsoft.com/office/drawing/2014/main" id="{5760C257-E18E-0C57-A2B3-1855C9A112B4}"/>
              </a:ext>
            </a:extLst>
          </p:cNvPr>
          <p:cNvSpPr>
            <a:spLocks noGrp="1"/>
          </p:cNvSpPr>
          <p:nvPr>
            <p:ph sz="quarter" idx="13" hasCustomPrompt="1"/>
          </p:nvPr>
        </p:nvSpPr>
        <p:spPr>
          <a:xfrm>
            <a:off x="6107906" y="2209800"/>
            <a:ext cx="5448300" cy="373062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1614285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ous-section-1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accent1"/>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34160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1"/>
          </a:solidFill>
          <a:ln w="12700" cap="flat">
            <a:noFill/>
            <a:prstDash val="solid"/>
            <a:miter/>
          </a:ln>
        </p:spPr>
        <p:txBody>
          <a:bodyPr rtlCol="0" anchor="ctr"/>
          <a:lstStyle/>
          <a:p>
            <a:endParaRPr lang="en-US"/>
          </a:p>
        </p:txBody>
      </p:sp>
      <p:sp>
        <p:nvSpPr>
          <p:cNvPr id="9" name="Text Placeholder 8">
            <a:extLst>
              <a:ext uri="{FF2B5EF4-FFF2-40B4-BE49-F238E27FC236}">
                <a16:creationId xmlns:a16="http://schemas.microsoft.com/office/drawing/2014/main" id="{AB7AB5D2-34D8-92B6-B806-0D67E336C158}"/>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3725418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u 12">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8D9D8987-A15C-90A7-B712-DA6E705B9B83}"/>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09600" y="2209800"/>
            <a:ext cx="4953000" cy="37307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7" name="Content Placeholder 6">
            <a:extLst>
              <a:ext uri="{FF2B5EF4-FFF2-40B4-BE49-F238E27FC236}">
                <a16:creationId xmlns:a16="http://schemas.microsoft.com/office/drawing/2014/main" id="{5760C257-E18E-0C57-A2B3-1855C9A112B4}"/>
              </a:ext>
            </a:extLst>
          </p:cNvPr>
          <p:cNvSpPr>
            <a:spLocks noGrp="1"/>
          </p:cNvSpPr>
          <p:nvPr>
            <p:ph sz="quarter" idx="13" hasCustomPrompt="1"/>
          </p:nvPr>
        </p:nvSpPr>
        <p:spPr>
          <a:xfrm>
            <a:off x="6107906" y="2209800"/>
            <a:ext cx="5448300" cy="373062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12171574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u 14">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0AC50D-D186-386E-E1ED-22500087EC89}"/>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1">
            <a:extLst>
              <a:ext uri="{FF2B5EF4-FFF2-40B4-BE49-F238E27FC236}">
                <a16:creationId xmlns:a16="http://schemas.microsoft.com/office/drawing/2014/main" id="{9F8FA2F0-17CC-13B6-D9BB-EF1569D0E2BC}"/>
              </a:ext>
            </a:extLst>
          </p:cNvPr>
          <p:cNvSpPr/>
          <p:nvPr/>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905000" y="2133600"/>
            <a:ext cx="4495800" cy="457200"/>
          </a:xfrm>
          <a:prstGeom prst="rect">
            <a:avLst/>
          </a:prstGeom>
        </p:spPr>
        <p:txBody>
          <a:bodyPr lIns="0" tIns="0" rIns="0" bIns="0"/>
          <a:lstStyle>
            <a:lvl1pPr>
              <a:spcAft>
                <a:spcPts val="1200"/>
              </a:spcAft>
              <a:defRPr sz="1500" b="1" cap="all" baseline="0">
                <a:solidFill>
                  <a:schemeClr val="accent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itre du tableau – Lorem ipsum</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
        <p:nvSpPr>
          <p:cNvPr id="5" name="Content Placeholder 6">
            <a:extLst>
              <a:ext uri="{FF2B5EF4-FFF2-40B4-BE49-F238E27FC236}">
                <a16:creationId xmlns:a16="http://schemas.microsoft.com/office/drawing/2014/main" id="{74FDEFC3-36D7-BB11-D9F7-FD40363CB96C}"/>
              </a:ext>
            </a:extLst>
          </p:cNvPr>
          <p:cNvSpPr>
            <a:spLocks noGrp="1"/>
          </p:cNvSpPr>
          <p:nvPr>
            <p:ph sz="quarter" idx="13" hasCustomPrompt="1"/>
          </p:nvPr>
        </p:nvSpPr>
        <p:spPr>
          <a:xfrm>
            <a:off x="1904998" y="2524125"/>
            <a:ext cx="7848601" cy="3419475"/>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Contenu (graphique, tableau, photo etc.)</a:t>
            </a:r>
          </a:p>
        </p:txBody>
      </p:sp>
    </p:spTree>
    <p:extLst>
      <p:ext uri="{BB962C8B-B14F-4D97-AF65-F5344CB8AC3E}">
        <p14:creationId xmlns:p14="http://schemas.microsoft.com/office/powerpoint/2010/main" val="27554630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u 17">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9822B272-56D4-376E-9B19-E916A2E6D062}"/>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A67D1A14-5702-2D95-24DD-C7EE02F356CE}"/>
              </a:ext>
            </a:extLst>
          </p:cNvPr>
          <p:cNvSpPr/>
          <p:nvPr userDrawn="1"/>
        </p:nvSpPr>
        <p:spPr>
          <a:xfrm>
            <a:off x="0" y="304801"/>
            <a:ext cx="12192000" cy="6546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raphic 6">
            <a:extLst>
              <a:ext uri="{FF2B5EF4-FFF2-40B4-BE49-F238E27FC236}">
                <a16:creationId xmlns:a16="http://schemas.microsoft.com/office/drawing/2014/main" id="{696FCC50-75C6-CFE3-4681-232893F38E3C}"/>
              </a:ext>
            </a:extLst>
          </p:cNvPr>
          <p:cNvSpPr/>
          <p:nvPr/>
        </p:nvSpPr>
        <p:spPr>
          <a:xfrm>
            <a:off x="609807" y="1972348"/>
            <a:ext cx="11855285" cy="4878456"/>
          </a:xfrm>
          <a:custGeom>
            <a:avLst/>
            <a:gdLst>
              <a:gd name="connsiteX0" fmla="*/ 11855285 w 11855285"/>
              <a:gd name="connsiteY0" fmla="*/ 4878457 h 4878456"/>
              <a:gd name="connsiteX1" fmla="*/ 9822214 w 11855285"/>
              <a:gd name="connsiteY1" fmla="*/ 793512 h 4878456"/>
              <a:gd name="connsiteX2" fmla="*/ 8686829 w 11855285"/>
              <a:gd name="connsiteY2" fmla="*/ 0 h 4878456"/>
              <a:gd name="connsiteX3" fmla="*/ 1209070 w 11855285"/>
              <a:gd name="connsiteY3" fmla="*/ 0 h 4878456"/>
              <a:gd name="connsiteX4" fmla="*/ 0 w 11855285"/>
              <a:gd name="connsiteY4" fmla="*/ 1209070 h 4878456"/>
              <a:gd name="connsiteX5" fmla="*/ 0 w 11855285"/>
              <a:gd name="connsiteY5" fmla="*/ 4878457 h 4878456"/>
              <a:gd name="connsiteX6" fmla="*/ 11855285 w 11855285"/>
              <a:gd name="connsiteY6" fmla="*/ 4878457 h 48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55285" h="4878456">
                <a:moveTo>
                  <a:pt x="11855285" y="4878457"/>
                </a:moveTo>
                <a:lnTo>
                  <a:pt x="9822214" y="793512"/>
                </a:lnTo>
                <a:cubicBezTo>
                  <a:pt x="9583881" y="318878"/>
                  <a:pt x="9194240" y="0"/>
                  <a:pt x="8686829" y="0"/>
                </a:cubicBezTo>
                <a:lnTo>
                  <a:pt x="1209070" y="0"/>
                </a:lnTo>
                <a:cubicBezTo>
                  <a:pt x="541331" y="0"/>
                  <a:pt x="0" y="541331"/>
                  <a:pt x="0" y="1209070"/>
                </a:cubicBezTo>
                <a:lnTo>
                  <a:pt x="0" y="4878457"/>
                </a:lnTo>
                <a:lnTo>
                  <a:pt x="11855285" y="4878457"/>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7010400" cy="1325563"/>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a:t>
            </a:r>
            <a:br>
              <a:rPr lang="en-US"/>
            </a:br>
            <a:r>
              <a:rPr lang="en-US"/>
              <a:t>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723900" y="6324600"/>
            <a:ext cx="96012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1371600" y="2665759"/>
            <a:ext cx="8305800" cy="3197352"/>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pic>
        <p:nvPicPr>
          <p:cNvPr id="8" name="Picture 7">
            <a:extLst>
              <a:ext uri="{FF2B5EF4-FFF2-40B4-BE49-F238E27FC236}">
                <a16:creationId xmlns:a16="http://schemas.microsoft.com/office/drawing/2014/main" id="{E3F201F9-3649-DDC9-0940-99B5483AE45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8506" y="533400"/>
            <a:ext cx="647700" cy="649737"/>
          </a:xfrm>
          <a:prstGeom prst="rect">
            <a:avLst/>
          </a:prstGeom>
        </p:spPr>
      </p:pic>
    </p:spTree>
    <p:extLst>
      <p:ext uri="{BB962C8B-B14F-4D97-AF65-F5344CB8AC3E}">
        <p14:creationId xmlns:p14="http://schemas.microsoft.com/office/powerpoint/2010/main" val="20480344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u 20">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60960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4619624" cy="1905000"/>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0" name="Text Placeholder 14">
            <a:extLst>
              <a:ext uri="{FF2B5EF4-FFF2-40B4-BE49-F238E27FC236}">
                <a16:creationId xmlns:a16="http://schemas.microsoft.com/office/drawing/2014/main" id="{1CF310E3-AC2A-F1A5-62E8-4B80F4F9C3AF}"/>
              </a:ext>
            </a:extLst>
          </p:cNvPr>
          <p:cNvSpPr>
            <a:spLocks noGrp="1"/>
          </p:cNvSpPr>
          <p:nvPr>
            <p:ph type="body" sz="quarter" idx="13" hasCustomPrompt="1"/>
          </p:nvPr>
        </p:nvSpPr>
        <p:spPr>
          <a:xfrm>
            <a:off x="638176" y="2438400"/>
            <a:ext cx="4876800" cy="3217069"/>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Tree>
    <p:extLst>
      <p:ext uri="{BB962C8B-B14F-4D97-AF65-F5344CB8AC3E}">
        <p14:creationId xmlns:p14="http://schemas.microsoft.com/office/powerpoint/2010/main" val="29924704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u 21">
    <p:bg>
      <p:bgPr>
        <a:solidFill>
          <a:schemeClr val="tx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7DC475BB-C2E6-4ACA-C29A-6D5A6DB4DA04}"/>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bg2"/>
          </a:solidFill>
          <a:ln w="8096" cap="flat">
            <a:noFill/>
            <a:prstDash val="solid"/>
            <a:miter/>
          </a:ln>
        </p:spPr>
        <p:txBody>
          <a:bodyPr rtlCol="0" anchor="ctr"/>
          <a:lstStyle/>
          <a:p>
            <a:endParaRPr lang="en-US"/>
          </a:p>
        </p:txBody>
      </p:sp>
      <p:sp>
        <p:nvSpPr>
          <p:cNvPr id="6" name="Graphic 6">
            <a:extLst>
              <a:ext uri="{FF2B5EF4-FFF2-40B4-BE49-F238E27FC236}">
                <a16:creationId xmlns:a16="http://schemas.microsoft.com/office/drawing/2014/main" id="{2250C2EB-0DC3-D699-00ED-4F4CB4C0E6E3}"/>
              </a:ext>
            </a:extLst>
          </p:cNvPr>
          <p:cNvSpPr/>
          <p:nvPr userDrawn="1"/>
        </p:nvSpPr>
        <p:spPr>
          <a:xfrm>
            <a:off x="60960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5" name="Graphic 11">
            <a:extLst>
              <a:ext uri="{FF2B5EF4-FFF2-40B4-BE49-F238E27FC236}">
                <a16:creationId xmlns:a16="http://schemas.microsoft.com/office/drawing/2014/main" id="{346F50D4-73EF-EB89-B131-9EF34877463B}"/>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4619624" cy="1828800"/>
          </a:xfrm>
          <a:prstGeom prst="rect">
            <a:avLst/>
          </a:prstGeom>
        </p:spPr>
        <p:txBody>
          <a:bodyPr lIns="0" tIns="0" rIns="0" bIns="0" anchor="t" anchorCtr="0">
            <a:noAutofit/>
          </a:bodyPr>
          <a:lstStyle>
            <a:lvl1pPr>
              <a:lnSpc>
                <a:spcPct val="90000"/>
              </a:lnSpc>
              <a:defRPr sz="3600">
                <a:solidFill>
                  <a:schemeClr val="tx2"/>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9715500" cy="365125"/>
          </a:xfrm>
          <a:prstGeom prst="rect">
            <a:avLst/>
          </a:prstGeom>
        </p:spPr>
        <p:txBody>
          <a:bodyPr lIns="0" tIns="0" rIns="0" bIns="0" anchor="ctr" anchorCtr="0"/>
          <a:lstStyle>
            <a:lvl1pPr>
              <a:lnSpc>
                <a:spcPct val="90000"/>
              </a:lnSpc>
              <a:defRPr sz="1100">
                <a:solidFill>
                  <a:schemeClr val="tx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0" name="Text Placeholder 14">
            <a:extLst>
              <a:ext uri="{FF2B5EF4-FFF2-40B4-BE49-F238E27FC236}">
                <a16:creationId xmlns:a16="http://schemas.microsoft.com/office/drawing/2014/main" id="{1CF310E3-AC2A-F1A5-62E8-4B80F4F9C3AF}"/>
              </a:ext>
            </a:extLst>
          </p:cNvPr>
          <p:cNvSpPr>
            <a:spLocks noGrp="1"/>
          </p:cNvSpPr>
          <p:nvPr>
            <p:ph type="body" sz="quarter" idx="13" hasCustomPrompt="1"/>
          </p:nvPr>
        </p:nvSpPr>
        <p:spPr>
          <a:xfrm>
            <a:off x="638176" y="2362200"/>
            <a:ext cx="4876800" cy="3293269"/>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Tree>
    <p:extLst>
      <p:ext uri="{BB962C8B-B14F-4D97-AF65-F5344CB8AC3E}">
        <p14:creationId xmlns:p14="http://schemas.microsoft.com/office/powerpoint/2010/main" val="3674234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u 23">
    <p:bg>
      <p:bgPr>
        <a:solidFill>
          <a:schemeClr val="tx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5020C78-373B-A1DE-039A-67B10DE498EA}"/>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2"/>
          </a:solidFill>
          <a:ln w="8096" cap="flat">
            <a:noFill/>
            <a:prstDash val="solid"/>
            <a:miter/>
          </a:ln>
        </p:spPr>
        <p:txBody>
          <a:bodyPr rtlCol="0" anchor="ctr"/>
          <a:lstStyle/>
          <a:p>
            <a:endParaRPr lang="en-US"/>
          </a:p>
        </p:txBody>
      </p:sp>
      <p:sp>
        <p:nvSpPr>
          <p:cNvPr id="13" name="Graphic 6">
            <a:extLst>
              <a:ext uri="{FF2B5EF4-FFF2-40B4-BE49-F238E27FC236}">
                <a16:creationId xmlns:a16="http://schemas.microsoft.com/office/drawing/2014/main" id="{58BEA268-577D-5ECB-1E8C-9954A3D69468}"/>
              </a:ext>
            </a:extLst>
          </p:cNvPr>
          <p:cNvSpPr/>
          <p:nvPr userDrawn="1"/>
        </p:nvSpPr>
        <p:spPr>
          <a:xfrm>
            <a:off x="41148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6" name="Graphic 6">
            <a:extLst>
              <a:ext uri="{FF2B5EF4-FFF2-40B4-BE49-F238E27FC236}">
                <a16:creationId xmlns:a16="http://schemas.microsoft.com/office/drawing/2014/main" id="{29FE4D8F-2BA6-4A80-F366-D816A24160F4}"/>
              </a:ext>
            </a:extLst>
          </p:cNvPr>
          <p:cNvSpPr/>
          <p:nvPr userDrawn="1"/>
        </p:nvSpPr>
        <p:spPr>
          <a:xfrm>
            <a:off x="6098438"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12" name="Graphic 11">
            <a:extLst>
              <a:ext uri="{FF2B5EF4-FFF2-40B4-BE49-F238E27FC236}">
                <a16:creationId xmlns:a16="http://schemas.microsoft.com/office/drawing/2014/main" id="{F2E119B9-F725-3628-1100-F34CA210B02D}"/>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38176" y="533400"/>
            <a:ext cx="3171824" cy="1905000"/>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saet amette</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4800600" y="990600"/>
            <a:ext cx="6753224"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8" name="Picture Placeholder 7">
            <a:extLst>
              <a:ext uri="{FF2B5EF4-FFF2-40B4-BE49-F238E27FC236}">
                <a16:creationId xmlns:a16="http://schemas.microsoft.com/office/drawing/2014/main" id="{06039153-F838-D3B4-2E0D-D037172D2184}"/>
              </a:ext>
            </a:extLst>
          </p:cNvPr>
          <p:cNvSpPr>
            <a:spLocks noGrp="1"/>
          </p:cNvSpPr>
          <p:nvPr>
            <p:ph type="pic" sz="quarter" idx="13" hasCustomPrompt="1"/>
          </p:nvPr>
        </p:nvSpPr>
        <p:spPr>
          <a:xfrm>
            <a:off x="638175" y="2590800"/>
            <a:ext cx="3171825" cy="3276600"/>
          </a:xfrm>
          <a:prstGeom prst="rect">
            <a:avLst/>
          </a:prstGeom>
        </p:spPr>
        <p:txBody>
          <a:bodyPr lIns="0" tIns="0" rIns="0" bIns="0" anchor="ctr" anchorCtr="0"/>
          <a:lstStyle>
            <a:lvl1pPr algn="ctr">
              <a:defRPr sz="1400">
                <a:solidFill>
                  <a:schemeClr val="tx1"/>
                </a:solidFill>
              </a:defRPr>
            </a:lvl1pPr>
          </a:lstStyle>
          <a:p>
            <a:r>
              <a:rPr lang="en-US"/>
              <a:t>Insérez une photo</a:t>
            </a:r>
          </a:p>
        </p:txBody>
      </p:sp>
    </p:spTree>
    <p:extLst>
      <p:ext uri="{BB962C8B-B14F-4D97-AF65-F5344CB8AC3E}">
        <p14:creationId xmlns:p14="http://schemas.microsoft.com/office/powerpoint/2010/main" val="6244945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u 25">
    <p:bg>
      <p:bgPr>
        <a:solidFill>
          <a:schemeClr val="tx2"/>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2DDB0CA7-7F7A-547A-89FB-CC9336A63BC8}"/>
              </a:ext>
            </a:extLst>
          </p:cNvPr>
          <p:cNvSpPr/>
          <p:nvPr userDrawn="1"/>
        </p:nvSpPr>
        <p:spPr>
          <a:xfrm>
            <a:off x="-1" y="1"/>
            <a:ext cx="11367133" cy="6858000"/>
          </a:xfrm>
          <a:custGeom>
            <a:avLst/>
            <a:gdLst>
              <a:gd name="connsiteX0" fmla="*/ 0 w 7246548"/>
              <a:gd name="connsiteY0" fmla="*/ 4371975 h 4371975"/>
              <a:gd name="connsiteX1" fmla="*/ 0 w 7246548"/>
              <a:gd name="connsiteY1" fmla="*/ 0 h 4371975"/>
              <a:gd name="connsiteX2" fmla="*/ 5090517 w 7246548"/>
              <a:gd name="connsiteY2" fmla="*/ 0 h 4371975"/>
              <a:gd name="connsiteX3" fmla="*/ 7246549 w 7246548"/>
              <a:gd name="connsiteY3" fmla="*/ 4371975 h 4371975"/>
            </a:gdLst>
            <a:ahLst/>
            <a:cxnLst>
              <a:cxn ang="0">
                <a:pos x="connsiteX0" y="connsiteY0"/>
              </a:cxn>
              <a:cxn ang="0">
                <a:pos x="connsiteX1" y="connsiteY1"/>
              </a:cxn>
              <a:cxn ang="0">
                <a:pos x="connsiteX2" y="connsiteY2"/>
              </a:cxn>
              <a:cxn ang="0">
                <a:pos x="connsiteX3" y="connsiteY3"/>
              </a:cxn>
            </a:cxnLst>
            <a:rect l="l" t="t" r="r" b="b"/>
            <a:pathLst>
              <a:path w="7246548" h="4371975">
                <a:moveTo>
                  <a:pt x="0" y="4371975"/>
                </a:moveTo>
                <a:lnTo>
                  <a:pt x="0" y="0"/>
                </a:lnTo>
                <a:lnTo>
                  <a:pt x="5090517" y="0"/>
                </a:lnTo>
                <a:lnTo>
                  <a:pt x="7246549" y="4371975"/>
                </a:lnTo>
                <a:close/>
              </a:path>
            </a:pathLst>
          </a:custGeom>
          <a:solidFill>
            <a:schemeClr val="accent1"/>
          </a:solidFill>
          <a:ln w="8096" cap="flat">
            <a:noFill/>
            <a:prstDash val="solid"/>
            <a:miter/>
          </a:ln>
        </p:spPr>
        <p:txBody>
          <a:bodyPr rtlCol="0" anchor="ctr"/>
          <a:lstStyle/>
          <a:p>
            <a:endParaRPr lang="en-US"/>
          </a:p>
        </p:txBody>
      </p:sp>
      <p:sp>
        <p:nvSpPr>
          <p:cNvPr id="8" name="Graphic 6">
            <a:extLst>
              <a:ext uri="{FF2B5EF4-FFF2-40B4-BE49-F238E27FC236}">
                <a16:creationId xmlns:a16="http://schemas.microsoft.com/office/drawing/2014/main" id="{FB028EC3-F568-199F-7F1B-2BCB9C6AAC43}"/>
              </a:ext>
            </a:extLst>
          </p:cNvPr>
          <p:cNvSpPr/>
          <p:nvPr/>
        </p:nvSpPr>
        <p:spPr>
          <a:xfrm>
            <a:off x="6096000" y="304800"/>
            <a:ext cx="6096000" cy="6553200"/>
          </a:xfrm>
          <a:custGeom>
            <a:avLst/>
            <a:gdLst>
              <a:gd name="connsiteX0" fmla="*/ 6096000 w 6096000"/>
              <a:gd name="connsiteY0" fmla="*/ 0 h 6553200"/>
              <a:gd name="connsiteX1" fmla="*/ 914400 w 6096000"/>
              <a:gd name="connsiteY1" fmla="*/ 0 h 6553200"/>
              <a:gd name="connsiteX2" fmla="*/ 0 w 6096000"/>
              <a:gd name="connsiteY2" fmla="*/ 914400 h 6553200"/>
              <a:gd name="connsiteX3" fmla="*/ 0 w 6096000"/>
              <a:gd name="connsiteY3" fmla="*/ 6553200 h 6553200"/>
              <a:gd name="connsiteX4" fmla="*/ 6096000 w 6096000"/>
              <a:gd name="connsiteY4" fmla="*/ 6553200 h 6553200"/>
              <a:gd name="connsiteX5" fmla="*/ 6096000 w 6096000"/>
              <a:gd name="connsiteY5" fmla="*/ 0 h 65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553200">
                <a:moveTo>
                  <a:pt x="6096000" y="0"/>
                </a:moveTo>
                <a:lnTo>
                  <a:pt x="914400" y="0"/>
                </a:lnTo>
                <a:cubicBezTo>
                  <a:pt x="409321" y="0"/>
                  <a:pt x="0" y="409321"/>
                  <a:pt x="0" y="914400"/>
                </a:cubicBezTo>
                <a:lnTo>
                  <a:pt x="0" y="6553200"/>
                </a:lnTo>
                <a:lnTo>
                  <a:pt x="6096000" y="6553200"/>
                </a:lnTo>
                <a:lnTo>
                  <a:pt x="6096000" y="0"/>
                </a:lnTo>
                <a:close/>
              </a:path>
            </a:pathLst>
          </a:custGeom>
          <a:solidFill>
            <a:srgbClr val="FFFFFF"/>
          </a:solidFill>
          <a:ln w="12700" cap="flat">
            <a:noFill/>
            <a:prstDash val="solid"/>
            <a:miter/>
          </a:ln>
        </p:spPr>
        <p:txBody>
          <a:bodyPr rtlCol="0" anchor="ctr"/>
          <a:lstStyle/>
          <a:p>
            <a:endParaRPr lang="en-US"/>
          </a:p>
        </p:txBody>
      </p:sp>
      <p:sp>
        <p:nvSpPr>
          <p:cNvPr id="5" name="Graphic 11">
            <a:extLst>
              <a:ext uri="{FF2B5EF4-FFF2-40B4-BE49-F238E27FC236}">
                <a16:creationId xmlns:a16="http://schemas.microsoft.com/office/drawing/2014/main" id="{C4A16EB3-31FA-0847-9D63-FF70CF470B3F}"/>
              </a:ext>
            </a:extLst>
          </p:cNvPr>
          <p:cNvSpPr/>
          <p:nvPr userDrawn="1"/>
        </p:nvSpPr>
        <p:spPr>
          <a:xfrm>
            <a:off x="11011789" y="6248400"/>
            <a:ext cx="1180210" cy="609600"/>
          </a:xfrm>
          <a:custGeom>
            <a:avLst/>
            <a:gdLst>
              <a:gd name="connsiteX0" fmla="*/ 1180211 w 1180210"/>
              <a:gd name="connsiteY0" fmla="*/ 0 h 609600"/>
              <a:gd name="connsiteX1" fmla="*/ 496316 w 1180210"/>
              <a:gd name="connsiteY1" fmla="*/ 0 h 609600"/>
              <a:gd name="connsiteX2" fmla="*/ 200406 w 1180210"/>
              <a:gd name="connsiteY2" fmla="*/ 206883 h 609600"/>
              <a:gd name="connsiteX3" fmla="*/ 0 w 1180210"/>
              <a:gd name="connsiteY3" fmla="*/ 609600 h 609600"/>
              <a:gd name="connsiteX4" fmla="*/ 1180211 w 1180210"/>
              <a:gd name="connsiteY4" fmla="*/ 609600 h 609600"/>
              <a:gd name="connsiteX5" fmla="*/ 1180211 w 118021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10" h="609600">
                <a:moveTo>
                  <a:pt x="1180211" y="0"/>
                </a:moveTo>
                <a:lnTo>
                  <a:pt x="496316" y="0"/>
                </a:lnTo>
                <a:cubicBezTo>
                  <a:pt x="363982" y="0"/>
                  <a:pt x="262509" y="83058"/>
                  <a:pt x="200406" y="206883"/>
                </a:cubicBezTo>
                <a:lnTo>
                  <a:pt x="0" y="609600"/>
                </a:lnTo>
                <a:lnTo>
                  <a:pt x="1180211" y="609600"/>
                </a:lnTo>
                <a:lnTo>
                  <a:pt x="1180211" y="0"/>
                </a:lnTo>
                <a:close/>
              </a:path>
            </a:pathLst>
          </a:custGeom>
          <a:solidFill>
            <a:schemeClr val="bg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533400"/>
            <a:ext cx="4648200" cy="1325563"/>
          </a:xfrm>
          <a:prstGeom prst="rect">
            <a:avLst/>
          </a:prstGeom>
        </p:spPr>
        <p:txBody>
          <a:bodyPr lIns="0" tIns="0" rIns="0" bIns="0" anchor="t" anchorCtr="0">
            <a:noAutofit/>
          </a:bodyPr>
          <a:lstStyle>
            <a:lvl1pPr>
              <a:lnSpc>
                <a:spcPct val="90000"/>
              </a:lnSpc>
              <a:defRPr sz="3600">
                <a:solidFill>
                  <a:schemeClr val="bg1"/>
                </a:solidFill>
              </a:defRPr>
            </a:lvl1pPr>
          </a:lstStyle>
          <a:p>
            <a:r>
              <a:rPr lang="en-US"/>
              <a:t>Loremme dela ipsum odlor lorem</a:t>
            </a:r>
          </a:p>
        </p:txBody>
      </p:sp>
      <p:sp>
        <p:nvSpPr>
          <p:cNvPr id="3" name="Footer Placeholder 2">
            <a:extLst>
              <a:ext uri="{FF2B5EF4-FFF2-40B4-BE49-F238E27FC236}">
                <a16:creationId xmlns:a16="http://schemas.microsoft.com/office/drawing/2014/main" id="{295D93D0-DA22-9851-66FA-830456EE290D}"/>
              </a:ext>
            </a:extLst>
          </p:cNvPr>
          <p:cNvSpPr>
            <a:spLocks noGrp="1"/>
          </p:cNvSpPr>
          <p:nvPr>
            <p:ph type="ftr" sz="quarter" idx="10"/>
          </p:nvPr>
        </p:nvSpPr>
        <p:spPr>
          <a:xfrm>
            <a:off x="609600" y="6324600"/>
            <a:ext cx="5257800" cy="365125"/>
          </a:xfrm>
          <a:prstGeom prst="rect">
            <a:avLst/>
          </a:prstGeom>
        </p:spPr>
        <p:txBody>
          <a:bodyPr lIns="0" tIns="0" rIns="0" bIns="0" anchor="ctr" anchorCtr="0"/>
          <a:lstStyle>
            <a:lvl1pPr>
              <a:lnSpc>
                <a:spcPct val="90000"/>
              </a:lnSpc>
              <a:defRPr sz="1100">
                <a:solidFill>
                  <a:schemeClr val="bg1"/>
                </a:solidFill>
              </a:defRPr>
            </a:lvl1p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82F7D71D-DC0E-4600-5788-E7367756C1D2}"/>
              </a:ext>
            </a:extLst>
          </p:cNvPr>
          <p:cNvSpPr>
            <a:spLocks noGrp="1"/>
          </p:cNvSpPr>
          <p:nvPr>
            <p:ph type="sldNum" sz="quarter" idx="11"/>
          </p:nvPr>
        </p:nvSpPr>
        <p:spPr>
          <a:xfrm>
            <a:off x="11455398" y="6442075"/>
            <a:ext cx="736601" cy="365125"/>
          </a:xfrm>
          <a:prstGeom prst="rect">
            <a:avLst/>
          </a:prstGeom>
        </p:spPr>
        <p:txBody>
          <a:bodyPr lIns="0" tIns="0" rIns="0" bIns="0"/>
          <a:lstStyle>
            <a:lvl1pPr algn="l">
              <a:defRPr sz="1200" b="1">
                <a:solidFill>
                  <a:schemeClr val="tx1"/>
                </a:solidFill>
              </a:defRPr>
            </a:lvl1pPr>
          </a:lstStyle>
          <a:p>
            <a:fld id="{91882AA3-08DC-0043-8CA8-8CA69DA2397E}" type="slidenum">
              <a:rPr lang="en-US"/>
              <a:pPr/>
              <a:t>‹n°›</a:t>
            </a:fld>
            <a:endParaRPr lang="en-US"/>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lstStyle>
            <a:lvl1pPr>
              <a:spcAft>
                <a:spcPts val="1200"/>
              </a:spcAft>
              <a:defRPr>
                <a:solidFill>
                  <a:schemeClr val="tx1"/>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tx1"/>
              </a:buClr>
              <a:buFont typeface="System Font Regular"/>
              <a:buChar char="−"/>
              <a:defRPr>
                <a:solidFill>
                  <a:schemeClr val="tx1"/>
                </a:solidFill>
              </a:defRPr>
            </a:lvl3pPr>
            <a:lvl4pPr marL="1371600" indent="-228600">
              <a:spcAft>
                <a:spcPts val="1200"/>
              </a:spcAft>
              <a:buClr>
                <a:schemeClr val="tx1"/>
              </a:buClr>
              <a:buFont typeface="Arial" panose="020B0604020202020204" pitchFamily="34" charset="0"/>
              <a:buChar char="•"/>
              <a:defRPr>
                <a:solidFill>
                  <a:schemeClr val="tx1"/>
                </a:solidFill>
              </a:defRPr>
            </a:lvl4pPr>
            <a:lvl5pPr marL="1828800" indent="-228600">
              <a:spcAft>
                <a:spcPts val="1200"/>
              </a:spcAft>
              <a:buClr>
                <a:schemeClr val="tx1"/>
              </a:buClr>
              <a:buFont typeface="Arial" panose="020B0604020202020204" pitchFamily="34" charset="0"/>
              <a:buChar char="•"/>
              <a:defRPr>
                <a:solidFill>
                  <a:schemeClr val="tx1"/>
                </a:solidFill>
              </a:defRPr>
            </a:lvl5pPr>
          </a:lstStyle>
          <a:p>
            <a:pPr lvl="0"/>
            <a:r>
              <a:rPr lang="en-US"/>
              <a:t>Texte courant</a:t>
            </a:r>
          </a:p>
          <a:p>
            <a:pPr lvl="1"/>
            <a:r>
              <a:rPr lang="en-US"/>
              <a:t>Premier niveau</a:t>
            </a:r>
          </a:p>
          <a:p>
            <a:pPr lvl="2"/>
            <a:r>
              <a:rPr lang="en-US"/>
              <a:t>Deuxième</a:t>
            </a:r>
          </a:p>
          <a:p>
            <a:pPr lvl="3"/>
            <a:r>
              <a:rPr lang="en-US"/>
              <a:t>Troisième</a:t>
            </a:r>
          </a:p>
        </p:txBody>
      </p:sp>
      <p:sp>
        <p:nvSpPr>
          <p:cNvPr id="12" name="Picture Placeholder 11">
            <a:extLst>
              <a:ext uri="{FF2B5EF4-FFF2-40B4-BE49-F238E27FC236}">
                <a16:creationId xmlns:a16="http://schemas.microsoft.com/office/drawing/2014/main" id="{7F9FC480-B76A-0942-547A-6AADC58C52EF}"/>
              </a:ext>
            </a:extLst>
          </p:cNvPr>
          <p:cNvSpPr>
            <a:spLocks noGrp="1"/>
          </p:cNvSpPr>
          <p:nvPr>
            <p:ph type="pic" sz="quarter" idx="13" hasCustomPrompt="1"/>
          </p:nvPr>
        </p:nvSpPr>
        <p:spPr>
          <a:xfrm>
            <a:off x="609600" y="2209800"/>
            <a:ext cx="4876800" cy="3886200"/>
          </a:xfrm>
          <a:prstGeom prst="rect">
            <a:avLst/>
          </a:prstGeom>
        </p:spPr>
        <p:txBody>
          <a:bodyPr anchor="ctr" anchorCtr="0"/>
          <a:lstStyle>
            <a:lvl1pPr algn="ctr">
              <a:defRPr sz="1100">
                <a:solidFill>
                  <a:schemeClr val="tx1"/>
                </a:solidFill>
              </a:defRPr>
            </a:lvl1pPr>
          </a:lstStyle>
          <a:p>
            <a:r>
              <a:rPr lang="en-US"/>
              <a:t>Insérer une photo</a:t>
            </a:r>
          </a:p>
        </p:txBody>
      </p:sp>
    </p:spTree>
    <p:extLst>
      <p:ext uri="{BB962C8B-B14F-4D97-AF65-F5344CB8AC3E}">
        <p14:creationId xmlns:p14="http://schemas.microsoft.com/office/powerpoint/2010/main" val="33414694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BB0E82-8581-52E5-D583-1F9234E1501E}"/>
              </a:ext>
            </a:extLst>
          </p:cNvPr>
          <p:cNvSpPr/>
          <p:nvPr userDrawn="1"/>
        </p:nvSpPr>
        <p:spPr>
          <a:xfrm>
            <a:off x="0" y="304801"/>
            <a:ext cx="12192000" cy="62483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Graphic 8">
            <a:extLst>
              <a:ext uri="{FF2B5EF4-FFF2-40B4-BE49-F238E27FC236}">
                <a16:creationId xmlns:a16="http://schemas.microsoft.com/office/drawing/2014/main" id="{C8F13F1D-A61E-EA85-82A8-AE76338D1291}"/>
              </a:ext>
            </a:extLst>
          </p:cNvPr>
          <p:cNvSpPr/>
          <p:nvPr/>
        </p:nvSpPr>
        <p:spPr>
          <a:xfrm>
            <a:off x="0" y="0"/>
            <a:ext cx="5410200" cy="6858000"/>
          </a:xfrm>
          <a:custGeom>
            <a:avLst/>
            <a:gdLst>
              <a:gd name="connsiteX0" fmla="*/ 0 w 5410200"/>
              <a:gd name="connsiteY0" fmla="*/ 0 h 6858000"/>
              <a:gd name="connsiteX1" fmla="*/ 0 w 5410200"/>
              <a:gd name="connsiteY1" fmla="*/ 6858000 h 6858000"/>
              <a:gd name="connsiteX2" fmla="*/ 1507871 w 5410200"/>
              <a:gd name="connsiteY2" fmla="*/ 6858000 h 6858000"/>
              <a:gd name="connsiteX3" fmla="*/ 1507871 w 5410200"/>
              <a:gd name="connsiteY3" fmla="*/ 5380228 h 6858000"/>
              <a:gd name="connsiteX4" fmla="*/ 5410200 w 5410200"/>
              <a:gd name="connsiteY4" fmla="*/ 5380228 h 6858000"/>
              <a:gd name="connsiteX5" fmla="*/ 5410200 w 5410200"/>
              <a:gd name="connsiteY5" fmla="*/ 1477772 h 6858000"/>
              <a:gd name="connsiteX6" fmla="*/ 1507871 w 5410200"/>
              <a:gd name="connsiteY6" fmla="*/ 1477772 h 6858000"/>
              <a:gd name="connsiteX7" fmla="*/ 1507871 w 5410200"/>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0200" h="6858000">
                <a:moveTo>
                  <a:pt x="0" y="0"/>
                </a:moveTo>
                <a:lnTo>
                  <a:pt x="0" y="6858000"/>
                </a:lnTo>
                <a:lnTo>
                  <a:pt x="1507871" y="6858000"/>
                </a:lnTo>
                <a:lnTo>
                  <a:pt x="1507871" y="5380228"/>
                </a:lnTo>
                <a:lnTo>
                  <a:pt x="5410200" y="5380228"/>
                </a:lnTo>
                <a:lnTo>
                  <a:pt x="5410200" y="1477772"/>
                </a:lnTo>
                <a:lnTo>
                  <a:pt x="1507871" y="1477772"/>
                </a:lnTo>
                <a:lnTo>
                  <a:pt x="1507871" y="0"/>
                </a:lnTo>
                <a:close/>
              </a:path>
            </a:pathLst>
          </a:custGeom>
          <a:solidFill>
            <a:schemeClr val="tx2"/>
          </a:solidFill>
          <a:ln w="1270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940ACF4-D0EB-FBB8-E753-CFE49AF9C493}"/>
              </a:ext>
            </a:extLst>
          </p:cNvPr>
          <p:cNvSpPr>
            <a:spLocks noGrp="1"/>
          </p:cNvSpPr>
          <p:nvPr>
            <p:ph type="title" hasCustomPrompt="1"/>
          </p:nvPr>
        </p:nvSpPr>
        <p:spPr>
          <a:xfrm>
            <a:off x="609600" y="1524000"/>
            <a:ext cx="4648200" cy="3810000"/>
          </a:xfrm>
          <a:prstGeom prst="rect">
            <a:avLst/>
          </a:prstGeom>
        </p:spPr>
        <p:txBody>
          <a:bodyPr lIns="0" tIns="0" rIns="0" bIns="0" anchor="ctr" anchorCtr="0">
            <a:noAutofit/>
          </a:bodyPr>
          <a:lstStyle>
            <a:lvl1pPr>
              <a:lnSpc>
                <a:spcPct val="90000"/>
              </a:lnSpc>
              <a:defRPr sz="8800">
                <a:solidFill>
                  <a:schemeClr val="bg1"/>
                </a:solidFill>
              </a:defRPr>
            </a:lvl1pPr>
          </a:lstStyle>
          <a:p>
            <a:r>
              <a:rPr lang="en-US"/>
              <a:t>Merci !</a:t>
            </a:r>
          </a:p>
        </p:txBody>
      </p:sp>
      <p:sp>
        <p:nvSpPr>
          <p:cNvPr id="15" name="Text Placeholder 14">
            <a:extLst>
              <a:ext uri="{FF2B5EF4-FFF2-40B4-BE49-F238E27FC236}">
                <a16:creationId xmlns:a16="http://schemas.microsoft.com/office/drawing/2014/main" id="{FDF5C606-7C6F-C3AD-D633-A556E050EF6C}"/>
              </a:ext>
            </a:extLst>
          </p:cNvPr>
          <p:cNvSpPr>
            <a:spLocks noGrp="1"/>
          </p:cNvSpPr>
          <p:nvPr>
            <p:ph type="body" sz="quarter" idx="12" hasCustomPrompt="1"/>
          </p:nvPr>
        </p:nvSpPr>
        <p:spPr>
          <a:xfrm>
            <a:off x="6781800" y="990600"/>
            <a:ext cx="4876800" cy="5029200"/>
          </a:xfrm>
          <a:prstGeom prst="rect">
            <a:avLst/>
          </a:prstGeom>
        </p:spPr>
        <p:txBody>
          <a:bodyPr lIns="0" tIns="0" rIns="0" bIns="0" anchor="ctr" anchorCtr="0"/>
          <a:lstStyle>
            <a:lvl1pPr>
              <a:spcAft>
                <a:spcPts val="0"/>
              </a:spcAft>
              <a:defRPr sz="4000">
                <a:solidFill>
                  <a:schemeClr val="tx2"/>
                </a:solidFill>
              </a:defRPr>
            </a:lvl1pPr>
            <a:lvl2pPr marL="457200" indent="-228600">
              <a:spcAft>
                <a:spcPts val="1200"/>
              </a:spcAft>
              <a:buClr>
                <a:schemeClr val="tx2"/>
              </a:buClr>
              <a:buFont typeface="Arial" panose="020B0604020202020204" pitchFamily="34" charset="0"/>
              <a:buChar char="•"/>
              <a:defRPr>
                <a:solidFill>
                  <a:schemeClr val="tx1"/>
                </a:solidFill>
              </a:defRPr>
            </a:lvl2pPr>
            <a:lvl3pPr marL="914400" indent="-228600">
              <a:spcAft>
                <a:spcPts val="1200"/>
              </a:spcAft>
              <a:buClr>
                <a:schemeClr val="accent2"/>
              </a:buClr>
              <a:buFont typeface="Arial" panose="020B0604020202020204" pitchFamily="34" charset="0"/>
              <a:buChar char="•"/>
              <a:defRPr>
                <a:solidFill>
                  <a:schemeClr val="tx1"/>
                </a:solidFill>
              </a:defRPr>
            </a:lvl3pPr>
            <a:lvl4pPr marL="1371600" indent="-228600">
              <a:spcAft>
                <a:spcPts val="1200"/>
              </a:spcAft>
              <a:buClr>
                <a:schemeClr val="accent4"/>
              </a:buClr>
              <a:buFont typeface="Arial" panose="020B0604020202020204" pitchFamily="34" charset="0"/>
              <a:buChar char="•"/>
              <a:defRPr>
                <a:solidFill>
                  <a:schemeClr val="tx1"/>
                </a:solidFill>
              </a:defRPr>
            </a:lvl4pPr>
            <a:lvl5pPr marL="1828800" indent="-228600">
              <a:spcAft>
                <a:spcPts val="1200"/>
              </a:spcAft>
              <a:buClr>
                <a:schemeClr val="accent1"/>
              </a:buClr>
              <a:buFont typeface="Arial" panose="020B0604020202020204" pitchFamily="34" charset="0"/>
              <a:buChar char="•"/>
              <a:defRPr>
                <a:solidFill>
                  <a:schemeClr val="tx1"/>
                </a:solidFill>
              </a:defRPr>
            </a:lvl5pPr>
          </a:lstStyle>
          <a:p>
            <a:r>
              <a:rPr lang="en-CA">
                <a:solidFill>
                  <a:srgbClr val="00A8EC"/>
                </a:solidFill>
                <a:effectLst/>
                <a:latin typeface="Arial" panose="020B0604020202020204" pitchFamily="34" charset="0"/>
              </a:rPr>
              <a:t>Questions?</a:t>
            </a:r>
          </a:p>
          <a:p>
            <a:r>
              <a:rPr lang="en-CA">
                <a:solidFill>
                  <a:srgbClr val="3963AC"/>
                </a:solidFill>
                <a:effectLst/>
                <a:latin typeface="Arial" panose="020B0604020202020204" pitchFamily="34" charset="0"/>
              </a:rPr>
              <a:t>info@aqpp.qc.ca</a:t>
            </a:r>
          </a:p>
        </p:txBody>
      </p:sp>
    </p:spTree>
    <p:extLst>
      <p:ext uri="{BB962C8B-B14F-4D97-AF65-F5344CB8AC3E}">
        <p14:creationId xmlns:p14="http://schemas.microsoft.com/office/powerpoint/2010/main" val="38964706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ous-section-1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3C30AA-EE47-DBA2-68FA-D1D46E237240}"/>
              </a:ext>
            </a:extLst>
          </p:cNvPr>
          <p:cNvSpPr>
            <a:spLocks noGrp="1"/>
          </p:cNvSpPr>
          <p:nvPr>
            <p:ph type="title" hasCustomPrompt="1"/>
          </p:nvPr>
        </p:nvSpPr>
        <p:spPr>
          <a:xfrm>
            <a:off x="4535838" y="2971800"/>
            <a:ext cx="6347847" cy="1524000"/>
          </a:xfrm>
          <a:prstGeom prst="rect">
            <a:avLst/>
          </a:prstGeom>
        </p:spPr>
        <p:txBody>
          <a:bodyPr lIns="0" tIns="0" rIns="0" bIns="0" anchor="t" anchorCtr="0"/>
          <a:lstStyle>
            <a:lvl1pPr>
              <a:lnSpc>
                <a:spcPct val="90000"/>
              </a:lnSpc>
              <a:defRPr sz="4800" baseline="0">
                <a:solidFill>
                  <a:schemeClr val="accent2"/>
                </a:solidFill>
              </a:defRPr>
            </a:lvl1pPr>
          </a:lstStyle>
          <a:p>
            <a:r>
              <a:rPr lang="en-US"/>
              <a:t>Lorem ipsum odlor</a:t>
            </a:r>
            <a:br>
              <a:rPr lang="en-US"/>
            </a:br>
            <a:r>
              <a:rPr lang="en-US"/>
              <a:t>stlen amet</a:t>
            </a:r>
          </a:p>
        </p:txBody>
      </p:sp>
      <p:sp>
        <p:nvSpPr>
          <p:cNvPr id="3" name="Text Placeholder 8">
            <a:extLst>
              <a:ext uri="{FF2B5EF4-FFF2-40B4-BE49-F238E27FC236}">
                <a16:creationId xmlns:a16="http://schemas.microsoft.com/office/drawing/2014/main" id="{6BBBDCD6-C3DA-4E6C-ABB5-9A404EC50569}"/>
              </a:ext>
            </a:extLst>
          </p:cNvPr>
          <p:cNvSpPr>
            <a:spLocks noGrp="1"/>
          </p:cNvSpPr>
          <p:nvPr>
            <p:ph type="body" sz="quarter" idx="13" hasCustomPrompt="1"/>
          </p:nvPr>
        </p:nvSpPr>
        <p:spPr>
          <a:xfrm>
            <a:off x="4572000" y="2362200"/>
            <a:ext cx="3416085" cy="512298"/>
          </a:xfrm>
          <a:prstGeom prst="rect">
            <a:avLst/>
          </a:prstGeom>
        </p:spPr>
        <p:txBody>
          <a:bodyPr lIns="0" tIns="0" rIns="0" bIns="0" anchor="t" anchorCtr="0"/>
          <a:lstStyle>
            <a:lvl1pPr algn="l">
              <a:spcAft>
                <a:spcPts val="300"/>
              </a:spcAft>
              <a:defRPr sz="2200" cap="all" baseline="0">
                <a:solidFill>
                  <a:schemeClr val="tx1"/>
                </a:solidFill>
              </a:defRPr>
            </a:lvl1pPr>
            <a:lvl2pPr marL="228600" indent="-228600" algn="l">
              <a:spcAft>
                <a:spcPts val="1200"/>
              </a:spcAft>
              <a:buFontTx/>
              <a:buBlip>
                <a:blip r:embed="rId3"/>
              </a:buBlip>
              <a:defRPr sz="1500">
                <a:solidFill>
                  <a:schemeClr val="bg1"/>
                </a:solidFill>
              </a:defRPr>
            </a:lvl2pPr>
            <a:lvl3pPr marL="685800" indent="-228600" algn="l">
              <a:spcAft>
                <a:spcPts val="1200"/>
              </a:spcAft>
              <a:buFontTx/>
              <a:buBlip>
                <a:blip r:embed="rId3"/>
              </a:buBlip>
              <a:defRPr sz="1500">
                <a:solidFill>
                  <a:schemeClr val="bg1"/>
                </a:solidFill>
              </a:defRPr>
            </a:lvl3pPr>
            <a:lvl4pPr marL="1143000" indent="-228600" algn="l">
              <a:spcAft>
                <a:spcPts val="1200"/>
              </a:spcAft>
              <a:buFontTx/>
              <a:buBlip>
                <a:blip r:embed="rId3"/>
              </a:buBlip>
              <a:defRPr sz="1500">
                <a:solidFill>
                  <a:schemeClr val="bg1"/>
                </a:solidFill>
              </a:defRPr>
            </a:lvl4pPr>
            <a:lvl5pPr marL="1600200" indent="-228600" algn="l">
              <a:spcAft>
                <a:spcPts val="1200"/>
              </a:spcAft>
              <a:buFontTx/>
              <a:buBlip>
                <a:blip r:embed="rId3"/>
              </a:buBlip>
              <a:defRPr sz="1500">
                <a:solidFill>
                  <a:schemeClr val="bg1"/>
                </a:solidFill>
              </a:defRPr>
            </a:lvl5pPr>
          </a:lstStyle>
          <a:p>
            <a:pPr lvl="0"/>
            <a:r>
              <a:rPr lang="en-US"/>
              <a:t>sous-SECTION</a:t>
            </a:r>
          </a:p>
        </p:txBody>
      </p:sp>
      <p:sp>
        <p:nvSpPr>
          <p:cNvPr id="4" name="Freeform 3">
            <a:extLst>
              <a:ext uri="{FF2B5EF4-FFF2-40B4-BE49-F238E27FC236}">
                <a16:creationId xmlns:a16="http://schemas.microsoft.com/office/drawing/2014/main" id="{1793648F-2004-840A-FDBB-9E661CE482BA}"/>
              </a:ext>
            </a:extLst>
          </p:cNvPr>
          <p:cNvSpPr/>
          <p:nvPr userDrawn="1"/>
        </p:nvSpPr>
        <p:spPr>
          <a:xfrm>
            <a:off x="0" y="0"/>
            <a:ext cx="2599054" cy="1831720"/>
          </a:xfrm>
          <a:custGeom>
            <a:avLst/>
            <a:gdLst>
              <a:gd name="connsiteX0" fmla="*/ 0 w 2599054"/>
              <a:gd name="connsiteY0" fmla="*/ 1831721 h 1831720"/>
              <a:gd name="connsiteX1" fmla="*/ 1443863 w 2599054"/>
              <a:gd name="connsiteY1" fmla="*/ 1831721 h 1831720"/>
              <a:gd name="connsiteX2" fmla="*/ 1817370 w 2599054"/>
              <a:gd name="connsiteY2" fmla="*/ 1570736 h 1831720"/>
              <a:gd name="connsiteX3" fmla="*/ 2599055 w 2599054"/>
              <a:gd name="connsiteY3" fmla="*/ 0 h 1831720"/>
              <a:gd name="connsiteX4" fmla="*/ 0 w 2599054"/>
              <a:gd name="connsiteY4" fmla="*/ 0 h 1831720"/>
              <a:gd name="connsiteX5" fmla="*/ 0 w 2599054"/>
              <a:gd name="connsiteY5" fmla="*/ 1831721 h 18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054" h="1831720">
                <a:moveTo>
                  <a:pt x="0" y="1831721"/>
                </a:moveTo>
                <a:lnTo>
                  <a:pt x="1443863" y="1831721"/>
                </a:lnTo>
                <a:cubicBezTo>
                  <a:pt x="1610741" y="1831721"/>
                  <a:pt x="1739011" y="1726819"/>
                  <a:pt x="1817370" y="1570736"/>
                </a:cubicBezTo>
                <a:lnTo>
                  <a:pt x="2599055" y="0"/>
                </a:lnTo>
                <a:lnTo>
                  <a:pt x="0" y="0"/>
                </a:lnTo>
                <a:lnTo>
                  <a:pt x="0" y="1831721"/>
                </a:lnTo>
                <a:close/>
              </a:path>
            </a:pathLst>
          </a:custGeom>
          <a:solidFill>
            <a:schemeClr val="accent2"/>
          </a:solidFill>
          <a:ln w="12700" cap="flat">
            <a:noFill/>
            <a:prstDash val="solid"/>
            <a:miter/>
          </a:ln>
        </p:spPr>
        <p:txBody>
          <a:bodyPr rtlCol="0" anchor="ctr"/>
          <a:lstStyle/>
          <a:p>
            <a:endParaRPr lang="en-US"/>
          </a:p>
        </p:txBody>
      </p:sp>
      <p:sp>
        <p:nvSpPr>
          <p:cNvPr id="9" name="Text Placeholder 8">
            <a:extLst>
              <a:ext uri="{FF2B5EF4-FFF2-40B4-BE49-F238E27FC236}">
                <a16:creationId xmlns:a16="http://schemas.microsoft.com/office/drawing/2014/main" id="{AB7AB5D2-34D8-92B6-B806-0D67E336C158}"/>
              </a:ext>
            </a:extLst>
          </p:cNvPr>
          <p:cNvSpPr>
            <a:spLocks noGrp="1"/>
          </p:cNvSpPr>
          <p:nvPr>
            <p:ph type="body" sz="quarter" idx="14" hasCustomPrompt="1"/>
          </p:nvPr>
        </p:nvSpPr>
        <p:spPr>
          <a:xfrm>
            <a:off x="0" y="1772"/>
            <a:ext cx="1752600" cy="1829948"/>
          </a:xfrm>
          <a:prstGeom prst="rect">
            <a:avLst/>
          </a:prstGeom>
        </p:spPr>
        <p:txBody>
          <a:bodyPr lIns="0" tIns="0" rIns="0" bIns="0" anchor="ctr" anchorCtr="0"/>
          <a:lstStyle>
            <a:lvl1pPr algn="ctr">
              <a:defRPr sz="5500" b="1">
                <a:solidFill>
                  <a:schemeClr val="bg1"/>
                </a:solidFill>
              </a:defRPr>
            </a:lvl1pPr>
          </a:lstStyle>
          <a:p>
            <a:pPr lvl="0"/>
            <a:r>
              <a:rPr lang="en-US"/>
              <a:t>2</a:t>
            </a:r>
          </a:p>
        </p:txBody>
      </p:sp>
    </p:spTree>
    <p:extLst>
      <p:ext uri="{BB962C8B-B14F-4D97-AF65-F5344CB8AC3E}">
        <p14:creationId xmlns:p14="http://schemas.microsoft.com/office/powerpoint/2010/main" val="29575294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88" userDrawn="1">
          <p15:clr>
            <a:srgbClr val="FBAE40"/>
          </p15:clr>
        </p15:guide>
        <p15:guide id="4" orient="horz" pos="144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theme" Target="../theme/theme2.xml"/><Relationship Id="rId8" Type="http://schemas.openxmlformats.org/officeDocument/2006/relationships/slideLayout" Target="../slideLayouts/slideLayout53.xml"/><Relationship Id="rId3" Type="http://schemas.openxmlformats.org/officeDocument/2006/relationships/slideLayout" Target="../slideLayouts/slideLayout48.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7" r:id="rId1"/>
    <p:sldLayoutId id="2147483694" r:id="rId2"/>
    <p:sldLayoutId id="2147483676" r:id="rId3"/>
    <p:sldLayoutId id="2147483697" r:id="rId4"/>
    <p:sldLayoutId id="2147483680" r:id="rId5"/>
    <p:sldLayoutId id="2147483681" r:id="rId6"/>
    <p:sldLayoutId id="2147483682" r:id="rId7"/>
    <p:sldLayoutId id="2147483678" r:id="rId8"/>
    <p:sldLayoutId id="2147483695" r:id="rId9"/>
    <p:sldLayoutId id="2147483696" r:id="rId10"/>
    <p:sldLayoutId id="2147483679" r:id="rId11"/>
    <p:sldLayoutId id="2147483683" r:id="rId12"/>
    <p:sldLayoutId id="2147483684" r:id="rId13"/>
    <p:sldLayoutId id="2147483685" r:id="rId14"/>
    <p:sldLayoutId id="2147483699" r:id="rId15"/>
    <p:sldLayoutId id="2147483700" r:id="rId16"/>
    <p:sldLayoutId id="2147483715" r:id="rId17"/>
    <p:sldLayoutId id="2147483716" r:id="rId18"/>
    <p:sldLayoutId id="2147483717" r:id="rId19"/>
    <p:sldLayoutId id="2147483686" r:id="rId20"/>
    <p:sldLayoutId id="2147483701" r:id="rId21"/>
    <p:sldLayoutId id="2147483702" r:id="rId22"/>
    <p:sldLayoutId id="2147483698" r:id="rId23"/>
    <p:sldLayoutId id="2147483703" r:id="rId24"/>
    <p:sldLayoutId id="2147483704" r:id="rId25"/>
    <p:sldLayoutId id="2147483692" r:id="rId26"/>
    <p:sldLayoutId id="2147483705" r:id="rId27"/>
    <p:sldLayoutId id="2147483706" r:id="rId28"/>
    <p:sldLayoutId id="2147483693" r:id="rId29"/>
    <p:sldLayoutId id="2147483707" r:id="rId30"/>
    <p:sldLayoutId id="2147483708" r:id="rId31"/>
    <p:sldLayoutId id="2147483687" r:id="rId32"/>
    <p:sldLayoutId id="2147483709" r:id="rId33"/>
    <p:sldLayoutId id="2147483710" r:id="rId34"/>
    <p:sldLayoutId id="2147483688" r:id="rId35"/>
    <p:sldLayoutId id="2147483711" r:id="rId36"/>
    <p:sldLayoutId id="2147483689" r:id="rId37"/>
    <p:sldLayoutId id="2147483712" r:id="rId38"/>
    <p:sldLayoutId id="2147483713" r:id="rId39"/>
    <p:sldLayoutId id="2147483714" r:id="rId40"/>
    <p:sldLayoutId id="2147483690" r:id="rId41"/>
    <p:sldLayoutId id="2147483691" r:id="rId42"/>
    <p:sldLayoutId id="2147483718" r:id="rId43"/>
    <p:sldLayoutId id="2147483719" r:id="rId44"/>
    <p:sldLayoutId id="2147483777" r:id="rId45"/>
  </p:sldLayoutIdLst>
  <p:hf hd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087178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2" r:id="rId31"/>
    <p:sldLayoutId id="2147483756" r:id="rId32"/>
    <p:sldLayoutId id="2147483758" r:id="rId33"/>
    <p:sldLayoutId id="2147483761" r:id="rId34"/>
    <p:sldLayoutId id="2147483762" r:id="rId35"/>
    <p:sldLayoutId id="2147483764" r:id="rId36"/>
    <p:sldLayoutId id="2147483767" r:id="rId37"/>
    <p:sldLayoutId id="2147483770" r:id="rId38"/>
    <p:sldLayoutId id="2147483771" r:id="rId39"/>
    <p:sldLayoutId id="2147483773" r:id="rId40"/>
    <p:sldLayoutId id="2147483775" r:id="rId41"/>
    <p:sldLayoutId id="2147483776" r:id="rId42"/>
  </p:sldLayoutIdLst>
  <p:hf hd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notesSlide" Target="../notesSlides/notesSlide6.xml"/><Relationship Id="rId26" Type="http://schemas.openxmlformats.org/officeDocument/2006/relationships/diagramQuickStyle" Target="../diagrams/quickStyle3.xml"/><Relationship Id="rId3" Type="http://schemas.openxmlformats.org/officeDocument/2006/relationships/tags" Target="../tags/tag39.xml"/><Relationship Id="rId21" Type="http://schemas.openxmlformats.org/officeDocument/2006/relationships/diagramQuickStyle" Target="../diagrams/quickStyle2.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slideLayout" Target="../slideLayouts/slideLayout20.xml"/><Relationship Id="rId25" Type="http://schemas.openxmlformats.org/officeDocument/2006/relationships/diagramLayout" Target="../diagrams/layout3.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diagramLayout" Target="../diagrams/layout2.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diagramData" Target="../diagrams/data3.xml"/><Relationship Id="rId5" Type="http://schemas.openxmlformats.org/officeDocument/2006/relationships/tags" Target="../tags/tag41.xml"/><Relationship Id="rId15" Type="http://schemas.openxmlformats.org/officeDocument/2006/relationships/tags" Target="../tags/tag51.xml"/><Relationship Id="rId23" Type="http://schemas.microsoft.com/office/2007/relationships/diagramDrawing" Target="../diagrams/drawing2.xml"/><Relationship Id="rId28" Type="http://schemas.microsoft.com/office/2007/relationships/diagramDrawing" Target="../diagrams/drawing3.xml"/><Relationship Id="rId10" Type="http://schemas.openxmlformats.org/officeDocument/2006/relationships/tags" Target="../tags/tag46.xml"/><Relationship Id="rId19" Type="http://schemas.openxmlformats.org/officeDocument/2006/relationships/diagramData" Target="../diagrams/data2.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diagramColors" Target="../diagrams/colors2.xml"/><Relationship Id="rId27" Type="http://schemas.openxmlformats.org/officeDocument/2006/relationships/diagramColors" Target="../diagrams/colors3.xml"/></Relationships>
</file>

<file path=ppt/slides/_rels/slide11.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notesSlide" Target="../notesSlides/notesSlide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slideLayout" Target="../slideLayouts/slideLayout30.xml"/><Relationship Id="rId5" Type="http://schemas.openxmlformats.org/officeDocument/2006/relationships/tags" Target="../tags/tag57.xml"/><Relationship Id="rId4" Type="http://schemas.openxmlformats.org/officeDocument/2006/relationships/tags" Target="../tags/tag56.xml"/></Relationships>
</file>

<file path=ppt/slides/_rels/slide1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8.png"/><Relationship Id="rId5" Type="http://schemas.openxmlformats.org/officeDocument/2006/relationships/notesSlide" Target="../notesSlides/notesSlide8.xml"/><Relationship Id="rId4"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9.png"/><Relationship Id="rId5" Type="http://schemas.openxmlformats.org/officeDocument/2006/relationships/notesSlide" Target="../notesSlides/notesSlide9.xml"/><Relationship Id="rId4"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0.png"/><Relationship Id="rId5" Type="http://schemas.openxmlformats.org/officeDocument/2006/relationships/notesSlide" Target="../notesSlides/notesSlide10.xml"/><Relationship Id="rId4"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slideLayout" Target="../slideLayouts/slideLayout29.xml"/><Relationship Id="rId18" Type="http://schemas.openxmlformats.org/officeDocument/2006/relationships/image" Target="../media/image24.sv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image" Target="../media/image23.png"/><Relationship Id="rId2" Type="http://schemas.openxmlformats.org/officeDocument/2006/relationships/tags" Target="../tags/tag68.xml"/><Relationship Id="rId16" Type="http://schemas.openxmlformats.org/officeDocument/2006/relationships/image" Target="../media/image22.svg"/><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image" Target="../media/image21.png"/><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slideLayout" Target="../slideLayouts/slideLayout29.xml"/><Relationship Id="rId4" Type="http://schemas.openxmlformats.org/officeDocument/2006/relationships/tags" Target="../tags/tag82.xml"/></Relationships>
</file>

<file path=ppt/slides/_rels/slide17.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notesSlide" Target="../notesSlides/notesSlide12.xml"/><Relationship Id="rId5" Type="http://schemas.openxmlformats.org/officeDocument/2006/relationships/slideLayout" Target="../slideLayouts/slideLayout29.xml"/><Relationship Id="rId4" Type="http://schemas.openxmlformats.org/officeDocument/2006/relationships/tags" Target="../tags/tag86.xml"/></Relationships>
</file>

<file path=ppt/slides/_rels/slide18.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25.png"/><Relationship Id="rId5" Type="http://schemas.openxmlformats.org/officeDocument/2006/relationships/notesSlide" Target="../notesSlides/notesSlide13.xml"/><Relationship Id="rId4"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26.png"/><Relationship Id="rId5" Type="http://schemas.openxmlformats.org/officeDocument/2006/relationships/notesSlide" Target="../notesSlides/notesSlide14.xml"/><Relationship Id="rId4"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notesSlide" Target="../notesSlides/notesSlide1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slideLayout" Target="../slideLayouts/slideLayout29.xml"/><Relationship Id="rId5" Type="http://schemas.openxmlformats.org/officeDocument/2006/relationships/tags" Target="../tags/tag97.xml"/><Relationship Id="rId4" Type="http://schemas.openxmlformats.org/officeDocument/2006/relationships/tags" Target="../tags/tag96.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28.svg"/><Relationship Id="rId5" Type="http://schemas.openxmlformats.org/officeDocument/2006/relationships/tags" Target="../tags/tag102.xml"/><Relationship Id="rId10" Type="http://schemas.openxmlformats.org/officeDocument/2006/relationships/image" Target="../media/image27.png"/><Relationship Id="rId4" Type="http://schemas.openxmlformats.org/officeDocument/2006/relationships/tags" Target="../tags/tag101.xml"/><Relationship Id="rId9"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30.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29.png"/><Relationship Id="rId5" Type="http://schemas.openxmlformats.org/officeDocument/2006/relationships/notesSlide" Target="../notesSlides/notesSlide17.xml"/><Relationship Id="rId4"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10.xml"/><Relationship Id="rId7" Type="http://schemas.openxmlformats.org/officeDocument/2006/relationships/tags" Target="../tags/tag11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10" Type="http://schemas.openxmlformats.org/officeDocument/2006/relationships/image" Target="../media/image31.jpeg"/><Relationship Id="rId4" Type="http://schemas.openxmlformats.org/officeDocument/2006/relationships/tags" Target="../tags/tag111.xml"/><Relationship Id="rId9"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117.xml"/><Relationship Id="rId7" Type="http://schemas.openxmlformats.org/officeDocument/2006/relationships/slideLayout" Target="../slideLayouts/slideLayout29.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5" Type="http://schemas.openxmlformats.org/officeDocument/2006/relationships/tags" Target="../tags/tag119.xml"/><Relationship Id="rId4" Type="http://schemas.openxmlformats.org/officeDocument/2006/relationships/tags" Target="../tags/tag118.xml"/></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2.png"/><Relationship Id="rId4" Type="http://schemas.openxmlformats.org/officeDocument/2006/relationships/tags" Target="../tags/tag124.xml"/><Relationship Id="rId9"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33.png"/><Relationship Id="rId5" Type="http://schemas.openxmlformats.org/officeDocument/2006/relationships/notesSlide" Target="../notesSlides/notesSlide21.xml"/><Relationship Id="rId4"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image" Target="../media/image36.pn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image" Target="../media/image35.png"/><Relationship Id="rId5" Type="http://schemas.openxmlformats.org/officeDocument/2006/relationships/tags" Target="../tags/tag135.xml"/><Relationship Id="rId10" Type="http://schemas.openxmlformats.org/officeDocument/2006/relationships/image" Target="../media/image34.png"/><Relationship Id="rId4" Type="http://schemas.openxmlformats.org/officeDocument/2006/relationships/tags" Target="../tags/tag134.xml"/><Relationship Id="rId9"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notesSlide" Target="../notesSlides/notesSlide23.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Layout" Target="../slideLayouts/slideLayout29.xml"/><Relationship Id="rId5" Type="http://schemas.openxmlformats.org/officeDocument/2006/relationships/tags" Target="../tags/tag142.xml"/><Relationship Id="rId4" Type="http://schemas.openxmlformats.org/officeDocument/2006/relationships/tags" Target="../tags/tag141.xml"/></Relationships>
</file>

<file path=ppt/slides/_rels/slide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45.xml"/><Relationship Id="rId7" Type="http://schemas.openxmlformats.org/officeDocument/2006/relationships/notesSlide" Target="../notesSlides/notesSlide24.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slideLayout" Target="../slideLayouts/slideLayout29.xml"/><Relationship Id="rId5" Type="http://schemas.openxmlformats.org/officeDocument/2006/relationships/tags" Target="../tags/tag147.xml"/><Relationship Id="rId4" Type="http://schemas.openxmlformats.org/officeDocument/2006/relationships/tags" Target="../tags/tag146.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2.xml"/><Relationship Id="rId5" Type="http://schemas.openxmlformats.org/officeDocument/2006/relationships/slideLayout" Target="../slideLayouts/slideLayout15.xml"/><Relationship Id="rId4" Type="http://schemas.openxmlformats.org/officeDocument/2006/relationships/tags" Target="../tags/tag7.xml"/></Relationships>
</file>

<file path=ppt/slides/_rels/slide30.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notesSlide" Target="../notesSlides/notesSlide25.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Layout" Target="../slideLayouts/slideLayout29.xml"/><Relationship Id="rId5" Type="http://schemas.openxmlformats.org/officeDocument/2006/relationships/tags" Target="../tags/tag152.xml"/><Relationship Id="rId4" Type="http://schemas.openxmlformats.org/officeDocument/2006/relationships/tags" Target="../tags/tag151.xml"/></Relationships>
</file>

<file path=ppt/slides/_rels/slide31.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tags" Target="../tags/tag155.xml"/><Relationship Id="rId7" Type="http://schemas.openxmlformats.org/officeDocument/2006/relationships/tags" Target="../tags/tag159.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notesSlide" Target="../notesSlides/notesSlide26.xml"/><Relationship Id="rId5" Type="http://schemas.openxmlformats.org/officeDocument/2006/relationships/tags" Target="../tags/tag157.xml"/><Relationship Id="rId10" Type="http://schemas.openxmlformats.org/officeDocument/2006/relationships/slideLayout" Target="../slideLayouts/slideLayout29.xml"/><Relationship Id="rId4" Type="http://schemas.openxmlformats.org/officeDocument/2006/relationships/tags" Target="../tags/tag156.xml"/><Relationship Id="rId9" Type="http://schemas.openxmlformats.org/officeDocument/2006/relationships/tags" Target="../tags/tag161.xml"/></Relationships>
</file>

<file path=ppt/slides/_rels/slide32.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notesSlide" Target="../notesSlides/notesSlide27.xml"/><Relationship Id="rId5" Type="http://schemas.openxmlformats.org/officeDocument/2006/relationships/slideLayout" Target="../slideLayouts/slideLayout29.xml"/><Relationship Id="rId4" Type="http://schemas.openxmlformats.org/officeDocument/2006/relationships/tags" Target="../tags/tag165.xml"/></Relationships>
</file>

<file path=ppt/slides/_rels/slide33.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notesSlide" Target="../notesSlides/notesSlide28.xml"/><Relationship Id="rId5" Type="http://schemas.openxmlformats.org/officeDocument/2006/relationships/slideLayout" Target="../slideLayouts/slideLayout29.xml"/><Relationship Id="rId4" Type="http://schemas.openxmlformats.org/officeDocument/2006/relationships/tags" Target="../tags/tag169.xml"/></Relationships>
</file>

<file path=ppt/slides/_rels/slide34.xml.rels><?xml version="1.0" encoding="UTF-8" standalone="yes"?>
<Relationships xmlns="http://schemas.openxmlformats.org/package/2006/relationships"><Relationship Id="rId8" Type="http://schemas.openxmlformats.org/officeDocument/2006/relationships/notesSlide" Target="../notesSlides/notesSlide29.xml"/><Relationship Id="rId3" Type="http://schemas.openxmlformats.org/officeDocument/2006/relationships/tags" Target="../tags/tag172.xml"/><Relationship Id="rId7" Type="http://schemas.openxmlformats.org/officeDocument/2006/relationships/slideLayout" Target="../slideLayouts/slideLayout29.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 Id="rId9" Type="http://schemas.openxmlformats.org/officeDocument/2006/relationships/image" Target="../media/image38.png"/></Relationships>
</file>

<file path=ppt/slides/_rels/slide3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78.xml"/><Relationship Id="rId7" Type="http://schemas.openxmlformats.org/officeDocument/2006/relationships/tags" Target="../tags/tag182.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image" Target="../media/image40.png"/><Relationship Id="rId5" Type="http://schemas.openxmlformats.org/officeDocument/2006/relationships/tags" Target="../tags/tag180.xml"/><Relationship Id="rId10" Type="http://schemas.openxmlformats.org/officeDocument/2006/relationships/image" Target="../media/image39.png"/><Relationship Id="rId4" Type="http://schemas.openxmlformats.org/officeDocument/2006/relationships/tags" Target="../tags/tag179.xml"/><Relationship Id="rId9"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41.png"/><Relationship Id="rId5" Type="http://schemas.openxmlformats.org/officeDocument/2006/relationships/notesSlide" Target="../notesSlides/notesSlide31.xml"/><Relationship Id="rId4"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117" Type="http://schemas.openxmlformats.org/officeDocument/2006/relationships/image" Target="../media/image82.png"/><Relationship Id="rId21" Type="http://schemas.openxmlformats.org/officeDocument/2006/relationships/tags" Target="../tags/tag206.xml"/><Relationship Id="rId42" Type="http://schemas.openxmlformats.org/officeDocument/2006/relationships/tags" Target="../tags/tag227.xml"/><Relationship Id="rId63" Type="http://schemas.openxmlformats.org/officeDocument/2006/relationships/tags" Target="../tags/tag248.xml"/><Relationship Id="rId84" Type="http://schemas.openxmlformats.org/officeDocument/2006/relationships/image" Target="../media/image49.svg"/><Relationship Id="rId16" Type="http://schemas.openxmlformats.org/officeDocument/2006/relationships/tags" Target="../tags/tag201.xml"/><Relationship Id="rId107" Type="http://schemas.openxmlformats.org/officeDocument/2006/relationships/image" Target="../media/image72.png"/><Relationship Id="rId11" Type="http://schemas.openxmlformats.org/officeDocument/2006/relationships/tags" Target="../tags/tag196.xml"/><Relationship Id="rId32" Type="http://schemas.openxmlformats.org/officeDocument/2006/relationships/tags" Target="../tags/tag217.xml"/><Relationship Id="rId37" Type="http://schemas.openxmlformats.org/officeDocument/2006/relationships/tags" Target="../tags/tag222.xml"/><Relationship Id="rId53" Type="http://schemas.openxmlformats.org/officeDocument/2006/relationships/tags" Target="../tags/tag238.xml"/><Relationship Id="rId58" Type="http://schemas.openxmlformats.org/officeDocument/2006/relationships/tags" Target="../tags/tag243.xml"/><Relationship Id="rId74" Type="http://schemas.openxmlformats.org/officeDocument/2006/relationships/tags" Target="../tags/tag259.xml"/><Relationship Id="rId79" Type="http://schemas.openxmlformats.org/officeDocument/2006/relationships/image" Target="../media/image44.png"/><Relationship Id="rId102" Type="http://schemas.openxmlformats.org/officeDocument/2006/relationships/image" Target="../media/image67.svg"/><Relationship Id="rId123" Type="http://schemas.openxmlformats.org/officeDocument/2006/relationships/image" Target="../media/image88.png"/><Relationship Id="rId128" Type="http://schemas.openxmlformats.org/officeDocument/2006/relationships/image" Target="../media/image93.svg"/><Relationship Id="rId5" Type="http://schemas.openxmlformats.org/officeDocument/2006/relationships/tags" Target="../tags/tag190.xml"/><Relationship Id="rId90" Type="http://schemas.openxmlformats.org/officeDocument/2006/relationships/image" Target="../media/image55.svg"/><Relationship Id="rId95" Type="http://schemas.openxmlformats.org/officeDocument/2006/relationships/image" Target="../media/image60.png"/><Relationship Id="rId22" Type="http://schemas.openxmlformats.org/officeDocument/2006/relationships/tags" Target="../tags/tag207.xml"/><Relationship Id="rId27" Type="http://schemas.openxmlformats.org/officeDocument/2006/relationships/tags" Target="../tags/tag212.xml"/><Relationship Id="rId43" Type="http://schemas.openxmlformats.org/officeDocument/2006/relationships/tags" Target="../tags/tag228.xml"/><Relationship Id="rId48" Type="http://schemas.openxmlformats.org/officeDocument/2006/relationships/tags" Target="../tags/tag233.xml"/><Relationship Id="rId64" Type="http://schemas.openxmlformats.org/officeDocument/2006/relationships/tags" Target="../tags/tag249.xml"/><Relationship Id="rId69" Type="http://schemas.openxmlformats.org/officeDocument/2006/relationships/tags" Target="../tags/tag254.xml"/><Relationship Id="rId113" Type="http://schemas.openxmlformats.org/officeDocument/2006/relationships/image" Target="../media/image78.png"/><Relationship Id="rId118" Type="http://schemas.openxmlformats.org/officeDocument/2006/relationships/image" Target="../media/image83.svg"/><Relationship Id="rId134" Type="http://schemas.openxmlformats.org/officeDocument/2006/relationships/image" Target="../media/image99.svg"/><Relationship Id="rId80" Type="http://schemas.openxmlformats.org/officeDocument/2006/relationships/image" Target="../media/image45.svg"/><Relationship Id="rId85" Type="http://schemas.openxmlformats.org/officeDocument/2006/relationships/image" Target="../media/image50.png"/><Relationship Id="rId12" Type="http://schemas.openxmlformats.org/officeDocument/2006/relationships/tags" Target="../tags/tag197.xml"/><Relationship Id="rId17" Type="http://schemas.openxmlformats.org/officeDocument/2006/relationships/tags" Target="../tags/tag202.xml"/><Relationship Id="rId33" Type="http://schemas.openxmlformats.org/officeDocument/2006/relationships/tags" Target="../tags/tag218.xml"/><Relationship Id="rId38" Type="http://schemas.openxmlformats.org/officeDocument/2006/relationships/tags" Target="../tags/tag223.xml"/><Relationship Id="rId59" Type="http://schemas.openxmlformats.org/officeDocument/2006/relationships/tags" Target="../tags/tag244.xml"/><Relationship Id="rId103" Type="http://schemas.openxmlformats.org/officeDocument/2006/relationships/image" Target="../media/image68.png"/><Relationship Id="rId108" Type="http://schemas.openxmlformats.org/officeDocument/2006/relationships/image" Target="../media/image73.svg"/><Relationship Id="rId124" Type="http://schemas.openxmlformats.org/officeDocument/2006/relationships/image" Target="../media/image89.svg"/><Relationship Id="rId129" Type="http://schemas.openxmlformats.org/officeDocument/2006/relationships/image" Target="../media/image94.png"/><Relationship Id="rId54" Type="http://schemas.openxmlformats.org/officeDocument/2006/relationships/tags" Target="../tags/tag239.xml"/><Relationship Id="rId70" Type="http://schemas.openxmlformats.org/officeDocument/2006/relationships/tags" Target="../tags/tag255.xml"/><Relationship Id="rId75" Type="http://schemas.openxmlformats.org/officeDocument/2006/relationships/slideLayout" Target="../slideLayouts/slideLayout29.xml"/><Relationship Id="rId91" Type="http://schemas.openxmlformats.org/officeDocument/2006/relationships/image" Target="../media/image56.png"/><Relationship Id="rId96" Type="http://schemas.openxmlformats.org/officeDocument/2006/relationships/image" Target="../media/image61.svg"/><Relationship Id="rId1" Type="http://schemas.openxmlformats.org/officeDocument/2006/relationships/tags" Target="../tags/tag186.xml"/><Relationship Id="rId6" Type="http://schemas.openxmlformats.org/officeDocument/2006/relationships/tags" Target="../tags/tag191.xml"/><Relationship Id="rId23" Type="http://schemas.openxmlformats.org/officeDocument/2006/relationships/tags" Target="../tags/tag208.xml"/><Relationship Id="rId28" Type="http://schemas.openxmlformats.org/officeDocument/2006/relationships/tags" Target="../tags/tag213.xml"/><Relationship Id="rId49" Type="http://schemas.openxmlformats.org/officeDocument/2006/relationships/tags" Target="../tags/tag234.xml"/><Relationship Id="rId114" Type="http://schemas.openxmlformats.org/officeDocument/2006/relationships/image" Target="../media/image79.svg"/><Relationship Id="rId119" Type="http://schemas.openxmlformats.org/officeDocument/2006/relationships/image" Target="../media/image84.png"/><Relationship Id="rId44" Type="http://schemas.openxmlformats.org/officeDocument/2006/relationships/tags" Target="../tags/tag229.xml"/><Relationship Id="rId60" Type="http://schemas.openxmlformats.org/officeDocument/2006/relationships/tags" Target="../tags/tag245.xml"/><Relationship Id="rId65" Type="http://schemas.openxmlformats.org/officeDocument/2006/relationships/tags" Target="../tags/tag250.xml"/><Relationship Id="rId81" Type="http://schemas.openxmlformats.org/officeDocument/2006/relationships/image" Target="../media/image46.png"/><Relationship Id="rId86" Type="http://schemas.openxmlformats.org/officeDocument/2006/relationships/image" Target="../media/image51.svg"/><Relationship Id="rId130" Type="http://schemas.openxmlformats.org/officeDocument/2006/relationships/image" Target="../media/image95.svg"/><Relationship Id="rId135" Type="http://schemas.openxmlformats.org/officeDocument/2006/relationships/image" Target="../media/image100.png"/><Relationship Id="rId13" Type="http://schemas.openxmlformats.org/officeDocument/2006/relationships/tags" Target="../tags/tag198.xml"/><Relationship Id="rId18" Type="http://schemas.openxmlformats.org/officeDocument/2006/relationships/tags" Target="../tags/tag203.xml"/><Relationship Id="rId39" Type="http://schemas.openxmlformats.org/officeDocument/2006/relationships/tags" Target="../tags/tag224.xml"/><Relationship Id="rId109" Type="http://schemas.openxmlformats.org/officeDocument/2006/relationships/image" Target="../media/image74.png"/><Relationship Id="rId34" Type="http://schemas.openxmlformats.org/officeDocument/2006/relationships/tags" Target="../tags/tag219.xml"/><Relationship Id="rId50" Type="http://schemas.openxmlformats.org/officeDocument/2006/relationships/tags" Target="../tags/tag235.xml"/><Relationship Id="rId55" Type="http://schemas.openxmlformats.org/officeDocument/2006/relationships/tags" Target="../tags/tag240.xml"/><Relationship Id="rId76" Type="http://schemas.openxmlformats.org/officeDocument/2006/relationships/notesSlide" Target="../notesSlides/notesSlide32.xml"/><Relationship Id="rId97" Type="http://schemas.openxmlformats.org/officeDocument/2006/relationships/image" Target="../media/image62.png"/><Relationship Id="rId104" Type="http://schemas.openxmlformats.org/officeDocument/2006/relationships/image" Target="../media/image69.svg"/><Relationship Id="rId120" Type="http://schemas.openxmlformats.org/officeDocument/2006/relationships/image" Target="../media/image85.svg"/><Relationship Id="rId125" Type="http://schemas.openxmlformats.org/officeDocument/2006/relationships/image" Target="../media/image90.png"/><Relationship Id="rId7" Type="http://schemas.openxmlformats.org/officeDocument/2006/relationships/tags" Target="../tags/tag192.xml"/><Relationship Id="rId71" Type="http://schemas.openxmlformats.org/officeDocument/2006/relationships/tags" Target="../tags/tag256.xml"/><Relationship Id="rId92" Type="http://schemas.openxmlformats.org/officeDocument/2006/relationships/image" Target="../media/image57.svg"/><Relationship Id="rId2" Type="http://schemas.openxmlformats.org/officeDocument/2006/relationships/tags" Target="../tags/tag187.xml"/><Relationship Id="rId29" Type="http://schemas.openxmlformats.org/officeDocument/2006/relationships/tags" Target="../tags/tag214.xml"/><Relationship Id="rId24" Type="http://schemas.openxmlformats.org/officeDocument/2006/relationships/tags" Target="../tags/tag209.xml"/><Relationship Id="rId40" Type="http://schemas.openxmlformats.org/officeDocument/2006/relationships/tags" Target="../tags/tag225.xml"/><Relationship Id="rId45" Type="http://schemas.openxmlformats.org/officeDocument/2006/relationships/tags" Target="../tags/tag230.xml"/><Relationship Id="rId66" Type="http://schemas.openxmlformats.org/officeDocument/2006/relationships/tags" Target="../tags/tag251.xml"/><Relationship Id="rId87" Type="http://schemas.openxmlformats.org/officeDocument/2006/relationships/image" Target="../media/image52.png"/><Relationship Id="rId110" Type="http://schemas.openxmlformats.org/officeDocument/2006/relationships/image" Target="../media/image75.svg"/><Relationship Id="rId115" Type="http://schemas.openxmlformats.org/officeDocument/2006/relationships/image" Target="../media/image80.png"/><Relationship Id="rId131" Type="http://schemas.openxmlformats.org/officeDocument/2006/relationships/image" Target="../media/image96.png"/><Relationship Id="rId136" Type="http://schemas.openxmlformats.org/officeDocument/2006/relationships/image" Target="../media/image101.svg"/><Relationship Id="rId61" Type="http://schemas.openxmlformats.org/officeDocument/2006/relationships/tags" Target="../tags/tag246.xml"/><Relationship Id="rId82" Type="http://schemas.openxmlformats.org/officeDocument/2006/relationships/image" Target="../media/image47.svg"/><Relationship Id="rId19" Type="http://schemas.openxmlformats.org/officeDocument/2006/relationships/tags" Target="../tags/tag204.xml"/><Relationship Id="rId14" Type="http://schemas.openxmlformats.org/officeDocument/2006/relationships/tags" Target="../tags/tag199.xml"/><Relationship Id="rId30" Type="http://schemas.openxmlformats.org/officeDocument/2006/relationships/tags" Target="../tags/tag215.xml"/><Relationship Id="rId35" Type="http://schemas.openxmlformats.org/officeDocument/2006/relationships/tags" Target="../tags/tag220.xml"/><Relationship Id="rId56" Type="http://schemas.openxmlformats.org/officeDocument/2006/relationships/tags" Target="../tags/tag241.xml"/><Relationship Id="rId77" Type="http://schemas.openxmlformats.org/officeDocument/2006/relationships/image" Target="../media/image42.png"/><Relationship Id="rId100" Type="http://schemas.openxmlformats.org/officeDocument/2006/relationships/image" Target="../media/image65.svg"/><Relationship Id="rId105" Type="http://schemas.openxmlformats.org/officeDocument/2006/relationships/image" Target="../media/image70.png"/><Relationship Id="rId126" Type="http://schemas.openxmlformats.org/officeDocument/2006/relationships/image" Target="../media/image91.svg"/><Relationship Id="rId8" Type="http://schemas.openxmlformats.org/officeDocument/2006/relationships/tags" Target="../tags/tag193.xml"/><Relationship Id="rId51" Type="http://schemas.openxmlformats.org/officeDocument/2006/relationships/tags" Target="../tags/tag236.xml"/><Relationship Id="rId72" Type="http://schemas.openxmlformats.org/officeDocument/2006/relationships/tags" Target="../tags/tag257.xml"/><Relationship Id="rId93" Type="http://schemas.openxmlformats.org/officeDocument/2006/relationships/image" Target="../media/image58.png"/><Relationship Id="rId98" Type="http://schemas.openxmlformats.org/officeDocument/2006/relationships/image" Target="../media/image63.svg"/><Relationship Id="rId121" Type="http://schemas.openxmlformats.org/officeDocument/2006/relationships/image" Target="../media/image86.png"/><Relationship Id="rId3" Type="http://schemas.openxmlformats.org/officeDocument/2006/relationships/tags" Target="../tags/tag188.xml"/><Relationship Id="rId25" Type="http://schemas.openxmlformats.org/officeDocument/2006/relationships/tags" Target="../tags/tag210.xml"/><Relationship Id="rId46" Type="http://schemas.openxmlformats.org/officeDocument/2006/relationships/tags" Target="../tags/tag231.xml"/><Relationship Id="rId67" Type="http://schemas.openxmlformats.org/officeDocument/2006/relationships/tags" Target="../tags/tag252.xml"/><Relationship Id="rId116" Type="http://schemas.openxmlformats.org/officeDocument/2006/relationships/image" Target="../media/image81.svg"/><Relationship Id="rId20" Type="http://schemas.openxmlformats.org/officeDocument/2006/relationships/tags" Target="../tags/tag205.xml"/><Relationship Id="rId41" Type="http://schemas.openxmlformats.org/officeDocument/2006/relationships/tags" Target="../tags/tag226.xml"/><Relationship Id="rId62" Type="http://schemas.openxmlformats.org/officeDocument/2006/relationships/tags" Target="../tags/tag247.xml"/><Relationship Id="rId83" Type="http://schemas.openxmlformats.org/officeDocument/2006/relationships/image" Target="../media/image48.png"/><Relationship Id="rId88" Type="http://schemas.openxmlformats.org/officeDocument/2006/relationships/image" Target="../media/image53.svg"/><Relationship Id="rId111" Type="http://schemas.openxmlformats.org/officeDocument/2006/relationships/image" Target="../media/image76.png"/><Relationship Id="rId132" Type="http://schemas.openxmlformats.org/officeDocument/2006/relationships/image" Target="../media/image97.svg"/><Relationship Id="rId15" Type="http://schemas.openxmlformats.org/officeDocument/2006/relationships/tags" Target="../tags/tag200.xml"/><Relationship Id="rId36" Type="http://schemas.openxmlformats.org/officeDocument/2006/relationships/tags" Target="../tags/tag221.xml"/><Relationship Id="rId57" Type="http://schemas.openxmlformats.org/officeDocument/2006/relationships/tags" Target="../tags/tag242.xml"/><Relationship Id="rId106" Type="http://schemas.openxmlformats.org/officeDocument/2006/relationships/image" Target="../media/image71.svg"/><Relationship Id="rId127" Type="http://schemas.openxmlformats.org/officeDocument/2006/relationships/image" Target="../media/image92.png"/><Relationship Id="rId10" Type="http://schemas.openxmlformats.org/officeDocument/2006/relationships/tags" Target="../tags/tag195.xml"/><Relationship Id="rId31" Type="http://schemas.openxmlformats.org/officeDocument/2006/relationships/tags" Target="../tags/tag216.xml"/><Relationship Id="rId52" Type="http://schemas.openxmlformats.org/officeDocument/2006/relationships/tags" Target="../tags/tag237.xml"/><Relationship Id="rId73" Type="http://schemas.openxmlformats.org/officeDocument/2006/relationships/tags" Target="../tags/tag258.xml"/><Relationship Id="rId78" Type="http://schemas.openxmlformats.org/officeDocument/2006/relationships/image" Target="../media/image43.svg"/><Relationship Id="rId94" Type="http://schemas.openxmlformats.org/officeDocument/2006/relationships/image" Target="../media/image59.svg"/><Relationship Id="rId99" Type="http://schemas.openxmlformats.org/officeDocument/2006/relationships/image" Target="../media/image64.png"/><Relationship Id="rId101" Type="http://schemas.openxmlformats.org/officeDocument/2006/relationships/image" Target="../media/image66.png"/><Relationship Id="rId122" Type="http://schemas.openxmlformats.org/officeDocument/2006/relationships/image" Target="../media/image87.svg"/><Relationship Id="rId4" Type="http://schemas.openxmlformats.org/officeDocument/2006/relationships/tags" Target="../tags/tag189.xml"/><Relationship Id="rId9" Type="http://schemas.openxmlformats.org/officeDocument/2006/relationships/tags" Target="../tags/tag194.xml"/><Relationship Id="rId26" Type="http://schemas.openxmlformats.org/officeDocument/2006/relationships/tags" Target="../tags/tag211.xml"/><Relationship Id="rId47" Type="http://schemas.openxmlformats.org/officeDocument/2006/relationships/tags" Target="../tags/tag232.xml"/><Relationship Id="rId68" Type="http://schemas.openxmlformats.org/officeDocument/2006/relationships/tags" Target="../tags/tag253.xml"/><Relationship Id="rId89" Type="http://schemas.openxmlformats.org/officeDocument/2006/relationships/image" Target="../media/image54.png"/><Relationship Id="rId112" Type="http://schemas.openxmlformats.org/officeDocument/2006/relationships/image" Target="../media/image77.svg"/><Relationship Id="rId133" Type="http://schemas.openxmlformats.org/officeDocument/2006/relationships/image" Target="../media/image98.png"/></Relationships>
</file>

<file path=ppt/slides/_rels/slide38.xml.rels><?xml version="1.0" encoding="UTF-8" standalone="yes"?>
<Relationships xmlns="http://schemas.openxmlformats.org/package/2006/relationships"><Relationship Id="rId26" Type="http://schemas.openxmlformats.org/officeDocument/2006/relationships/image" Target="../media/image114.png"/><Relationship Id="rId21" Type="http://schemas.openxmlformats.org/officeDocument/2006/relationships/image" Target="../media/image109.svg"/><Relationship Id="rId42" Type="http://schemas.openxmlformats.org/officeDocument/2006/relationships/image" Target="../media/image130.png"/><Relationship Id="rId47" Type="http://schemas.openxmlformats.org/officeDocument/2006/relationships/image" Target="../media/image135.svg"/><Relationship Id="rId63" Type="http://schemas.openxmlformats.org/officeDocument/2006/relationships/image" Target="../media/image53.svg"/><Relationship Id="rId68" Type="http://schemas.openxmlformats.org/officeDocument/2006/relationships/image" Target="../media/image68.png"/><Relationship Id="rId84" Type="http://schemas.openxmlformats.org/officeDocument/2006/relationships/image" Target="../media/image88.png"/><Relationship Id="rId89" Type="http://schemas.openxmlformats.org/officeDocument/2006/relationships/image" Target="../media/image93.svg"/><Relationship Id="rId16" Type="http://schemas.openxmlformats.org/officeDocument/2006/relationships/image" Target="../media/image104.png"/><Relationship Id="rId11" Type="http://schemas.openxmlformats.org/officeDocument/2006/relationships/tags" Target="../tags/tag270.xml"/><Relationship Id="rId32" Type="http://schemas.openxmlformats.org/officeDocument/2006/relationships/image" Target="../media/image120.png"/><Relationship Id="rId37" Type="http://schemas.openxmlformats.org/officeDocument/2006/relationships/image" Target="../media/image125.svg"/><Relationship Id="rId53" Type="http://schemas.openxmlformats.org/officeDocument/2006/relationships/image" Target="../media/image141.svg"/><Relationship Id="rId58" Type="http://schemas.openxmlformats.org/officeDocument/2006/relationships/image" Target="../media/image48.png"/><Relationship Id="rId74" Type="http://schemas.openxmlformats.org/officeDocument/2006/relationships/image" Target="../media/image74.png"/><Relationship Id="rId79" Type="http://schemas.openxmlformats.org/officeDocument/2006/relationships/image" Target="../media/image79.svg"/><Relationship Id="rId5" Type="http://schemas.openxmlformats.org/officeDocument/2006/relationships/tags" Target="../tags/tag264.xml"/><Relationship Id="rId90" Type="http://schemas.openxmlformats.org/officeDocument/2006/relationships/image" Target="../media/image98.png"/><Relationship Id="rId22" Type="http://schemas.openxmlformats.org/officeDocument/2006/relationships/image" Target="../media/image110.png"/><Relationship Id="rId27" Type="http://schemas.openxmlformats.org/officeDocument/2006/relationships/image" Target="../media/image115.svg"/><Relationship Id="rId43" Type="http://schemas.openxmlformats.org/officeDocument/2006/relationships/image" Target="../media/image131.svg"/><Relationship Id="rId48" Type="http://schemas.openxmlformats.org/officeDocument/2006/relationships/image" Target="../media/image136.png"/><Relationship Id="rId64" Type="http://schemas.openxmlformats.org/officeDocument/2006/relationships/image" Target="../media/image64.png"/><Relationship Id="rId69" Type="http://schemas.openxmlformats.org/officeDocument/2006/relationships/image" Target="../media/image69.svg"/><Relationship Id="rId8" Type="http://schemas.openxmlformats.org/officeDocument/2006/relationships/tags" Target="../tags/tag267.xml"/><Relationship Id="rId51" Type="http://schemas.openxmlformats.org/officeDocument/2006/relationships/image" Target="../media/image139.svg"/><Relationship Id="rId72" Type="http://schemas.openxmlformats.org/officeDocument/2006/relationships/image" Target="../media/image72.png"/><Relationship Id="rId80" Type="http://schemas.openxmlformats.org/officeDocument/2006/relationships/image" Target="../media/image82.png"/><Relationship Id="rId85" Type="http://schemas.openxmlformats.org/officeDocument/2006/relationships/image" Target="../media/image89.svg"/><Relationship Id="rId93" Type="http://schemas.openxmlformats.org/officeDocument/2006/relationships/image" Target="../media/image85.svg"/><Relationship Id="rId3" Type="http://schemas.openxmlformats.org/officeDocument/2006/relationships/tags" Target="../tags/tag262.xml"/><Relationship Id="rId12" Type="http://schemas.openxmlformats.org/officeDocument/2006/relationships/slideLayout" Target="../slideLayouts/slideLayout29.xml"/><Relationship Id="rId17" Type="http://schemas.openxmlformats.org/officeDocument/2006/relationships/image" Target="../media/image105.svg"/><Relationship Id="rId25" Type="http://schemas.openxmlformats.org/officeDocument/2006/relationships/image" Target="../media/image113.svg"/><Relationship Id="rId33" Type="http://schemas.openxmlformats.org/officeDocument/2006/relationships/image" Target="../media/image121.svg"/><Relationship Id="rId38" Type="http://schemas.openxmlformats.org/officeDocument/2006/relationships/image" Target="../media/image126.png"/><Relationship Id="rId46" Type="http://schemas.openxmlformats.org/officeDocument/2006/relationships/image" Target="../media/image134.png"/><Relationship Id="rId59" Type="http://schemas.openxmlformats.org/officeDocument/2006/relationships/image" Target="../media/image49.svg"/><Relationship Id="rId67" Type="http://schemas.openxmlformats.org/officeDocument/2006/relationships/image" Target="../media/image67.svg"/><Relationship Id="rId20" Type="http://schemas.openxmlformats.org/officeDocument/2006/relationships/image" Target="../media/image108.png"/><Relationship Id="rId41" Type="http://schemas.openxmlformats.org/officeDocument/2006/relationships/image" Target="../media/image129.svg"/><Relationship Id="rId54" Type="http://schemas.openxmlformats.org/officeDocument/2006/relationships/image" Target="../media/image60.png"/><Relationship Id="rId62" Type="http://schemas.openxmlformats.org/officeDocument/2006/relationships/image" Target="../media/image52.png"/><Relationship Id="rId70" Type="http://schemas.openxmlformats.org/officeDocument/2006/relationships/image" Target="../media/image70.png"/><Relationship Id="rId75" Type="http://schemas.openxmlformats.org/officeDocument/2006/relationships/image" Target="../media/image75.svg"/><Relationship Id="rId83" Type="http://schemas.openxmlformats.org/officeDocument/2006/relationships/image" Target="../media/image87.svg"/><Relationship Id="rId88" Type="http://schemas.openxmlformats.org/officeDocument/2006/relationships/image" Target="../media/image92.png"/><Relationship Id="rId91" Type="http://schemas.openxmlformats.org/officeDocument/2006/relationships/image" Target="../media/image99.svg"/><Relationship Id="rId1" Type="http://schemas.openxmlformats.org/officeDocument/2006/relationships/tags" Target="../tags/tag260.xml"/><Relationship Id="rId6" Type="http://schemas.openxmlformats.org/officeDocument/2006/relationships/tags" Target="../tags/tag265.xml"/><Relationship Id="rId15" Type="http://schemas.openxmlformats.org/officeDocument/2006/relationships/image" Target="../media/image103.svg"/><Relationship Id="rId23" Type="http://schemas.openxmlformats.org/officeDocument/2006/relationships/image" Target="../media/image111.svg"/><Relationship Id="rId28" Type="http://schemas.openxmlformats.org/officeDocument/2006/relationships/image" Target="../media/image116.png"/><Relationship Id="rId36" Type="http://schemas.openxmlformats.org/officeDocument/2006/relationships/image" Target="../media/image124.png"/><Relationship Id="rId49" Type="http://schemas.openxmlformats.org/officeDocument/2006/relationships/image" Target="../media/image137.svg"/><Relationship Id="rId57" Type="http://schemas.openxmlformats.org/officeDocument/2006/relationships/image" Target="../media/image43.svg"/><Relationship Id="rId10" Type="http://schemas.openxmlformats.org/officeDocument/2006/relationships/tags" Target="../tags/tag269.xml"/><Relationship Id="rId31" Type="http://schemas.openxmlformats.org/officeDocument/2006/relationships/image" Target="../media/image119.svg"/><Relationship Id="rId44" Type="http://schemas.openxmlformats.org/officeDocument/2006/relationships/image" Target="../media/image132.png"/><Relationship Id="rId52" Type="http://schemas.openxmlformats.org/officeDocument/2006/relationships/image" Target="../media/image140.png"/><Relationship Id="rId60" Type="http://schemas.openxmlformats.org/officeDocument/2006/relationships/image" Target="../media/image50.png"/><Relationship Id="rId65" Type="http://schemas.openxmlformats.org/officeDocument/2006/relationships/image" Target="../media/image65.svg"/><Relationship Id="rId73" Type="http://schemas.openxmlformats.org/officeDocument/2006/relationships/image" Target="../media/image73.svg"/><Relationship Id="rId78" Type="http://schemas.openxmlformats.org/officeDocument/2006/relationships/image" Target="../media/image78.png"/><Relationship Id="rId81" Type="http://schemas.openxmlformats.org/officeDocument/2006/relationships/image" Target="../media/image83.svg"/><Relationship Id="rId86" Type="http://schemas.openxmlformats.org/officeDocument/2006/relationships/image" Target="../media/image90.png"/><Relationship Id="rId4" Type="http://schemas.openxmlformats.org/officeDocument/2006/relationships/tags" Target="../tags/tag263.xml"/><Relationship Id="rId9" Type="http://schemas.openxmlformats.org/officeDocument/2006/relationships/tags" Target="../tags/tag268.xml"/><Relationship Id="rId13" Type="http://schemas.openxmlformats.org/officeDocument/2006/relationships/notesSlide" Target="../notesSlides/notesSlide33.xml"/><Relationship Id="rId18" Type="http://schemas.openxmlformats.org/officeDocument/2006/relationships/image" Target="../media/image106.png"/><Relationship Id="rId39" Type="http://schemas.openxmlformats.org/officeDocument/2006/relationships/image" Target="../media/image127.svg"/><Relationship Id="rId34" Type="http://schemas.openxmlformats.org/officeDocument/2006/relationships/image" Target="../media/image122.png"/><Relationship Id="rId50" Type="http://schemas.openxmlformats.org/officeDocument/2006/relationships/image" Target="../media/image138.png"/><Relationship Id="rId55" Type="http://schemas.openxmlformats.org/officeDocument/2006/relationships/image" Target="../media/image61.svg"/><Relationship Id="rId76" Type="http://schemas.openxmlformats.org/officeDocument/2006/relationships/image" Target="../media/image76.png"/><Relationship Id="rId7" Type="http://schemas.openxmlformats.org/officeDocument/2006/relationships/tags" Target="../tags/tag266.xml"/><Relationship Id="rId71" Type="http://schemas.openxmlformats.org/officeDocument/2006/relationships/image" Target="../media/image71.svg"/><Relationship Id="rId92" Type="http://schemas.openxmlformats.org/officeDocument/2006/relationships/image" Target="../media/image84.png"/><Relationship Id="rId2" Type="http://schemas.openxmlformats.org/officeDocument/2006/relationships/tags" Target="../tags/tag261.xml"/><Relationship Id="rId29" Type="http://schemas.openxmlformats.org/officeDocument/2006/relationships/image" Target="../media/image117.svg"/><Relationship Id="rId24" Type="http://schemas.openxmlformats.org/officeDocument/2006/relationships/image" Target="../media/image112.png"/><Relationship Id="rId40" Type="http://schemas.openxmlformats.org/officeDocument/2006/relationships/image" Target="../media/image128.png"/><Relationship Id="rId45" Type="http://schemas.openxmlformats.org/officeDocument/2006/relationships/image" Target="../media/image133.svg"/><Relationship Id="rId66" Type="http://schemas.openxmlformats.org/officeDocument/2006/relationships/image" Target="../media/image66.png"/><Relationship Id="rId87" Type="http://schemas.openxmlformats.org/officeDocument/2006/relationships/image" Target="../media/image91.svg"/><Relationship Id="rId61" Type="http://schemas.openxmlformats.org/officeDocument/2006/relationships/image" Target="../media/image51.svg"/><Relationship Id="rId82" Type="http://schemas.openxmlformats.org/officeDocument/2006/relationships/image" Target="../media/image86.png"/><Relationship Id="rId19" Type="http://schemas.openxmlformats.org/officeDocument/2006/relationships/image" Target="../media/image107.svg"/><Relationship Id="rId14" Type="http://schemas.openxmlformats.org/officeDocument/2006/relationships/image" Target="../media/image102.png"/><Relationship Id="rId30" Type="http://schemas.openxmlformats.org/officeDocument/2006/relationships/image" Target="../media/image118.png"/><Relationship Id="rId35" Type="http://schemas.openxmlformats.org/officeDocument/2006/relationships/image" Target="../media/image123.svg"/><Relationship Id="rId56" Type="http://schemas.openxmlformats.org/officeDocument/2006/relationships/image" Target="../media/image42.png"/><Relationship Id="rId77" Type="http://schemas.openxmlformats.org/officeDocument/2006/relationships/image" Target="../media/image77.svg"/></Relationships>
</file>

<file path=ppt/slides/_rels/slide39.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tags" Target="../tags/tag271.xml"/><Relationship Id="rId5" Type="http://schemas.openxmlformats.org/officeDocument/2006/relationships/image" Target="../media/image142.png"/><Relationship Id="rId4"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0.xml"/><Relationship Id="rId7" Type="http://schemas.openxmlformats.org/officeDocument/2006/relationships/notesSlide" Target="../notesSlides/notesSlide3.xml"/><Relationship Id="rId12" Type="http://schemas.microsoft.com/office/2007/relationships/diagramDrawing" Target="../diagrams/drawing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30.xml"/><Relationship Id="rId11" Type="http://schemas.openxmlformats.org/officeDocument/2006/relationships/diagramColors" Target="../diagrams/colors1.xml"/><Relationship Id="rId5" Type="http://schemas.openxmlformats.org/officeDocument/2006/relationships/tags" Target="../tags/tag12.xml"/><Relationship Id="rId10" Type="http://schemas.openxmlformats.org/officeDocument/2006/relationships/diagramQuickStyle" Target="../diagrams/quickStyle1.xml"/><Relationship Id="rId4" Type="http://schemas.openxmlformats.org/officeDocument/2006/relationships/tags" Target="../tags/tag11.xml"/><Relationship Id="rId9"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276.xml"/><Relationship Id="rId7" Type="http://schemas.openxmlformats.org/officeDocument/2006/relationships/tags" Target="../tags/tag280.xml"/><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tags" Target="../tags/tag279.xml"/><Relationship Id="rId11" Type="http://schemas.openxmlformats.org/officeDocument/2006/relationships/image" Target="../media/image144.png"/><Relationship Id="rId5" Type="http://schemas.openxmlformats.org/officeDocument/2006/relationships/tags" Target="../tags/tag278.xml"/><Relationship Id="rId10" Type="http://schemas.openxmlformats.org/officeDocument/2006/relationships/image" Target="../media/image143.png"/><Relationship Id="rId4" Type="http://schemas.openxmlformats.org/officeDocument/2006/relationships/tags" Target="../tags/tag277.xml"/><Relationship Id="rId9" Type="http://schemas.openxmlformats.org/officeDocument/2006/relationships/notesSlide" Target="../notesSlides/notesSlide34.xml"/></Relationships>
</file>

<file path=ppt/slides/_rels/slide41.xml.rels><?xml version="1.0" encoding="UTF-8" standalone="yes"?>
<Relationships xmlns="http://schemas.openxmlformats.org/package/2006/relationships"><Relationship Id="rId8" Type="http://schemas.openxmlformats.org/officeDocument/2006/relationships/tags" Target="../tags/tag288.xm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image" Target="../media/image146.png"/><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image" Target="../media/image145.png"/><Relationship Id="rId5" Type="http://schemas.openxmlformats.org/officeDocument/2006/relationships/tags" Target="../tags/tag285.xml"/><Relationship Id="rId10" Type="http://schemas.openxmlformats.org/officeDocument/2006/relationships/notesSlide" Target="../notesSlides/notesSlide35.xml"/><Relationship Id="rId4" Type="http://schemas.openxmlformats.org/officeDocument/2006/relationships/tags" Target="../tags/tag284.xml"/><Relationship Id="rId9"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8" Type="http://schemas.openxmlformats.org/officeDocument/2006/relationships/tags" Target="../tags/tag296.xml"/><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image" Target="../media/image148.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image" Target="../media/image147.png"/><Relationship Id="rId5" Type="http://schemas.openxmlformats.org/officeDocument/2006/relationships/tags" Target="../tags/tag293.xml"/><Relationship Id="rId10" Type="http://schemas.openxmlformats.org/officeDocument/2006/relationships/notesSlide" Target="../notesSlides/notesSlide36.xml"/><Relationship Id="rId4" Type="http://schemas.openxmlformats.org/officeDocument/2006/relationships/tags" Target="../tags/tag292.xml"/><Relationship Id="rId9"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image" Target="../media/image151.svg"/><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tags" Target="../tags/tag302.xml"/><Relationship Id="rId11" Type="http://schemas.openxmlformats.org/officeDocument/2006/relationships/image" Target="../media/image150.png"/><Relationship Id="rId5" Type="http://schemas.openxmlformats.org/officeDocument/2006/relationships/tags" Target="../tags/tag301.xml"/><Relationship Id="rId10" Type="http://schemas.openxmlformats.org/officeDocument/2006/relationships/image" Target="../media/image149.png"/><Relationship Id="rId4" Type="http://schemas.openxmlformats.org/officeDocument/2006/relationships/tags" Target="../tags/tag300.xml"/><Relationship Id="rId9" Type="http://schemas.openxmlformats.org/officeDocument/2006/relationships/notesSlide" Target="../notesSlides/notesSlide37.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306.xml"/><Relationship Id="rId7" Type="http://schemas.openxmlformats.org/officeDocument/2006/relationships/tags" Target="../tags/tag310.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tags" Target="../tags/tag309.xml"/><Relationship Id="rId5" Type="http://schemas.openxmlformats.org/officeDocument/2006/relationships/tags" Target="../tags/tag308.xml"/><Relationship Id="rId10" Type="http://schemas.openxmlformats.org/officeDocument/2006/relationships/image" Target="../media/image153.png"/><Relationship Id="rId4" Type="http://schemas.openxmlformats.org/officeDocument/2006/relationships/tags" Target="../tags/tag307.xml"/><Relationship Id="rId9" Type="http://schemas.openxmlformats.org/officeDocument/2006/relationships/image" Target="../media/image152.png"/></Relationships>
</file>

<file path=ppt/slides/_rels/slide45.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notesSlide" Target="../notesSlides/notesSlide38.xml"/><Relationship Id="rId5" Type="http://schemas.openxmlformats.org/officeDocument/2006/relationships/slideLayout" Target="../slideLayouts/slideLayout26.xml"/><Relationship Id="rId4" Type="http://schemas.openxmlformats.org/officeDocument/2006/relationships/tags" Target="../tags/tag314.xml"/></Relationships>
</file>

<file path=ppt/slides/_rels/slide46.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notesSlide" Target="../notesSlides/notesSlide39.xml"/><Relationship Id="rId5" Type="http://schemas.openxmlformats.org/officeDocument/2006/relationships/slideLayout" Target="../slideLayouts/slideLayout26.xml"/><Relationship Id="rId4" Type="http://schemas.openxmlformats.org/officeDocument/2006/relationships/tags" Target="../tags/tag318.xml"/></Relationships>
</file>

<file path=ppt/slides/_rels/slide47.xml.rels><?xml version="1.0" encoding="UTF-8" standalone="yes"?>
<Relationships xmlns="http://schemas.openxmlformats.org/package/2006/relationships"><Relationship Id="rId3" Type="http://schemas.openxmlformats.org/officeDocument/2006/relationships/tags" Target="../tags/tag321.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image" Target="../media/image18.png"/><Relationship Id="rId5" Type="http://schemas.openxmlformats.org/officeDocument/2006/relationships/notesSlide" Target="../notesSlides/notesSlide40.xml"/><Relationship Id="rId4"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8" Type="http://schemas.openxmlformats.org/officeDocument/2006/relationships/tags" Target="../tags/tag329.xml"/><Relationship Id="rId13" Type="http://schemas.openxmlformats.org/officeDocument/2006/relationships/image" Target="../media/image156.png"/><Relationship Id="rId3" Type="http://schemas.openxmlformats.org/officeDocument/2006/relationships/tags" Target="../tags/tag324.xml"/><Relationship Id="rId7" Type="http://schemas.openxmlformats.org/officeDocument/2006/relationships/tags" Target="../tags/tag328.xml"/><Relationship Id="rId12" Type="http://schemas.openxmlformats.org/officeDocument/2006/relationships/image" Target="../media/image155.svg"/><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11" Type="http://schemas.openxmlformats.org/officeDocument/2006/relationships/image" Target="../media/image154.png"/><Relationship Id="rId5" Type="http://schemas.openxmlformats.org/officeDocument/2006/relationships/tags" Target="../tags/tag326.xml"/><Relationship Id="rId10" Type="http://schemas.openxmlformats.org/officeDocument/2006/relationships/notesSlide" Target="../notesSlides/notesSlide41.xml"/><Relationship Id="rId4" Type="http://schemas.openxmlformats.org/officeDocument/2006/relationships/tags" Target="../tags/tag325.xml"/><Relationship Id="rId9" Type="http://schemas.openxmlformats.org/officeDocument/2006/relationships/slideLayout" Target="../slideLayouts/slideLayout20.xml"/><Relationship Id="rId14" Type="http://schemas.openxmlformats.org/officeDocument/2006/relationships/image" Target="../media/image157.svg"/></Relationships>
</file>

<file path=ppt/slides/_rels/slide49.xml.rels><?xml version="1.0" encoding="UTF-8" standalone="yes"?>
<Relationships xmlns="http://schemas.openxmlformats.org/package/2006/relationships"><Relationship Id="rId3" Type="http://schemas.openxmlformats.org/officeDocument/2006/relationships/tags" Target="../tags/tag332.xml"/><Relationship Id="rId7" Type="http://schemas.openxmlformats.org/officeDocument/2006/relationships/image" Target="../media/image158.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notesSlide" Target="../notesSlides/notesSlide42.xml"/><Relationship Id="rId5" Type="http://schemas.openxmlformats.org/officeDocument/2006/relationships/slideLayout" Target="../slideLayouts/slideLayout29.xml"/><Relationship Id="rId4" Type="http://schemas.openxmlformats.org/officeDocument/2006/relationships/tags" Target="../tags/tag333.xml"/></Relationships>
</file>

<file path=ppt/slides/_rels/slide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slideLayout" Target="../slideLayouts/slideLayout15.xml"/><Relationship Id="rId4" Type="http://schemas.openxmlformats.org/officeDocument/2006/relationships/tags" Target="../tags/tag16.xml"/></Relationships>
</file>

<file path=ppt/slides/_rels/slide50.xml.rels><?xml version="1.0" encoding="UTF-8" standalone="yes"?>
<Relationships xmlns="http://schemas.openxmlformats.org/package/2006/relationships"><Relationship Id="rId8" Type="http://schemas.openxmlformats.org/officeDocument/2006/relationships/tags" Target="../tags/tag341.xml"/><Relationship Id="rId13" Type="http://schemas.openxmlformats.org/officeDocument/2006/relationships/tags" Target="../tags/tag346.xml"/><Relationship Id="rId18" Type="http://schemas.openxmlformats.org/officeDocument/2006/relationships/slideLayout" Target="../slideLayouts/slideLayout29.xml"/><Relationship Id="rId3" Type="http://schemas.openxmlformats.org/officeDocument/2006/relationships/tags" Target="../tags/tag336.xml"/><Relationship Id="rId21" Type="http://schemas.openxmlformats.org/officeDocument/2006/relationships/image" Target="../media/image160.png"/><Relationship Id="rId7" Type="http://schemas.openxmlformats.org/officeDocument/2006/relationships/tags" Target="../tags/tag340.xml"/><Relationship Id="rId12" Type="http://schemas.openxmlformats.org/officeDocument/2006/relationships/tags" Target="../tags/tag345.xml"/><Relationship Id="rId17" Type="http://schemas.openxmlformats.org/officeDocument/2006/relationships/tags" Target="../tags/tag350.xml"/><Relationship Id="rId2" Type="http://schemas.openxmlformats.org/officeDocument/2006/relationships/tags" Target="../tags/tag335.xml"/><Relationship Id="rId16" Type="http://schemas.openxmlformats.org/officeDocument/2006/relationships/tags" Target="../tags/tag349.xml"/><Relationship Id="rId20" Type="http://schemas.openxmlformats.org/officeDocument/2006/relationships/image" Target="../media/image159.png"/><Relationship Id="rId1" Type="http://schemas.openxmlformats.org/officeDocument/2006/relationships/tags" Target="../tags/tag334.xml"/><Relationship Id="rId6" Type="http://schemas.openxmlformats.org/officeDocument/2006/relationships/tags" Target="../tags/tag339.xml"/><Relationship Id="rId11" Type="http://schemas.openxmlformats.org/officeDocument/2006/relationships/tags" Target="../tags/tag344.xml"/><Relationship Id="rId24" Type="http://schemas.openxmlformats.org/officeDocument/2006/relationships/image" Target="../media/image163.svg"/><Relationship Id="rId5" Type="http://schemas.openxmlformats.org/officeDocument/2006/relationships/tags" Target="../tags/tag338.xml"/><Relationship Id="rId15" Type="http://schemas.openxmlformats.org/officeDocument/2006/relationships/tags" Target="../tags/tag348.xml"/><Relationship Id="rId23" Type="http://schemas.openxmlformats.org/officeDocument/2006/relationships/image" Target="../media/image162.png"/><Relationship Id="rId10" Type="http://schemas.openxmlformats.org/officeDocument/2006/relationships/tags" Target="../tags/tag343.xml"/><Relationship Id="rId19" Type="http://schemas.openxmlformats.org/officeDocument/2006/relationships/notesSlide" Target="../notesSlides/notesSlide43.xml"/><Relationship Id="rId4" Type="http://schemas.openxmlformats.org/officeDocument/2006/relationships/tags" Target="../tags/tag337.xml"/><Relationship Id="rId9" Type="http://schemas.openxmlformats.org/officeDocument/2006/relationships/tags" Target="../tags/tag342.xml"/><Relationship Id="rId14" Type="http://schemas.openxmlformats.org/officeDocument/2006/relationships/tags" Target="../tags/tag347.xml"/><Relationship Id="rId22" Type="http://schemas.openxmlformats.org/officeDocument/2006/relationships/image" Target="../media/image161.svg"/></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353.xml"/><Relationship Id="rId7" Type="http://schemas.openxmlformats.org/officeDocument/2006/relationships/tags" Target="../tags/tag357.xml"/><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tags" Target="../tags/tag356.xml"/><Relationship Id="rId5" Type="http://schemas.openxmlformats.org/officeDocument/2006/relationships/tags" Target="../tags/tag355.xml"/><Relationship Id="rId10" Type="http://schemas.openxmlformats.org/officeDocument/2006/relationships/image" Target="../media/image17.png"/><Relationship Id="rId4" Type="http://schemas.openxmlformats.org/officeDocument/2006/relationships/tags" Target="../tags/tag354.xml"/><Relationship Id="rId9" Type="http://schemas.openxmlformats.org/officeDocument/2006/relationships/notesSlide" Target="../notesSlides/notesSlide44.xml"/></Relationships>
</file>

<file path=ppt/slides/_rels/slide52.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notesSlide" Target="../notesSlides/notesSlide45.xml"/><Relationship Id="rId5" Type="http://schemas.openxmlformats.org/officeDocument/2006/relationships/slideLayout" Target="../slideLayouts/slideLayout20.xml"/><Relationship Id="rId4" Type="http://schemas.openxmlformats.org/officeDocument/2006/relationships/tags" Target="../tags/tag361.xml"/></Relationships>
</file>

<file path=ppt/slides/_rels/slide53.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image" Target="../media/image164.png"/><Relationship Id="rId18" Type="http://schemas.openxmlformats.org/officeDocument/2006/relationships/image" Target="../media/image169.png"/><Relationship Id="rId3" Type="http://schemas.openxmlformats.org/officeDocument/2006/relationships/tags" Target="../tags/tag364.xml"/><Relationship Id="rId7" Type="http://schemas.openxmlformats.org/officeDocument/2006/relationships/tags" Target="../tags/tag368.xml"/><Relationship Id="rId12" Type="http://schemas.openxmlformats.org/officeDocument/2006/relationships/notesSlide" Target="../notesSlides/notesSlide46.xml"/><Relationship Id="rId17" Type="http://schemas.openxmlformats.org/officeDocument/2006/relationships/image" Target="../media/image168.png"/><Relationship Id="rId2" Type="http://schemas.openxmlformats.org/officeDocument/2006/relationships/tags" Target="../tags/tag363.xml"/><Relationship Id="rId16" Type="http://schemas.openxmlformats.org/officeDocument/2006/relationships/image" Target="../media/image167.png"/><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slideLayout" Target="../slideLayouts/slideLayout20.xml"/><Relationship Id="rId5" Type="http://schemas.openxmlformats.org/officeDocument/2006/relationships/tags" Target="../tags/tag366.xml"/><Relationship Id="rId15" Type="http://schemas.openxmlformats.org/officeDocument/2006/relationships/image" Target="../media/image166.png"/><Relationship Id="rId10" Type="http://schemas.openxmlformats.org/officeDocument/2006/relationships/tags" Target="../tags/tag371.xml"/><Relationship Id="rId19" Type="http://schemas.openxmlformats.org/officeDocument/2006/relationships/image" Target="../media/image170.png"/><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image" Target="../media/image165.png"/></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tags" Target="../tags/tag374.xml"/><Relationship Id="rId7" Type="http://schemas.openxmlformats.org/officeDocument/2006/relationships/tags" Target="../tags/tag378.xml"/><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tags" Target="../tags/tag377.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71.emf"/></Relationships>
</file>

<file path=ppt/slides/_rels/slide55.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notesSlide" Target="../notesSlides/notesSlide47.xml"/><Relationship Id="rId5" Type="http://schemas.openxmlformats.org/officeDocument/2006/relationships/slideLayout" Target="../slideLayouts/slideLayout20.xml"/><Relationship Id="rId4" Type="http://schemas.openxmlformats.org/officeDocument/2006/relationships/tags" Target="../tags/tag382.xml"/></Relationships>
</file>

<file path=ppt/slides/_rels/slide56.xml.rels><?xml version="1.0" encoding="UTF-8" standalone="yes"?>
<Relationships xmlns="http://schemas.openxmlformats.org/package/2006/relationships"><Relationship Id="rId3" Type="http://schemas.openxmlformats.org/officeDocument/2006/relationships/tags" Target="../tags/tag385.xml"/><Relationship Id="rId7" Type="http://schemas.openxmlformats.org/officeDocument/2006/relationships/hyperlink" Target="https://www.opq.org/wp-content/uploads/2020/08/5211_38_fr-CA_0_L_Express___Programme_TAP.html" TargetMode="External"/><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notesSlide" Target="../notesSlides/notesSlide48.xml"/><Relationship Id="rId5" Type="http://schemas.openxmlformats.org/officeDocument/2006/relationships/slideLayout" Target="../slideLayouts/slideLayout20.xml"/><Relationship Id="rId4" Type="http://schemas.openxmlformats.org/officeDocument/2006/relationships/tags" Target="../tags/tag38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388.xml"/><Relationship Id="rId1" Type="http://schemas.openxmlformats.org/officeDocument/2006/relationships/tags" Target="../tags/tag387.xml"/><Relationship Id="rId4" Type="http://schemas.openxmlformats.org/officeDocument/2006/relationships/notesSlide" Target="../notesSlides/notesSlide49.xml"/></Relationships>
</file>

<file path=ppt/slides/_rels/slide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Layout" Target="../slideLayouts/slideLayout8.xml"/><Relationship Id="rId5" Type="http://schemas.openxmlformats.org/officeDocument/2006/relationships/tags" Target="../tags/tag21.xml"/><Relationship Id="rId4" Type="http://schemas.openxmlformats.org/officeDocument/2006/relationships/tags" Target="../tags/tag20.xml"/></Relationships>
</file>

<file path=ppt/slides/_rels/slide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4.xml"/><Relationship Id="rId5" Type="http://schemas.openxmlformats.org/officeDocument/2006/relationships/slideLayout" Target="../slideLayouts/slideLayout58.xml"/><Relationship Id="rId4" Type="http://schemas.openxmlformats.org/officeDocument/2006/relationships/tags" Target="../tags/tag25.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17.png"/><Relationship Id="rId4" Type="http://schemas.openxmlformats.org/officeDocument/2006/relationships/tags" Target="../tags/tag29.xml"/><Relationship Id="rId9"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slideLayout" Target="../slideLayouts/slideLayout8.xml"/><Relationship Id="rId4"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ormAutofit fontScale="90000"/>
          </a:bodyPr>
          <a:lstStyle/>
          <a:p>
            <a:r>
              <a:t>Du patient à </a:t>
            </a:r>
            <a:r>
              <a:rPr err="1"/>
              <a:t>l’entente</a:t>
            </a:r>
            <a:r>
              <a:t> : </a:t>
            </a:r>
            <a:r>
              <a:rPr err="1"/>
              <a:t>comprendre</a:t>
            </a:r>
            <a:r>
              <a:t> le</a:t>
            </a:r>
            <a:r>
              <a:rPr lang="fr-CA"/>
              <a:t>s</a:t>
            </a:r>
            <a:r>
              <a:t> concept</a:t>
            </a:r>
            <a:r>
              <a:rPr lang="fr-CA"/>
              <a:t>s</a:t>
            </a:r>
            <a:r>
              <a:t> de </a:t>
            </a:r>
            <a:r>
              <a:rPr err="1"/>
              <a:t>facturation</a:t>
            </a:r>
            <a:endParaRPr/>
          </a:p>
        </p:txBody>
      </p:sp>
      <p:sp>
        <p:nvSpPr>
          <p:cNvPr id="3" name="Subtitle 2"/>
          <p:cNvSpPr>
            <a:spLocks noGrp="1"/>
          </p:cNvSpPr>
          <p:nvPr>
            <p:ph type="body" sz="quarter" idx="11"/>
            <p:custDataLst>
              <p:tags r:id="rId2"/>
            </p:custDataLst>
          </p:nvPr>
        </p:nvSpPr>
        <p:spPr/>
        <p:txBody>
          <a:bodyPr/>
          <a:lstStyle/>
          <a:p>
            <a:r>
              <a:t>Formation </a:t>
            </a:r>
            <a:r>
              <a:rPr err="1"/>
              <a:t>destinée</a:t>
            </a:r>
            <a:r>
              <a:t> aux </a:t>
            </a:r>
            <a:r>
              <a:rPr err="1"/>
              <a:t>pharmaciens</a:t>
            </a:r>
            <a:r>
              <a:rPr lang="fr-CA"/>
              <a:t>, aux </a:t>
            </a:r>
            <a:r>
              <a:rPr err="1"/>
              <a:t>gestionnaires</a:t>
            </a:r>
            <a:r>
              <a:t> </a:t>
            </a:r>
            <a:r>
              <a:rPr err="1"/>
              <a:t>en</a:t>
            </a:r>
            <a:r>
              <a:t> </a:t>
            </a:r>
            <a:r>
              <a:rPr err="1"/>
              <a:t>officine</a:t>
            </a:r>
            <a:r>
              <a:rPr lang="fr-CA"/>
              <a:t> et à l’équipe technique en pharmacie communautaire</a:t>
            </a:r>
          </a:p>
          <a:p>
            <a:pPr>
              <a:lnSpc>
                <a:spcPct val="150000"/>
              </a:lnSpc>
            </a:pPr>
            <a:r>
              <a:rPr lang="en-US" err="1"/>
              <a:t>Présentée</a:t>
            </a:r>
            <a:r>
              <a:rPr lang="en-US"/>
              <a:t> par : Marie-Pascale Beaulieu, </a:t>
            </a:r>
            <a:r>
              <a:rPr lang="en-US" err="1"/>
              <a:t>directrice</a:t>
            </a:r>
            <a:r>
              <a:rPr lang="en-US"/>
              <a:t> – Services </a:t>
            </a:r>
            <a:r>
              <a:rPr lang="en-US" err="1"/>
              <a:t>pharmaceutiques</a:t>
            </a:r>
            <a:r>
              <a:rPr lang="en-US"/>
              <a:t> AQPP</a:t>
            </a:r>
            <a:endParaRPr lang="en-US">
              <a:cs typeface="Arial"/>
            </a:endParaRPr>
          </a:p>
          <a:p>
            <a:endParaRPr/>
          </a:p>
        </p:txBody>
      </p:sp>
      <p:sp>
        <p:nvSpPr>
          <p:cNvPr id="6" name="Espace réservé du texte 5">
            <a:extLst>
              <a:ext uri="{FF2B5EF4-FFF2-40B4-BE49-F238E27FC236}">
                <a16:creationId xmlns:a16="http://schemas.microsoft.com/office/drawing/2014/main" id="{CE09D96B-ED63-7B60-7B17-69D89DDB59BD}"/>
              </a:ext>
            </a:extLst>
          </p:cNvPr>
          <p:cNvSpPr>
            <a:spLocks noGrp="1"/>
          </p:cNvSpPr>
          <p:nvPr>
            <p:ph type="body" sz="quarter" idx="12"/>
          </p:nvPr>
        </p:nvSpPr>
        <p:spPr/>
        <p:txBody>
          <a:bodyPr/>
          <a:lstStyle/>
          <a:p>
            <a:r>
              <a:rPr lang="fr-CA" dirty="0"/>
              <a:t>19 octobre </a:t>
            </a:r>
            <a:endParaRPr lang="fr-F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9C7B5-73D9-77AC-6E8E-E4AC37349DF8}"/>
              </a:ext>
            </a:extLst>
          </p:cNvPr>
          <p:cNvSpPr>
            <a:spLocks noGrp="1"/>
          </p:cNvSpPr>
          <p:nvPr>
            <p:ph type="title"/>
            <p:custDataLst>
              <p:tags r:id="rId1"/>
            </p:custDataLst>
          </p:nvPr>
        </p:nvSpPr>
        <p:spPr>
          <a:xfrm>
            <a:off x="609600" y="533401"/>
            <a:ext cx="8785860" cy="990600"/>
          </a:xfrm>
        </p:spPr>
        <p:txBody>
          <a:bodyPr/>
          <a:lstStyle/>
          <a:p>
            <a:r>
              <a:rPr lang="en-US">
                <a:latin typeface="Arial" panose="020B0604020202020204" pitchFamily="34" charset="0"/>
                <a:cs typeface="Arial" panose="020B0604020202020204" pitchFamily="34" charset="0"/>
              </a:rPr>
              <a:t>Ententes </a:t>
            </a:r>
            <a:r>
              <a:rPr lang="en-US" err="1">
                <a:latin typeface="Arial" panose="020B0604020202020204" pitchFamily="34" charset="0"/>
                <a:cs typeface="Arial" panose="020B0604020202020204" pitchFamily="34" charset="0"/>
              </a:rPr>
              <a:t>actuelles</a:t>
            </a:r>
            <a:r>
              <a:rPr lang="en-US">
                <a:latin typeface="Arial" panose="020B0604020202020204" pitchFamily="34" charset="0"/>
                <a:cs typeface="Arial" panose="020B0604020202020204" pitchFamily="34" charset="0"/>
              </a:rPr>
              <a:t> </a:t>
            </a:r>
            <a:endParaRPr lang="en-US"/>
          </a:p>
        </p:txBody>
      </p:sp>
      <p:sp>
        <p:nvSpPr>
          <p:cNvPr id="3" name="Footer Placeholder 2">
            <a:extLst>
              <a:ext uri="{FF2B5EF4-FFF2-40B4-BE49-F238E27FC236}">
                <a16:creationId xmlns:a16="http://schemas.microsoft.com/office/drawing/2014/main" id="{D89F3BD0-F051-BF46-C8AE-98E1B14027E7}"/>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92C470A2-1743-A1F8-F76E-EB1690DD1013}"/>
              </a:ext>
            </a:extLst>
          </p:cNvPr>
          <p:cNvSpPr>
            <a:spLocks noGrp="1"/>
          </p:cNvSpPr>
          <p:nvPr>
            <p:ph type="sldNum" sz="quarter" idx="11"/>
            <p:custDataLst>
              <p:tags r:id="rId3"/>
            </p:custDataLst>
          </p:nvPr>
        </p:nvSpPr>
        <p:spPr/>
        <p:txBody>
          <a:bodyPr/>
          <a:lstStyle/>
          <a:p>
            <a:fld id="{91882AA3-08DC-0043-8CA8-8CA69DA2397E}" type="slidenum">
              <a:rPr lang="en-US"/>
              <a:pPr/>
              <a:t>10</a:t>
            </a:fld>
            <a:endParaRPr lang="en-US"/>
          </a:p>
        </p:txBody>
      </p:sp>
      <p:grpSp>
        <p:nvGrpSpPr>
          <p:cNvPr id="7" name="Groupe 6">
            <a:extLst>
              <a:ext uri="{FF2B5EF4-FFF2-40B4-BE49-F238E27FC236}">
                <a16:creationId xmlns:a16="http://schemas.microsoft.com/office/drawing/2014/main" id="{2EF88EF1-E480-0816-F140-B85FB12041C8}"/>
              </a:ext>
            </a:extLst>
          </p:cNvPr>
          <p:cNvGrpSpPr/>
          <p:nvPr>
            <p:custDataLst>
              <p:tags r:id="rId4"/>
            </p:custDataLst>
          </p:nvPr>
        </p:nvGrpSpPr>
        <p:grpSpPr>
          <a:xfrm>
            <a:off x="491997" y="3541345"/>
            <a:ext cx="1531821" cy="765910"/>
            <a:chOff x="816" y="1642753"/>
            <a:chExt cx="1531821" cy="765910"/>
          </a:xfrm>
        </p:grpSpPr>
        <p:sp>
          <p:nvSpPr>
            <p:cNvPr id="8" name="Rectangle 7">
              <a:extLst>
                <a:ext uri="{FF2B5EF4-FFF2-40B4-BE49-F238E27FC236}">
                  <a16:creationId xmlns:a16="http://schemas.microsoft.com/office/drawing/2014/main" id="{0A272182-8285-4A25-E131-DAF98203E877}"/>
                </a:ext>
              </a:extLst>
            </p:cNvPr>
            <p:cNvSpPr/>
            <p:nvPr/>
          </p:nvSpPr>
          <p:spPr>
            <a:xfrm>
              <a:off x="816" y="1642753"/>
              <a:ext cx="1531821" cy="765910"/>
            </a:xfrm>
            <a:prstGeom prst="rect">
              <a:avLst/>
            </a:prstGeom>
            <a:solidFill>
              <a:schemeClr val="bg1"/>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fr-CA"/>
            </a:p>
          </p:txBody>
        </p:sp>
        <p:sp>
          <p:nvSpPr>
            <p:cNvPr id="9" name="ZoneTexte 8">
              <a:extLst>
                <a:ext uri="{FF2B5EF4-FFF2-40B4-BE49-F238E27FC236}">
                  <a16:creationId xmlns:a16="http://schemas.microsoft.com/office/drawing/2014/main" id="{46975539-711E-B872-B45D-A5BAB329837C}"/>
                </a:ext>
              </a:extLst>
            </p:cNvPr>
            <p:cNvSpPr txBox="1"/>
            <p:nvPr/>
          </p:nvSpPr>
          <p:spPr>
            <a:xfrm>
              <a:off x="816" y="1642753"/>
              <a:ext cx="1531821" cy="7659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fr-CA" sz="2000" kern="1200">
                  <a:solidFill>
                    <a:schemeClr val="tx2"/>
                  </a:solidFill>
                  <a:latin typeface="Arial" panose="020B0604020202020204" pitchFamily="34" charset="0"/>
                  <a:cs typeface="Arial" panose="020B0604020202020204" pitchFamily="34" charset="0"/>
                </a:rPr>
                <a:t>RAMQ</a:t>
              </a:r>
              <a:endParaRPr lang="fr-CA" sz="3600" kern="1200">
                <a:solidFill>
                  <a:schemeClr val="tx2"/>
                </a:solidFill>
                <a:latin typeface="Arial" panose="020B0604020202020204" pitchFamily="34" charset="0"/>
                <a:cs typeface="Arial" panose="020B0604020202020204" pitchFamily="34" charset="0"/>
              </a:endParaRPr>
            </a:p>
          </p:txBody>
        </p:sp>
      </p:grpSp>
      <p:grpSp>
        <p:nvGrpSpPr>
          <p:cNvPr id="10" name="Groupe 9">
            <a:extLst>
              <a:ext uri="{FF2B5EF4-FFF2-40B4-BE49-F238E27FC236}">
                <a16:creationId xmlns:a16="http://schemas.microsoft.com/office/drawing/2014/main" id="{DE495E4E-2630-0ABB-952C-8B433C52FE28}"/>
              </a:ext>
            </a:extLst>
          </p:cNvPr>
          <p:cNvGrpSpPr/>
          <p:nvPr>
            <p:custDataLst>
              <p:tags r:id="rId5"/>
            </p:custDataLst>
          </p:nvPr>
        </p:nvGrpSpPr>
        <p:grpSpPr>
          <a:xfrm>
            <a:off x="2345500" y="3525574"/>
            <a:ext cx="1531821" cy="765910"/>
            <a:chOff x="1855132" y="1642753"/>
            <a:chExt cx="1531821" cy="765910"/>
          </a:xfrm>
        </p:grpSpPr>
        <p:sp>
          <p:nvSpPr>
            <p:cNvPr id="11" name="Rectangle 10">
              <a:extLst>
                <a:ext uri="{FF2B5EF4-FFF2-40B4-BE49-F238E27FC236}">
                  <a16:creationId xmlns:a16="http://schemas.microsoft.com/office/drawing/2014/main" id="{94970A53-7E38-F2AC-A034-C58F699CA3E9}"/>
                </a:ext>
              </a:extLst>
            </p:cNvPr>
            <p:cNvSpPr/>
            <p:nvPr/>
          </p:nvSpPr>
          <p:spPr>
            <a:xfrm>
              <a:off x="1855132" y="1642753"/>
              <a:ext cx="1531821" cy="765910"/>
            </a:xfrm>
            <a:prstGeom prst="rect">
              <a:avLst/>
            </a:prstGeom>
            <a:solidFill>
              <a:schemeClr val="bg1"/>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fr-CA"/>
            </a:p>
          </p:txBody>
        </p:sp>
        <p:sp>
          <p:nvSpPr>
            <p:cNvPr id="12" name="ZoneTexte 11">
              <a:extLst>
                <a:ext uri="{FF2B5EF4-FFF2-40B4-BE49-F238E27FC236}">
                  <a16:creationId xmlns:a16="http://schemas.microsoft.com/office/drawing/2014/main" id="{2077EF63-0926-DF45-623D-7670EEFC9559}"/>
                </a:ext>
              </a:extLst>
            </p:cNvPr>
            <p:cNvSpPr txBox="1"/>
            <p:nvPr/>
          </p:nvSpPr>
          <p:spPr>
            <a:xfrm>
              <a:off x="1855132" y="1642753"/>
              <a:ext cx="1531821" cy="7659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fr-CA" sz="2000" kern="1200">
                  <a:solidFill>
                    <a:schemeClr val="tx2"/>
                  </a:solidFill>
                  <a:latin typeface="Arial" panose="020B0604020202020204" pitchFamily="34" charset="0"/>
                  <a:cs typeface="Arial" panose="020B0604020202020204" pitchFamily="34" charset="0"/>
                </a:rPr>
                <a:t>Assurance privée</a:t>
              </a:r>
            </a:p>
          </p:txBody>
        </p:sp>
      </p:grpSp>
      <p:sp>
        <p:nvSpPr>
          <p:cNvPr id="13" name="Connecteur droit 3">
            <a:extLst>
              <a:ext uri="{FF2B5EF4-FFF2-40B4-BE49-F238E27FC236}">
                <a16:creationId xmlns:a16="http://schemas.microsoft.com/office/drawing/2014/main" id="{A6179AE7-DEA0-4C15-0590-18C8CD9207B8}"/>
              </a:ext>
            </a:extLst>
          </p:cNvPr>
          <p:cNvSpPr/>
          <p:nvPr>
            <p:custDataLst>
              <p:tags r:id="rId6"/>
            </p:custDataLst>
          </p:nvPr>
        </p:nvSpPr>
        <p:spPr>
          <a:xfrm>
            <a:off x="2023818" y="3336595"/>
            <a:ext cx="160841" cy="704637"/>
          </a:xfrm>
          <a:custGeom>
            <a:avLst/>
            <a:gdLst/>
            <a:ahLst/>
            <a:cxnLst/>
            <a:rect l="0" t="0" r="0" b="0"/>
            <a:pathLst>
              <a:path>
                <a:moveTo>
                  <a:pt x="160841" y="0"/>
                </a:moveTo>
                <a:lnTo>
                  <a:pt x="160841" y="704637"/>
                </a:lnTo>
                <a:lnTo>
                  <a:pt x="0" y="704637"/>
                </a:lnTo>
              </a:path>
            </a:pathLst>
          </a:custGeom>
          <a:noFill/>
          <a:ln>
            <a:solidFill>
              <a:schemeClr val="accent1"/>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CA"/>
          </a:p>
        </p:txBody>
      </p:sp>
      <p:sp>
        <p:nvSpPr>
          <p:cNvPr id="14" name="Connecteur droit 3">
            <a:extLst>
              <a:ext uri="{FF2B5EF4-FFF2-40B4-BE49-F238E27FC236}">
                <a16:creationId xmlns:a16="http://schemas.microsoft.com/office/drawing/2014/main" id="{40C841F4-6C9C-12C6-D60F-D59EBAA2A32A}"/>
              </a:ext>
            </a:extLst>
          </p:cNvPr>
          <p:cNvSpPr/>
          <p:nvPr>
            <p:custDataLst>
              <p:tags r:id="rId7"/>
            </p:custDataLst>
          </p:nvPr>
        </p:nvSpPr>
        <p:spPr>
          <a:xfrm>
            <a:off x="2184659" y="3340172"/>
            <a:ext cx="161653" cy="704637"/>
          </a:xfrm>
          <a:custGeom>
            <a:avLst/>
            <a:gdLst/>
            <a:ahLst/>
            <a:cxnLst/>
            <a:rect l="0" t="0" r="0" b="0"/>
            <a:pathLst>
              <a:path>
                <a:moveTo>
                  <a:pt x="0" y="0"/>
                </a:moveTo>
                <a:lnTo>
                  <a:pt x="0" y="704637"/>
                </a:lnTo>
                <a:lnTo>
                  <a:pt x="161653" y="704637"/>
                </a:lnTo>
              </a:path>
            </a:pathLst>
          </a:custGeom>
          <a:noFill/>
          <a:ln>
            <a:solidFill>
              <a:schemeClr val="accent1"/>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CA"/>
          </a:p>
        </p:txBody>
      </p:sp>
      <p:sp>
        <p:nvSpPr>
          <p:cNvPr id="15" name="Légende : encadrée 14">
            <a:extLst>
              <a:ext uri="{FF2B5EF4-FFF2-40B4-BE49-F238E27FC236}">
                <a16:creationId xmlns:a16="http://schemas.microsoft.com/office/drawing/2014/main" id="{8F717F88-3219-FDCB-3999-56EB3039239F}"/>
              </a:ext>
            </a:extLst>
          </p:cNvPr>
          <p:cNvSpPr/>
          <p:nvPr>
            <p:custDataLst>
              <p:tags r:id="rId8"/>
            </p:custDataLst>
          </p:nvPr>
        </p:nvSpPr>
        <p:spPr>
          <a:xfrm>
            <a:off x="491997" y="1392160"/>
            <a:ext cx="2858568" cy="656081"/>
          </a:xfrm>
          <a:prstGeom prst="borderCallout1">
            <a:avLst>
              <a:gd name="adj1" fmla="val 110213"/>
              <a:gd name="adj2" fmla="val 3327"/>
              <a:gd name="adj3" fmla="val 314187"/>
              <a:gd name="adj4" fmla="val 16741"/>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Entente relative à </a:t>
            </a:r>
            <a:r>
              <a:rPr lang="en-US" sz="1400" b="1" err="1">
                <a:solidFill>
                  <a:schemeClr val="tx1"/>
                </a:solidFill>
                <a:latin typeface="Arial" panose="020B0604020202020204" pitchFamily="34" charset="0"/>
                <a:cs typeface="Arial" panose="020B0604020202020204" pitchFamily="34" charset="0"/>
              </a:rPr>
              <a:t>l’assurance</a:t>
            </a:r>
            <a:r>
              <a:rPr lang="en-US" sz="1400" b="1">
                <a:solidFill>
                  <a:schemeClr val="tx1"/>
                </a:solidFill>
                <a:latin typeface="Arial" panose="020B0604020202020204" pitchFamily="34" charset="0"/>
                <a:cs typeface="Arial" panose="020B0604020202020204" pitchFamily="34" charset="0"/>
              </a:rPr>
              <a:t> maladie avec le MSSS</a:t>
            </a:r>
            <a:endParaRPr lang="fr-CA" sz="1400" b="1">
              <a:solidFill>
                <a:schemeClr val="tx1"/>
              </a:solidFill>
              <a:latin typeface="Arial" panose="020B0604020202020204" pitchFamily="34" charset="0"/>
              <a:cs typeface="Arial" panose="020B0604020202020204" pitchFamily="34" charset="0"/>
            </a:endParaRPr>
          </a:p>
        </p:txBody>
      </p:sp>
      <p:grpSp>
        <p:nvGrpSpPr>
          <p:cNvPr id="16" name="Groupe 15">
            <a:extLst>
              <a:ext uri="{FF2B5EF4-FFF2-40B4-BE49-F238E27FC236}">
                <a16:creationId xmlns:a16="http://schemas.microsoft.com/office/drawing/2014/main" id="{B3A95C67-0344-0EBA-BBF2-B17CA3D95129}"/>
              </a:ext>
            </a:extLst>
          </p:cNvPr>
          <p:cNvGrpSpPr/>
          <p:nvPr>
            <p:custDataLst>
              <p:tags r:id="rId9"/>
            </p:custDataLst>
          </p:nvPr>
        </p:nvGrpSpPr>
        <p:grpSpPr>
          <a:xfrm>
            <a:off x="1304954" y="2184509"/>
            <a:ext cx="1806456" cy="1132146"/>
            <a:chOff x="847431" y="188924"/>
            <a:chExt cx="1692096" cy="1132146"/>
          </a:xfrm>
        </p:grpSpPr>
        <p:sp>
          <p:nvSpPr>
            <p:cNvPr id="17" name="Rectangle 16">
              <a:extLst>
                <a:ext uri="{FF2B5EF4-FFF2-40B4-BE49-F238E27FC236}">
                  <a16:creationId xmlns:a16="http://schemas.microsoft.com/office/drawing/2014/main" id="{2B724D2F-C8EB-B6F6-FDA2-DA85DB89D766}"/>
                </a:ext>
              </a:extLst>
            </p:cNvPr>
            <p:cNvSpPr/>
            <p:nvPr/>
          </p:nvSpPr>
          <p:spPr>
            <a:xfrm>
              <a:off x="847431" y="188924"/>
              <a:ext cx="1692096" cy="1132146"/>
            </a:xfrm>
            <a:prstGeom prst="rect">
              <a:avLst/>
            </a:prstGeom>
            <a:solidFill>
              <a:schemeClr val="bg1"/>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fr-CA"/>
            </a:p>
          </p:txBody>
        </p:sp>
        <p:sp>
          <p:nvSpPr>
            <p:cNvPr id="18" name="ZoneTexte 17">
              <a:extLst>
                <a:ext uri="{FF2B5EF4-FFF2-40B4-BE49-F238E27FC236}">
                  <a16:creationId xmlns:a16="http://schemas.microsoft.com/office/drawing/2014/main" id="{765D2837-DF96-DA2F-E289-B2B3C420D50E}"/>
                </a:ext>
              </a:extLst>
            </p:cNvPr>
            <p:cNvSpPr txBox="1"/>
            <p:nvPr/>
          </p:nvSpPr>
          <p:spPr>
            <a:xfrm>
              <a:off x="847431" y="188924"/>
              <a:ext cx="1692096" cy="113214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fr-CA" sz="2000" b="1" kern="1200">
                  <a:solidFill>
                    <a:schemeClr val="tx2"/>
                  </a:solidFill>
                  <a:latin typeface="Arial" panose="020B0604020202020204" pitchFamily="34" charset="0"/>
                  <a:cs typeface="Arial" panose="020B0604020202020204" pitchFamily="34" charset="0"/>
                </a:rPr>
                <a:t>Assurance maladie et médicaments</a:t>
              </a:r>
            </a:p>
          </p:txBody>
        </p:sp>
      </p:grpSp>
      <p:sp>
        <p:nvSpPr>
          <p:cNvPr id="19" name="Légende : encadrée 18">
            <a:extLst>
              <a:ext uri="{FF2B5EF4-FFF2-40B4-BE49-F238E27FC236}">
                <a16:creationId xmlns:a16="http://schemas.microsoft.com/office/drawing/2014/main" id="{A8D0C9F4-9BEE-D28A-B438-02B54358CFED}"/>
              </a:ext>
            </a:extLst>
          </p:cNvPr>
          <p:cNvSpPr/>
          <p:nvPr>
            <p:custDataLst>
              <p:tags r:id="rId10"/>
            </p:custDataLst>
          </p:nvPr>
        </p:nvSpPr>
        <p:spPr>
          <a:xfrm>
            <a:off x="1303611" y="4831496"/>
            <a:ext cx="2083778" cy="888061"/>
          </a:xfrm>
          <a:prstGeom prst="borderCallout1">
            <a:avLst>
              <a:gd name="adj1" fmla="val -6501"/>
              <a:gd name="adj2" fmla="val 44556"/>
              <a:gd name="adj3" fmla="val -48397"/>
              <a:gd name="adj4" fmla="val 64203"/>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Entente </a:t>
            </a:r>
            <a:r>
              <a:rPr lang="fr-CA" sz="1400" b="1">
                <a:solidFill>
                  <a:schemeClr val="tx1"/>
                </a:solidFill>
                <a:latin typeface="Arial" panose="020B0604020202020204" pitchFamily="34" charset="0"/>
                <a:cs typeface="Arial" panose="020B0604020202020204" pitchFamily="34" charset="0"/>
              </a:rPr>
              <a:t>avec les tiers payants privés et les assureurs privés </a:t>
            </a:r>
          </a:p>
        </p:txBody>
      </p:sp>
      <p:graphicFrame>
        <p:nvGraphicFramePr>
          <p:cNvPr id="20" name="Diagramme 19">
            <a:extLst>
              <a:ext uri="{FF2B5EF4-FFF2-40B4-BE49-F238E27FC236}">
                <a16:creationId xmlns:a16="http://schemas.microsoft.com/office/drawing/2014/main" id="{8140C614-C7C6-8713-B51D-42E2A0625FCB}"/>
              </a:ext>
            </a:extLst>
          </p:cNvPr>
          <p:cNvGraphicFramePr/>
          <p:nvPr>
            <p:custDataLst>
              <p:tags r:id="rId11"/>
            </p:custDataLst>
          </p:nvPr>
        </p:nvGraphicFramePr>
        <p:xfrm>
          <a:off x="4374339" y="2263400"/>
          <a:ext cx="3386959" cy="353696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22" name="Légende : encadrée 21">
            <a:extLst>
              <a:ext uri="{FF2B5EF4-FFF2-40B4-BE49-F238E27FC236}">
                <a16:creationId xmlns:a16="http://schemas.microsoft.com/office/drawing/2014/main" id="{61F18BEF-33F1-0833-49ED-061EAA15F1DE}"/>
              </a:ext>
            </a:extLst>
          </p:cNvPr>
          <p:cNvSpPr/>
          <p:nvPr>
            <p:custDataLst>
              <p:tags r:id="rId12"/>
            </p:custDataLst>
          </p:nvPr>
        </p:nvSpPr>
        <p:spPr>
          <a:xfrm>
            <a:off x="4259608" y="1395144"/>
            <a:ext cx="2955732" cy="653097"/>
          </a:xfrm>
          <a:prstGeom prst="borderCallout1">
            <a:avLst>
              <a:gd name="adj1" fmla="val 118294"/>
              <a:gd name="adj2" fmla="val 5563"/>
              <a:gd name="adj3" fmla="val 165102"/>
              <a:gd name="adj4" fmla="val 28767"/>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Entente avec le </a:t>
            </a:r>
            <a:r>
              <a:rPr lang="en-US" sz="1400" b="1" err="1">
                <a:solidFill>
                  <a:schemeClr val="tx1"/>
                </a:solidFill>
                <a:latin typeface="Arial" panose="020B0604020202020204" pitchFamily="34" charset="0"/>
                <a:cs typeface="Arial" panose="020B0604020202020204" pitchFamily="34" charset="0"/>
              </a:rPr>
              <a:t>Partenariat</a:t>
            </a:r>
            <a:r>
              <a:rPr lang="en-US" sz="1400" b="1">
                <a:solidFill>
                  <a:schemeClr val="tx1"/>
                </a:solidFill>
                <a:latin typeface="Arial" panose="020B0604020202020204" pitchFamily="34" charset="0"/>
                <a:cs typeface="Arial" panose="020B0604020202020204" pitchFamily="34" charset="0"/>
              </a:rPr>
              <a:t> </a:t>
            </a:r>
            <a:r>
              <a:rPr lang="en-US" sz="1400" b="1" err="1">
                <a:solidFill>
                  <a:schemeClr val="tx1"/>
                </a:solidFill>
                <a:latin typeface="Arial" panose="020B0604020202020204" pitchFamily="34" charset="0"/>
                <a:cs typeface="Arial" panose="020B0604020202020204" pitchFamily="34" charset="0"/>
              </a:rPr>
              <a:t>fédéral</a:t>
            </a:r>
            <a:r>
              <a:rPr lang="en-US" sz="1400" b="1">
                <a:solidFill>
                  <a:schemeClr val="tx1"/>
                </a:solidFill>
                <a:latin typeface="Arial" panose="020B0604020202020204" pitchFamily="34" charset="0"/>
                <a:cs typeface="Arial" panose="020B0604020202020204" pitchFamily="34" charset="0"/>
              </a:rPr>
              <a:t> pour les </a:t>
            </a:r>
            <a:r>
              <a:rPr lang="en-US" sz="1400" b="1" err="1">
                <a:solidFill>
                  <a:schemeClr val="tx1"/>
                </a:solidFill>
                <a:latin typeface="Arial" panose="020B0604020202020204" pitchFamily="34" charset="0"/>
                <a:cs typeface="Arial" panose="020B0604020202020204" pitchFamily="34" charset="0"/>
              </a:rPr>
              <a:t>soins</a:t>
            </a:r>
            <a:r>
              <a:rPr lang="en-US" sz="1400" b="1">
                <a:solidFill>
                  <a:schemeClr val="tx1"/>
                </a:solidFill>
                <a:latin typeface="Arial" panose="020B0604020202020204" pitchFamily="34" charset="0"/>
                <a:cs typeface="Arial" panose="020B0604020202020204" pitchFamily="34" charset="0"/>
              </a:rPr>
              <a:t> de santé</a:t>
            </a:r>
            <a:endParaRPr lang="fr-CA" sz="1400" b="1">
              <a:solidFill>
                <a:schemeClr val="tx1"/>
              </a:solidFill>
              <a:latin typeface="Arial" panose="020B0604020202020204" pitchFamily="34" charset="0"/>
              <a:cs typeface="Arial" panose="020B0604020202020204" pitchFamily="34" charset="0"/>
            </a:endParaRPr>
          </a:p>
        </p:txBody>
      </p:sp>
      <p:sp>
        <p:nvSpPr>
          <p:cNvPr id="31" name="Légende : encadrée 30">
            <a:extLst>
              <a:ext uri="{FF2B5EF4-FFF2-40B4-BE49-F238E27FC236}">
                <a16:creationId xmlns:a16="http://schemas.microsoft.com/office/drawing/2014/main" id="{988A3768-F540-C7E5-E306-06671A5CDC0B}"/>
              </a:ext>
            </a:extLst>
          </p:cNvPr>
          <p:cNvSpPr/>
          <p:nvPr>
            <p:custDataLst>
              <p:tags r:id="rId13"/>
            </p:custDataLst>
          </p:nvPr>
        </p:nvSpPr>
        <p:spPr>
          <a:xfrm>
            <a:off x="7769501" y="1328450"/>
            <a:ext cx="3812899" cy="738664"/>
          </a:xfrm>
          <a:prstGeom prst="borderCallout1">
            <a:avLst>
              <a:gd name="adj1" fmla="val 107165"/>
              <a:gd name="adj2" fmla="val 9903"/>
              <a:gd name="adj3" fmla="val 222076"/>
              <a:gd name="adj4" fmla="val 17191"/>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Entente </a:t>
            </a:r>
            <a:r>
              <a:rPr lang="fr-CA" sz="1400" b="1">
                <a:solidFill>
                  <a:schemeClr val="tx1"/>
                </a:solidFill>
                <a:latin typeface="Arial" panose="020B0604020202020204" pitchFamily="34" charset="0"/>
                <a:cs typeface="Arial" panose="020B0604020202020204" pitchFamily="34" charset="0"/>
              </a:rPr>
              <a:t>relative au système de remboursement automatisé des médicaments couverts par la CNESST</a:t>
            </a:r>
          </a:p>
        </p:txBody>
      </p:sp>
      <p:sp>
        <p:nvSpPr>
          <p:cNvPr id="34" name="Légende : encadrée 33">
            <a:extLst>
              <a:ext uri="{FF2B5EF4-FFF2-40B4-BE49-F238E27FC236}">
                <a16:creationId xmlns:a16="http://schemas.microsoft.com/office/drawing/2014/main" id="{82EB11C5-82B8-25B1-7777-D8BD7E46851C}"/>
              </a:ext>
            </a:extLst>
          </p:cNvPr>
          <p:cNvSpPr/>
          <p:nvPr>
            <p:custDataLst>
              <p:tags r:id="rId14"/>
            </p:custDataLst>
          </p:nvPr>
        </p:nvSpPr>
        <p:spPr>
          <a:xfrm>
            <a:off x="8110599" y="4246138"/>
            <a:ext cx="3338772" cy="696540"/>
          </a:xfrm>
          <a:prstGeom prst="borderCallout1">
            <a:avLst>
              <a:gd name="adj1" fmla="val -3811"/>
              <a:gd name="adj2" fmla="val 78363"/>
              <a:gd name="adj3" fmla="val -43570"/>
              <a:gd name="adj4" fmla="val 79555"/>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Entente </a:t>
            </a:r>
            <a:r>
              <a:rPr lang="fr-CA" sz="1400" b="1">
                <a:solidFill>
                  <a:schemeClr val="tx1"/>
                </a:solidFill>
                <a:latin typeface="Arial" panose="020B0604020202020204" pitchFamily="34" charset="0"/>
                <a:cs typeface="Arial" panose="020B0604020202020204" pitchFamily="34" charset="0"/>
              </a:rPr>
              <a:t>relative au système de remboursement automatisé des médicaments couverts par la SAAQ</a:t>
            </a:r>
          </a:p>
        </p:txBody>
      </p:sp>
      <p:graphicFrame>
        <p:nvGraphicFramePr>
          <p:cNvPr id="5" name="Diagramme 4">
            <a:extLst>
              <a:ext uri="{FF2B5EF4-FFF2-40B4-BE49-F238E27FC236}">
                <a16:creationId xmlns:a16="http://schemas.microsoft.com/office/drawing/2014/main" id="{46BA4BE8-E894-E391-E865-552A3D3F1276}"/>
              </a:ext>
            </a:extLst>
          </p:cNvPr>
          <p:cNvGraphicFramePr/>
          <p:nvPr>
            <p:custDataLst>
              <p:tags r:id="rId15"/>
            </p:custDataLst>
          </p:nvPr>
        </p:nvGraphicFramePr>
        <p:xfrm>
          <a:off x="8153020" y="1802715"/>
          <a:ext cx="3386959" cy="2597588"/>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sp>
        <p:nvSpPr>
          <p:cNvPr id="21" name="ZoneTexte 20">
            <a:extLst>
              <a:ext uri="{FF2B5EF4-FFF2-40B4-BE49-F238E27FC236}">
                <a16:creationId xmlns:a16="http://schemas.microsoft.com/office/drawing/2014/main" id="{8EAB7D2F-335E-F947-300A-9099FE244900}"/>
              </a:ext>
            </a:extLst>
          </p:cNvPr>
          <p:cNvSpPr txBox="1"/>
          <p:nvPr>
            <p:custDataLst>
              <p:tags r:id="rId16"/>
            </p:custDataLst>
          </p:nvPr>
        </p:nvSpPr>
        <p:spPr>
          <a:xfrm>
            <a:off x="6181086" y="5093524"/>
            <a:ext cx="3386959" cy="1169551"/>
          </a:xfrm>
          <a:prstGeom prst="rect">
            <a:avLst/>
          </a:prstGeom>
          <a:noFill/>
          <a:ln w="28575">
            <a:solidFill>
              <a:schemeClr val="bg2"/>
            </a:solidFill>
          </a:ln>
        </p:spPr>
        <p:txBody>
          <a:bodyPr wrap="square" rtlCol="0">
            <a:spAutoFit/>
          </a:bodyPr>
          <a:lstStyle/>
          <a:p>
            <a:pPr marL="285750" indent="-285750">
              <a:buFont typeface="Arial" panose="020B0604020202020204" pitchFamily="34" charset="0"/>
              <a:buChar char="•"/>
            </a:pPr>
            <a:r>
              <a:rPr lang="fr-CA" sz="1400" b="1">
                <a:latin typeface="Arial"/>
                <a:cs typeface="Arial"/>
              </a:rPr>
              <a:t>Premières Nations, Inuit ou Métis (autres que ceux couverts par Services aux Autochtones)</a:t>
            </a:r>
          </a:p>
          <a:p>
            <a:pPr marL="285750" indent="-285750">
              <a:buFont typeface="Arial" panose="020B0604020202020204" pitchFamily="34" charset="0"/>
              <a:buChar char="•"/>
            </a:pPr>
            <a:r>
              <a:rPr lang="fr-CA" sz="1400" b="1">
                <a:latin typeface="Arial"/>
                <a:cs typeface="Arial"/>
              </a:rPr>
              <a:t>Régime de soins de santé de la fonction publique </a:t>
            </a:r>
            <a:r>
              <a:rPr lang="fr-CA" sz="1400" b="1">
                <a:solidFill>
                  <a:schemeClr val="tx1">
                    <a:lumMod val="50000"/>
                  </a:schemeClr>
                </a:solidFill>
                <a:latin typeface="Arial"/>
                <a:cs typeface="Arial"/>
              </a:rPr>
              <a:t>(RSSFP)</a:t>
            </a:r>
          </a:p>
        </p:txBody>
      </p:sp>
    </p:spTree>
    <p:extLst>
      <p:ext uri="{BB962C8B-B14F-4D97-AF65-F5344CB8AC3E}">
        <p14:creationId xmlns:p14="http://schemas.microsoft.com/office/powerpoint/2010/main" val="616860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5EE1BCF-58CE-929F-F392-7741B83359DB}"/>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Slide Number Placeholder 3">
            <a:extLst>
              <a:ext uri="{FF2B5EF4-FFF2-40B4-BE49-F238E27FC236}">
                <a16:creationId xmlns:a16="http://schemas.microsoft.com/office/drawing/2014/main" id="{6835F5A8-EAB5-7927-5883-4D40744DE74C}"/>
              </a:ext>
            </a:extLst>
          </p:cNvPr>
          <p:cNvSpPr>
            <a:spLocks noGrp="1"/>
          </p:cNvSpPr>
          <p:nvPr>
            <p:ph type="sldNum" sz="quarter" idx="11"/>
            <p:custDataLst>
              <p:tags r:id="rId2"/>
            </p:custDataLst>
          </p:nvPr>
        </p:nvSpPr>
        <p:spPr/>
        <p:txBody>
          <a:bodyPr/>
          <a:lstStyle/>
          <a:p>
            <a:fld id="{91882AA3-08DC-0043-8CA8-8CA69DA2397E}" type="slidenum">
              <a:rPr lang="en-US"/>
              <a:pPr/>
              <a:t>11</a:t>
            </a:fld>
            <a:endParaRPr lang="en-US"/>
          </a:p>
        </p:txBody>
      </p:sp>
      <p:sp>
        <p:nvSpPr>
          <p:cNvPr id="10" name="Espace réservé du contenu 9">
            <a:extLst>
              <a:ext uri="{FF2B5EF4-FFF2-40B4-BE49-F238E27FC236}">
                <a16:creationId xmlns:a16="http://schemas.microsoft.com/office/drawing/2014/main" id="{5B4FE580-CFFD-98EC-74E1-D6B73948405A}"/>
              </a:ext>
            </a:extLst>
          </p:cNvPr>
          <p:cNvSpPr>
            <a:spLocks noGrp="1"/>
          </p:cNvSpPr>
          <p:nvPr>
            <p:ph sz="quarter" idx="13"/>
            <p:custDataLst>
              <p:tags r:id="rId3"/>
            </p:custDataLst>
          </p:nvPr>
        </p:nvSpPr>
        <p:spPr/>
        <p:txBody>
          <a:bodyPr/>
          <a:lstStyle/>
          <a:p>
            <a:endParaRPr lang="fr-CA"/>
          </a:p>
        </p:txBody>
      </p:sp>
      <p:graphicFrame>
        <p:nvGraphicFramePr>
          <p:cNvPr id="11" name="Tableau 5">
            <a:extLst>
              <a:ext uri="{FF2B5EF4-FFF2-40B4-BE49-F238E27FC236}">
                <a16:creationId xmlns:a16="http://schemas.microsoft.com/office/drawing/2014/main" id="{9D376F54-9560-CCE9-1F57-037002E36FD0}"/>
              </a:ext>
            </a:extLst>
          </p:cNvPr>
          <p:cNvGraphicFramePr>
            <a:graphicFrameLocks noGrp="1"/>
          </p:cNvGraphicFramePr>
          <p:nvPr>
            <p:custDataLst>
              <p:tags r:id="rId4"/>
            </p:custDataLst>
            <p:extLst>
              <p:ext uri="{D42A27DB-BD31-4B8C-83A1-F6EECF244321}">
                <p14:modId xmlns:p14="http://schemas.microsoft.com/office/powerpoint/2010/main" val="2353822199"/>
              </p:ext>
            </p:extLst>
          </p:nvPr>
        </p:nvGraphicFramePr>
        <p:xfrm>
          <a:off x="-33523" y="1"/>
          <a:ext cx="12225524" cy="6891083"/>
        </p:xfrm>
        <a:graphic>
          <a:graphicData uri="http://schemas.openxmlformats.org/drawingml/2006/table">
            <a:tbl>
              <a:tblPr firstRow="1" bandRow="1">
                <a:tableStyleId>{5C22544A-7EE6-4342-B048-85BDC9FD1C3A}</a:tableStyleId>
              </a:tblPr>
              <a:tblGrid>
                <a:gridCol w="3113563">
                  <a:extLst>
                    <a:ext uri="{9D8B030D-6E8A-4147-A177-3AD203B41FA5}">
                      <a16:colId xmlns:a16="http://schemas.microsoft.com/office/drawing/2014/main" val="1704062183"/>
                    </a:ext>
                  </a:extLst>
                </a:gridCol>
                <a:gridCol w="3159976">
                  <a:extLst>
                    <a:ext uri="{9D8B030D-6E8A-4147-A177-3AD203B41FA5}">
                      <a16:colId xmlns:a16="http://schemas.microsoft.com/office/drawing/2014/main" val="757423004"/>
                    </a:ext>
                  </a:extLst>
                </a:gridCol>
                <a:gridCol w="2808312">
                  <a:extLst>
                    <a:ext uri="{9D8B030D-6E8A-4147-A177-3AD203B41FA5}">
                      <a16:colId xmlns:a16="http://schemas.microsoft.com/office/drawing/2014/main" val="147794810"/>
                    </a:ext>
                  </a:extLst>
                </a:gridCol>
                <a:gridCol w="3143673">
                  <a:extLst>
                    <a:ext uri="{9D8B030D-6E8A-4147-A177-3AD203B41FA5}">
                      <a16:colId xmlns:a16="http://schemas.microsoft.com/office/drawing/2014/main" val="1688099607"/>
                    </a:ext>
                  </a:extLst>
                </a:gridCol>
              </a:tblGrid>
              <a:tr h="524540">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CA" sz="1400" b="1">
                          <a:solidFill>
                            <a:srgbClr val="FFFFFF"/>
                          </a:solidFill>
                          <a:latin typeface="Arial"/>
                          <a:cs typeface="Arial"/>
                        </a:rPr>
                        <a:t>COUVERTURE</a:t>
                      </a:r>
                      <a:r>
                        <a:rPr lang="fr-CA" sz="1400" b="1" spc="-40">
                          <a:solidFill>
                            <a:srgbClr val="FFFFFF"/>
                          </a:solidFill>
                          <a:latin typeface="Arial"/>
                          <a:cs typeface="Arial"/>
                        </a:rPr>
                        <a:t> </a:t>
                      </a:r>
                      <a:r>
                        <a:rPr lang="fr-CA" sz="1400" b="1" spc="-10">
                          <a:solidFill>
                            <a:srgbClr val="FFFFFF"/>
                          </a:solidFill>
                          <a:latin typeface="Arial"/>
                          <a:cs typeface="Arial"/>
                        </a:rPr>
                        <a:t>UNIVERSELLE </a:t>
                      </a:r>
                      <a:r>
                        <a:rPr lang="fr-CA" sz="1400" b="1">
                          <a:solidFill>
                            <a:srgbClr val="FFFFFF"/>
                          </a:solidFill>
                          <a:latin typeface="Arial"/>
                          <a:cs typeface="Arial"/>
                        </a:rPr>
                        <a:t>EN</a:t>
                      </a:r>
                      <a:r>
                        <a:rPr lang="fr-CA" sz="1400" b="1" spc="-10">
                          <a:solidFill>
                            <a:srgbClr val="FFFFFF"/>
                          </a:solidFill>
                          <a:latin typeface="Arial"/>
                          <a:cs typeface="Arial"/>
                        </a:rPr>
                        <a:t> </a:t>
                      </a:r>
                      <a:r>
                        <a:rPr lang="fr-CA" sz="1400" b="1">
                          <a:solidFill>
                            <a:srgbClr val="FFFFFF"/>
                          </a:solidFill>
                          <a:latin typeface="Arial"/>
                          <a:cs typeface="Arial"/>
                        </a:rPr>
                        <a:t>VERTU DE</a:t>
                      </a:r>
                      <a:r>
                        <a:rPr lang="fr-CA" sz="1400" b="1" spc="-10">
                          <a:solidFill>
                            <a:srgbClr val="FFFFFF"/>
                          </a:solidFill>
                          <a:latin typeface="Arial"/>
                          <a:cs typeface="Arial"/>
                        </a:rPr>
                        <a:t> </a:t>
                      </a:r>
                      <a:r>
                        <a:rPr lang="fr-CA" sz="1400" b="1">
                          <a:solidFill>
                            <a:srgbClr val="FFFFFF"/>
                          </a:solidFill>
                          <a:latin typeface="Arial"/>
                          <a:cs typeface="Arial"/>
                        </a:rPr>
                        <a:t>LA </a:t>
                      </a:r>
                      <a:r>
                        <a:rPr lang="fr-CA" sz="1400" b="1" spc="-25">
                          <a:solidFill>
                            <a:srgbClr val="FFFFFF"/>
                          </a:solidFill>
                          <a:latin typeface="Arial"/>
                          <a:cs typeface="Arial"/>
                        </a:rPr>
                        <a:t>LAM</a:t>
                      </a:r>
                      <a:endParaRPr lang="fr-CA" sz="1400">
                        <a:latin typeface="Arial"/>
                        <a:cs typeface="Arial"/>
                      </a:endParaRPr>
                    </a:p>
                  </a:txBody>
                  <a:tcPr marL="121920" marR="121920" marT="60960" marB="6096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CA" sz="1400" b="1" dirty="0">
                          <a:solidFill>
                            <a:srgbClr val="FFFFFF"/>
                          </a:solidFill>
                          <a:latin typeface="Arial"/>
                          <a:cs typeface="Arial"/>
                        </a:rPr>
                        <a:t>GARANTIES</a:t>
                      </a:r>
                      <a:r>
                        <a:rPr lang="fr-CA" sz="1400" b="1" spc="-35" dirty="0">
                          <a:solidFill>
                            <a:srgbClr val="FFFFFF"/>
                          </a:solidFill>
                          <a:latin typeface="Arial"/>
                          <a:cs typeface="Arial"/>
                        </a:rPr>
                        <a:t> </a:t>
                      </a:r>
                      <a:r>
                        <a:rPr lang="fr-CA" sz="1400" b="1" dirty="0">
                          <a:solidFill>
                            <a:srgbClr val="FFFFFF"/>
                          </a:solidFill>
                          <a:latin typeface="Arial"/>
                          <a:cs typeface="Arial"/>
                        </a:rPr>
                        <a:t>DU</a:t>
                      </a:r>
                      <a:r>
                        <a:rPr lang="fr-CA" sz="1400" b="1" spc="5" dirty="0">
                          <a:solidFill>
                            <a:srgbClr val="FFFFFF"/>
                          </a:solidFill>
                          <a:latin typeface="Arial"/>
                          <a:cs typeface="Arial"/>
                        </a:rPr>
                        <a:t> </a:t>
                      </a:r>
                      <a:r>
                        <a:rPr lang="fr-CA" sz="1400" b="1" spc="-20" dirty="0">
                          <a:solidFill>
                            <a:srgbClr val="FFFFFF"/>
                          </a:solidFill>
                          <a:latin typeface="Arial"/>
                          <a:cs typeface="Arial"/>
                        </a:rPr>
                        <a:t>RGAM</a:t>
                      </a:r>
                      <a:endParaRPr lang="fr-CA" sz="1400" dirty="0">
                        <a:latin typeface="Arial"/>
                        <a:cs typeface="Arial"/>
                      </a:endParaRPr>
                    </a:p>
                  </a:txBody>
                  <a:tcPr marL="121920" marR="121920" marT="60960" marB="6096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CA" sz="1400" b="1">
                          <a:solidFill>
                            <a:srgbClr val="FFFFFF"/>
                          </a:solidFill>
                          <a:latin typeface="Arial"/>
                          <a:cs typeface="Arial"/>
                        </a:rPr>
                        <a:t>ASSURANCE</a:t>
                      </a:r>
                      <a:r>
                        <a:rPr lang="fr-CA" sz="1400" b="1" spc="-40">
                          <a:solidFill>
                            <a:srgbClr val="FFFFFF"/>
                          </a:solidFill>
                          <a:latin typeface="Arial"/>
                          <a:cs typeface="Arial"/>
                        </a:rPr>
                        <a:t> </a:t>
                      </a:r>
                      <a:r>
                        <a:rPr lang="fr-CA" sz="1400" b="1" spc="-10">
                          <a:solidFill>
                            <a:srgbClr val="FFFFFF"/>
                          </a:solidFill>
                          <a:latin typeface="Arial"/>
                          <a:cs typeface="Arial"/>
                        </a:rPr>
                        <a:t>MÉDICAMENTS</a:t>
                      </a:r>
                      <a:endParaRPr lang="fr-CA" sz="1400">
                        <a:latin typeface="Arial"/>
                        <a:cs typeface="Arial"/>
                      </a:endParaRPr>
                    </a:p>
                  </a:txBody>
                  <a:tcPr marL="121920" marR="121920" marT="60960" marB="6096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CA" sz="1400">
                          <a:latin typeface="Arial"/>
                          <a:cs typeface="Arial"/>
                        </a:rPr>
                        <a:t>PROGRAMMES D’ACCÈS GRATUIT</a:t>
                      </a:r>
                    </a:p>
                  </a:txBody>
                  <a:tcPr marL="121920" marR="121920" marT="60960" marB="60960"/>
                </a:tc>
                <a:extLst>
                  <a:ext uri="{0D108BD9-81ED-4DB2-BD59-A6C34878D82A}">
                    <a16:rowId xmlns:a16="http://schemas.microsoft.com/office/drawing/2014/main" val="1752322661"/>
                  </a:ext>
                </a:extLst>
              </a:tr>
              <a:tr h="1263075">
                <a:tc>
                  <a:txBody>
                    <a:bodyPr/>
                    <a:lstStyle/>
                    <a:p>
                      <a:r>
                        <a:rPr lang="fr-CA" sz="1400" b="1">
                          <a:solidFill>
                            <a:schemeClr val="bg1"/>
                          </a:solidFill>
                          <a:latin typeface="Arial"/>
                          <a:cs typeface="Arial"/>
                        </a:rPr>
                        <a:t>TOUTE PERSONNE QUI PRÉSENTE SA CAM, UN CARNET DE RÉCLAMATION OU UNE PREUVE TEMPORAIRE D’ADMISSIBILITÉ</a:t>
                      </a:r>
                    </a:p>
                  </a:txBody>
                  <a:tcPr marL="121920" marR="121920" marT="60960" marB="60960">
                    <a:solidFill>
                      <a:schemeClr val="tx2">
                        <a:lumMod val="60000"/>
                        <a:lumOff val="40000"/>
                      </a:schemeClr>
                    </a:solidFill>
                  </a:tcPr>
                </a:tc>
                <a:tc>
                  <a:txBody>
                    <a:bodyPr/>
                    <a:lstStyle/>
                    <a:p>
                      <a:r>
                        <a:rPr lang="fr-CA" sz="1400" b="1" dirty="0">
                          <a:solidFill>
                            <a:schemeClr val="bg1"/>
                          </a:solidFill>
                          <a:latin typeface="Arial"/>
                          <a:cs typeface="Arial"/>
                        </a:rPr>
                        <a:t>TOUTE PERSONNE ASSURÉE AUPRÈS DE LA RAMQ OU D’UNE ASSURANCE PRIVÉE</a:t>
                      </a:r>
                    </a:p>
                  </a:txBody>
                  <a:tcPr marL="121920" marR="121920" marT="60960" marB="60960">
                    <a:solidFill>
                      <a:schemeClr val="tx2">
                        <a:lumMod val="60000"/>
                        <a:lumOff val="40000"/>
                      </a:schemeClr>
                    </a:solidFill>
                  </a:tcPr>
                </a:tc>
                <a:tc>
                  <a:txBody>
                    <a:bodyPr/>
                    <a:lstStyle/>
                    <a:p>
                      <a:r>
                        <a:rPr lang="fr-CA" sz="1400" b="1">
                          <a:solidFill>
                            <a:schemeClr val="bg1"/>
                          </a:solidFill>
                          <a:latin typeface="Arial"/>
                          <a:cs typeface="Arial"/>
                        </a:rPr>
                        <a:t>TOUTE PERSONNE ASSURÉE AUPRÈS DE LA RAMQ</a:t>
                      </a:r>
                    </a:p>
                  </a:txBody>
                  <a:tcPr marL="121920" marR="121920" marT="60960" marB="60960">
                    <a:solidFill>
                      <a:schemeClr val="tx2">
                        <a:lumMod val="60000"/>
                        <a:lumOff val="4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CA" sz="1400" b="1">
                          <a:solidFill>
                            <a:schemeClr val="bg1"/>
                          </a:solidFill>
                          <a:latin typeface="+mn-lt"/>
                          <a:cs typeface="Arial"/>
                        </a:rPr>
                        <a:t>TOUTE PERSONNE QUI PRÉSENTE SA CAM, UN CARNET DE RÉCLAMATION OU UNE PREUVE TEMPORAIRE D’ADMISSIBILITÉ</a:t>
                      </a:r>
                    </a:p>
                  </a:txBody>
                  <a:tcPr marL="121920" marR="121920" marT="60960" marB="60960">
                    <a:solidFill>
                      <a:schemeClr val="tx2">
                        <a:lumMod val="60000"/>
                        <a:lumOff val="40000"/>
                      </a:schemeClr>
                    </a:solidFill>
                  </a:tcPr>
                </a:tc>
                <a:extLst>
                  <a:ext uri="{0D108BD9-81ED-4DB2-BD59-A6C34878D82A}">
                    <a16:rowId xmlns:a16="http://schemas.microsoft.com/office/drawing/2014/main" val="3378179043"/>
                  </a:ext>
                </a:extLst>
              </a:tr>
              <a:tr h="728528">
                <a:tc>
                  <a:txBody>
                    <a:bodyPr/>
                    <a:lstStyle/>
                    <a:p>
                      <a:r>
                        <a:rPr lang="fr-CA" sz="1400" b="0">
                          <a:solidFill>
                            <a:schemeClr val="tx1"/>
                          </a:solidFill>
                          <a:latin typeface="Arial"/>
                          <a:cs typeface="Arial"/>
                        </a:rPr>
                        <a:t>Prescription d’un médicament </a:t>
                      </a:r>
                    </a:p>
                    <a:p>
                      <a:r>
                        <a:rPr lang="fr-CA" sz="1400" b="1">
                          <a:solidFill>
                            <a:schemeClr val="tx1"/>
                          </a:solidFill>
                          <a:latin typeface="Arial"/>
                          <a:cs typeface="Arial"/>
                        </a:rPr>
                        <a:t>(règle 30)</a:t>
                      </a:r>
                    </a:p>
                  </a:txBody>
                  <a:tcPr marL="121920" marR="121920" marT="60960" marB="60960"/>
                </a:tc>
                <a:tc>
                  <a:txBody>
                    <a:bodyPr/>
                    <a:lstStyle/>
                    <a:p>
                      <a:r>
                        <a:rPr lang="fr-CA" sz="1400">
                          <a:solidFill>
                            <a:schemeClr val="tx1"/>
                          </a:solidFill>
                          <a:latin typeface="Arial"/>
                          <a:cs typeface="Arial"/>
                        </a:rPr>
                        <a:t>Service d’évaluation afin de prolonger une ordonnance et sa prolongation </a:t>
                      </a:r>
                      <a:r>
                        <a:rPr lang="fr-CA" sz="1400" b="1">
                          <a:solidFill>
                            <a:schemeClr val="tx1"/>
                          </a:solidFill>
                          <a:latin typeface="Arial"/>
                          <a:cs typeface="Arial"/>
                        </a:rPr>
                        <a:t>(règle 35)</a:t>
                      </a:r>
                    </a:p>
                  </a:txBody>
                  <a:tcPr marL="121920" marR="121920" marT="60960" marB="6096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CA" sz="1400" b="0">
                          <a:solidFill>
                            <a:schemeClr val="tx1"/>
                          </a:solidFill>
                          <a:latin typeface="Arial"/>
                          <a:cs typeface="Arial"/>
                        </a:rPr>
                        <a:t>Transmission</a:t>
                      </a:r>
                      <a:r>
                        <a:rPr lang="fr-CA" sz="1400" b="0" spc="-35">
                          <a:solidFill>
                            <a:schemeClr val="tx1"/>
                          </a:solidFill>
                          <a:latin typeface="Arial"/>
                          <a:cs typeface="Arial"/>
                        </a:rPr>
                        <a:t> </a:t>
                      </a:r>
                      <a:r>
                        <a:rPr lang="fr-CA" sz="1400" b="0">
                          <a:solidFill>
                            <a:schemeClr val="tx1"/>
                          </a:solidFill>
                          <a:latin typeface="Arial"/>
                          <a:cs typeface="Arial"/>
                        </a:rPr>
                        <a:t>d’un</a:t>
                      </a:r>
                      <a:r>
                        <a:rPr lang="fr-CA" sz="1400" b="0" spc="-20">
                          <a:solidFill>
                            <a:schemeClr val="tx1"/>
                          </a:solidFill>
                          <a:latin typeface="Arial"/>
                          <a:cs typeface="Arial"/>
                        </a:rPr>
                        <a:t> </a:t>
                      </a:r>
                      <a:r>
                        <a:rPr lang="fr-CA" sz="1400" b="0">
                          <a:solidFill>
                            <a:schemeClr val="tx1"/>
                          </a:solidFill>
                          <a:latin typeface="Arial"/>
                          <a:cs typeface="Arial"/>
                        </a:rPr>
                        <a:t>profil</a:t>
                      </a:r>
                      <a:r>
                        <a:rPr lang="fr-CA" sz="1400" b="0" spc="-15">
                          <a:solidFill>
                            <a:schemeClr val="tx1"/>
                          </a:solidFill>
                          <a:latin typeface="Arial"/>
                          <a:cs typeface="Arial"/>
                        </a:rPr>
                        <a:t> </a:t>
                      </a:r>
                    </a:p>
                    <a:p>
                      <a:pPr marL="0" marR="0" lvl="0" indent="0" defTabSz="914400" eaLnBrk="1" fontAlgn="auto" latinLnBrk="0" hangingPunct="1">
                        <a:lnSpc>
                          <a:spcPct val="100000"/>
                        </a:lnSpc>
                        <a:spcBef>
                          <a:spcPts val="0"/>
                        </a:spcBef>
                        <a:spcAft>
                          <a:spcPts val="0"/>
                        </a:spcAft>
                        <a:buClrTx/>
                        <a:buSzTx/>
                        <a:buFontTx/>
                        <a:buNone/>
                        <a:tabLst/>
                        <a:defRPr/>
                      </a:pPr>
                      <a:r>
                        <a:rPr lang="fr-CA" sz="1400" b="1">
                          <a:solidFill>
                            <a:schemeClr val="tx1"/>
                          </a:solidFill>
                          <a:latin typeface="Arial"/>
                          <a:cs typeface="Arial"/>
                        </a:rPr>
                        <a:t>(règle</a:t>
                      </a:r>
                      <a:r>
                        <a:rPr lang="fr-CA" sz="1400" b="1" spc="-5">
                          <a:solidFill>
                            <a:schemeClr val="tx1"/>
                          </a:solidFill>
                          <a:latin typeface="Arial"/>
                          <a:cs typeface="Arial"/>
                        </a:rPr>
                        <a:t> </a:t>
                      </a:r>
                      <a:r>
                        <a:rPr lang="fr-CA" sz="1400" b="1" spc="-25">
                          <a:solidFill>
                            <a:schemeClr val="tx1"/>
                          </a:solidFill>
                          <a:latin typeface="Arial"/>
                          <a:cs typeface="Arial"/>
                        </a:rPr>
                        <a:t>12)</a:t>
                      </a:r>
                      <a:endParaRPr lang="fr-CA" sz="1400" b="1">
                        <a:solidFill>
                          <a:schemeClr val="tx1"/>
                        </a:solidFill>
                        <a:latin typeface="Arial"/>
                        <a:cs typeface="Arial"/>
                      </a:endParaRPr>
                    </a:p>
                  </a:txBody>
                  <a:tcPr marL="121920" marR="121920" marT="60960" marB="6096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CA" sz="1400" b="0">
                          <a:solidFill>
                            <a:schemeClr val="tx1"/>
                          </a:solidFill>
                          <a:latin typeface="Arial"/>
                          <a:cs typeface="Arial"/>
                        </a:rPr>
                        <a:t>Enseignement IVG</a:t>
                      </a:r>
                    </a:p>
                  </a:txBody>
                  <a:tcPr marL="121920" marR="121920" marT="60960" marB="60960"/>
                </a:tc>
                <a:extLst>
                  <a:ext uri="{0D108BD9-81ED-4DB2-BD59-A6C34878D82A}">
                    <a16:rowId xmlns:a16="http://schemas.microsoft.com/office/drawing/2014/main" val="1301258596"/>
                  </a:ext>
                </a:extLst>
              </a:tr>
              <a:tr h="728528">
                <a:tc>
                  <a:txBody>
                    <a:bodyPr/>
                    <a:lstStyle/>
                    <a:p>
                      <a:r>
                        <a:rPr lang="fr-CA" sz="1400" b="0">
                          <a:solidFill>
                            <a:schemeClr val="tx1"/>
                          </a:solidFill>
                          <a:latin typeface="Arial"/>
                          <a:cs typeface="Arial"/>
                        </a:rPr>
                        <a:t>Amorce d’une thérapie médicamenteuse </a:t>
                      </a:r>
                      <a:endParaRPr lang="fr-FR">
                        <a:solidFill>
                          <a:schemeClr val="tx1"/>
                        </a:solidFill>
                      </a:endParaRPr>
                    </a:p>
                    <a:p>
                      <a:pPr lvl="0">
                        <a:buNone/>
                      </a:pPr>
                      <a:r>
                        <a:rPr lang="fr-CA" sz="1400" b="1">
                          <a:solidFill>
                            <a:schemeClr val="tx1"/>
                          </a:solidFill>
                          <a:latin typeface="Arial"/>
                          <a:cs typeface="Arial"/>
                        </a:rPr>
                        <a:t>(règle 31)</a:t>
                      </a:r>
                    </a:p>
                  </a:txBody>
                  <a:tcPr marL="121920" marR="121920" marT="60960" marB="6096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CA" sz="1400">
                          <a:solidFill>
                            <a:schemeClr val="tx1"/>
                          </a:solidFill>
                          <a:latin typeface="Arial"/>
                          <a:cs typeface="Arial"/>
                        </a:rPr>
                        <a:t>Administration</a:t>
                      </a:r>
                      <a:r>
                        <a:rPr lang="fr-CA" sz="1400" spc="-45">
                          <a:solidFill>
                            <a:schemeClr val="tx1"/>
                          </a:solidFill>
                          <a:latin typeface="Arial"/>
                          <a:cs typeface="Arial"/>
                        </a:rPr>
                        <a:t> </a:t>
                      </a:r>
                      <a:r>
                        <a:rPr lang="fr-CA" sz="1400">
                          <a:solidFill>
                            <a:schemeClr val="tx1"/>
                          </a:solidFill>
                          <a:latin typeface="Arial"/>
                          <a:cs typeface="Arial"/>
                        </a:rPr>
                        <a:t>d’un</a:t>
                      </a:r>
                      <a:r>
                        <a:rPr lang="fr-CA" sz="1400" spc="-20">
                          <a:solidFill>
                            <a:schemeClr val="tx1"/>
                          </a:solidFill>
                          <a:latin typeface="Arial"/>
                          <a:cs typeface="Arial"/>
                        </a:rPr>
                        <a:t> </a:t>
                      </a:r>
                      <a:r>
                        <a:rPr lang="fr-CA" sz="1400">
                          <a:solidFill>
                            <a:schemeClr val="tx1"/>
                          </a:solidFill>
                          <a:latin typeface="Arial"/>
                          <a:cs typeface="Arial"/>
                        </a:rPr>
                        <a:t>médicament</a:t>
                      </a:r>
                      <a:r>
                        <a:rPr lang="fr-CA" sz="1400" spc="-30">
                          <a:solidFill>
                            <a:schemeClr val="tx1"/>
                          </a:solidFill>
                          <a:latin typeface="Arial"/>
                          <a:cs typeface="Arial"/>
                        </a:rPr>
                        <a:t> </a:t>
                      </a:r>
                      <a:r>
                        <a:rPr lang="fr-CA" sz="1400">
                          <a:solidFill>
                            <a:schemeClr val="tx1"/>
                          </a:solidFill>
                          <a:latin typeface="Arial"/>
                          <a:cs typeface="Arial"/>
                        </a:rPr>
                        <a:t>aux</a:t>
                      </a:r>
                      <a:r>
                        <a:rPr lang="fr-CA" sz="1400" spc="-20">
                          <a:solidFill>
                            <a:schemeClr val="tx1"/>
                          </a:solidFill>
                          <a:latin typeface="Arial"/>
                          <a:cs typeface="Arial"/>
                        </a:rPr>
                        <a:t> </a:t>
                      </a:r>
                      <a:r>
                        <a:rPr lang="fr-CA" sz="1400">
                          <a:solidFill>
                            <a:schemeClr val="tx1"/>
                          </a:solidFill>
                          <a:latin typeface="Arial"/>
                          <a:cs typeface="Arial"/>
                        </a:rPr>
                        <a:t>fins </a:t>
                      </a:r>
                      <a:r>
                        <a:rPr lang="fr-CA" sz="1400" spc="-20">
                          <a:solidFill>
                            <a:schemeClr val="tx1"/>
                          </a:solidFill>
                          <a:latin typeface="Arial"/>
                          <a:cs typeface="Arial"/>
                        </a:rPr>
                        <a:t>d’en </a:t>
                      </a:r>
                      <a:r>
                        <a:rPr lang="fr-CA" sz="1400">
                          <a:solidFill>
                            <a:schemeClr val="tx1"/>
                          </a:solidFill>
                          <a:latin typeface="Arial"/>
                          <a:cs typeface="Arial"/>
                        </a:rPr>
                        <a:t>démontrer</a:t>
                      </a:r>
                      <a:r>
                        <a:rPr lang="fr-CA" sz="1400" spc="-35">
                          <a:solidFill>
                            <a:schemeClr val="tx1"/>
                          </a:solidFill>
                          <a:latin typeface="Arial"/>
                          <a:cs typeface="Arial"/>
                        </a:rPr>
                        <a:t> </a:t>
                      </a:r>
                      <a:r>
                        <a:rPr lang="fr-CA" sz="1400">
                          <a:solidFill>
                            <a:schemeClr val="tx1"/>
                          </a:solidFill>
                          <a:latin typeface="Arial"/>
                          <a:cs typeface="Arial"/>
                        </a:rPr>
                        <a:t>l’usage</a:t>
                      </a:r>
                      <a:r>
                        <a:rPr lang="fr-CA" sz="1400" spc="-20">
                          <a:solidFill>
                            <a:schemeClr val="tx1"/>
                          </a:solidFill>
                          <a:latin typeface="Arial"/>
                          <a:cs typeface="Arial"/>
                        </a:rPr>
                        <a:t> </a:t>
                      </a:r>
                      <a:r>
                        <a:rPr lang="fr-CA" sz="1400">
                          <a:solidFill>
                            <a:schemeClr val="tx1"/>
                          </a:solidFill>
                          <a:latin typeface="Arial"/>
                          <a:cs typeface="Arial"/>
                        </a:rPr>
                        <a:t>approprié</a:t>
                      </a:r>
                      <a:r>
                        <a:rPr lang="fr-CA" sz="1400" spc="-30">
                          <a:solidFill>
                            <a:schemeClr val="tx1"/>
                          </a:solidFill>
                          <a:latin typeface="Arial"/>
                          <a:cs typeface="Arial"/>
                        </a:rPr>
                        <a:t> </a:t>
                      </a:r>
                    </a:p>
                    <a:p>
                      <a:pPr marL="0" marR="0" lvl="0" indent="0" defTabSz="914400" eaLnBrk="1" fontAlgn="auto" latinLnBrk="0" hangingPunct="1">
                        <a:lnSpc>
                          <a:spcPct val="100000"/>
                        </a:lnSpc>
                        <a:spcBef>
                          <a:spcPts val="0"/>
                        </a:spcBef>
                        <a:spcAft>
                          <a:spcPts val="0"/>
                        </a:spcAft>
                        <a:buClrTx/>
                        <a:buSzTx/>
                        <a:buFontTx/>
                        <a:buNone/>
                        <a:tabLst/>
                        <a:defRPr/>
                      </a:pPr>
                      <a:r>
                        <a:rPr lang="fr-CA" sz="1400" b="1">
                          <a:solidFill>
                            <a:schemeClr val="tx1"/>
                          </a:solidFill>
                          <a:latin typeface="Arial"/>
                          <a:cs typeface="Arial"/>
                        </a:rPr>
                        <a:t>(règle</a:t>
                      </a:r>
                      <a:r>
                        <a:rPr lang="fr-CA" sz="1400" b="1" spc="-5">
                          <a:solidFill>
                            <a:schemeClr val="tx1"/>
                          </a:solidFill>
                          <a:latin typeface="Arial"/>
                          <a:cs typeface="Arial"/>
                        </a:rPr>
                        <a:t> </a:t>
                      </a:r>
                      <a:r>
                        <a:rPr lang="fr-CA" sz="1400" b="1" spc="-25">
                          <a:solidFill>
                            <a:schemeClr val="tx1"/>
                          </a:solidFill>
                          <a:latin typeface="Arial"/>
                          <a:cs typeface="Arial"/>
                        </a:rPr>
                        <a:t>36)</a:t>
                      </a:r>
                      <a:endParaRPr lang="fr-CA" sz="1400" b="1">
                        <a:solidFill>
                          <a:schemeClr val="tx1"/>
                        </a:solidFill>
                        <a:latin typeface="Arial"/>
                        <a:cs typeface="Arial"/>
                      </a:endParaRPr>
                    </a:p>
                  </a:txBody>
                  <a:tcPr marL="121920" marR="121920" marT="60960" marB="6096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CA" sz="1400">
                          <a:solidFill>
                            <a:schemeClr val="tx1"/>
                          </a:solidFill>
                          <a:latin typeface="Arial"/>
                          <a:cs typeface="Arial"/>
                        </a:rPr>
                        <a:t>Service</a:t>
                      </a:r>
                      <a:r>
                        <a:rPr lang="fr-CA" sz="1400" spc="-15">
                          <a:solidFill>
                            <a:schemeClr val="tx1"/>
                          </a:solidFill>
                          <a:latin typeface="Arial"/>
                          <a:cs typeface="Arial"/>
                        </a:rPr>
                        <a:t> </a:t>
                      </a:r>
                      <a:r>
                        <a:rPr lang="fr-CA" sz="1400">
                          <a:solidFill>
                            <a:schemeClr val="tx1"/>
                          </a:solidFill>
                          <a:latin typeface="Arial"/>
                          <a:cs typeface="Arial"/>
                        </a:rPr>
                        <a:t>sur</a:t>
                      </a:r>
                      <a:r>
                        <a:rPr lang="fr-CA" sz="1400" spc="-15">
                          <a:solidFill>
                            <a:schemeClr val="tx1"/>
                          </a:solidFill>
                          <a:latin typeface="Arial"/>
                          <a:cs typeface="Arial"/>
                        </a:rPr>
                        <a:t> </a:t>
                      </a:r>
                      <a:r>
                        <a:rPr lang="fr-CA" sz="1400">
                          <a:solidFill>
                            <a:schemeClr val="tx1"/>
                          </a:solidFill>
                          <a:latin typeface="Arial"/>
                          <a:cs typeface="Arial"/>
                        </a:rPr>
                        <a:t>appel</a:t>
                      </a:r>
                      <a:r>
                        <a:rPr lang="fr-CA" sz="1400" spc="-25">
                          <a:solidFill>
                            <a:schemeClr val="tx1"/>
                          </a:solidFill>
                          <a:latin typeface="Arial"/>
                          <a:cs typeface="Arial"/>
                        </a:rPr>
                        <a:t> </a:t>
                      </a:r>
                    </a:p>
                    <a:p>
                      <a:pPr marL="0" marR="0" lvl="0" indent="0" defTabSz="914400" eaLnBrk="1" fontAlgn="auto" latinLnBrk="0" hangingPunct="1">
                        <a:lnSpc>
                          <a:spcPct val="100000"/>
                        </a:lnSpc>
                        <a:spcBef>
                          <a:spcPts val="0"/>
                        </a:spcBef>
                        <a:spcAft>
                          <a:spcPts val="0"/>
                        </a:spcAft>
                        <a:buClrTx/>
                        <a:buSzTx/>
                        <a:buFontTx/>
                        <a:buNone/>
                        <a:tabLst/>
                        <a:defRPr/>
                      </a:pPr>
                      <a:r>
                        <a:rPr lang="fr-CA" sz="1400" b="1">
                          <a:solidFill>
                            <a:schemeClr val="tx1"/>
                          </a:solidFill>
                          <a:latin typeface="Arial"/>
                          <a:cs typeface="Arial"/>
                        </a:rPr>
                        <a:t>(point</a:t>
                      </a:r>
                      <a:r>
                        <a:rPr lang="fr-CA" sz="1400" b="1" spc="-25">
                          <a:solidFill>
                            <a:schemeClr val="tx1"/>
                          </a:solidFill>
                          <a:latin typeface="Arial"/>
                          <a:cs typeface="Arial"/>
                        </a:rPr>
                        <a:t> </a:t>
                      </a:r>
                      <a:r>
                        <a:rPr lang="fr-CA" sz="1400" b="1">
                          <a:solidFill>
                            <a:schemeClr val="tx1"/>
                          </a:solidFill>
                          <a:latin typeface="Arial"/>
                          <a:cs typeface="Arial"/>
                        </a:rPr>
                        <a:t>10</a:t>
                      </a:r>
                      <a:r>
                        <a:rPr lang="fr-CA" sz="1400" b="1" spc="-15">
                          <a:solidFill>
                            <a:schemeClr val="tx1"/>
                          </a:solidFill>
                          <a:latin typeface="Arial"/>
                          <a:cs typeface="Arial"/>
                        </a:rPr>
                        <a:t> </a:t>
                      </a:r>
                      <a:r>
                        <a:rPr lang="fr-CA" sz="1400" b="1">
                          <a:solidFill>
                            <a:schemeClr val="tx1"/>
                          </a:solidFill>
                          <a:latin typeface="Arial"/>
                          <a:cs typeface="Arial"/>
                        </a:rPr>
                        <a:t>de l’annexe</a:t>
                      </a:r>
                      <a:r>
                        <a:rPr lang="fr-CA" sz="1400" b="1" spc="-10">
                          <a:solidFill>
                            <a:schemeClr val="tx1"/>
                          </a:solidFill>
                          <a:latin typeface="Arial"/>
                          <a:cs typeface="Arial"/>
                        </a:rPr>
                        <a:t> </a:t>
                      </a:r>
                      <a:r>
                        <a:rPr lang="fr-CA" sz="1400" b="1" spc="-20">
                          <a:solidFill>
                            <a:schemeClr val="tx1"/>
                          </a:solidFill>
                          <a:latin typeface="Arial"/>
                          <a:cs typeface="Arial"/>
                        </a:rPr>
                        <a:t>III)</a:t>
                      </a:r>
                      <a:endParaRPr lang="fr-CA" sz="1400" b="1">
                        <a:solidFill>
                          <a:schemeClr val="tx1"/>
                        </a:solidFill>
                        <a:latin typeface="Arial"/>
                        <a:cs typeface="Arial"/>
                      </a:endParaRPr>
                    </a:p>
                    <a:p>
                      <a:endParaRPr lang="fr-CA" sz="140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r>
                        <a:rPr lang="fr-CA" sz="1400" b="0">
                          <a:solidFill>
                            <a:schemeClr val="tx1"/>
                          </a:solidFill>
                          <a:latin typeface="Arial" panose="020B0604020202020204" pitchFamily="34" charset="0"/>
                          <a:cs typeface="Arial" panose="020B0604020202020204" pitchFamily="34" charset="0"/>
                        </a:rPr>
                        <a:t>Enseignement naloxone</a:t>
                      </a:r>
                    </a:p>
                  </a:txBody>
                  <a:tcPr marL="121920" marR="121920" marT="60960" marB="60960"/>
                </a:tc>
                <a:extLst>
                  <a:ext uri="{0D108BD9-81ED-4DB2-BD59-A6C34878D82A}">
                    <a16:rowId xmlns:a16="http://schemas.microsoft.com/office/drawing/2014/main" val="2998059927"/>
                  </a:ext>
                </a:extLst>
              </a:tr>
              <a:tr h="728528">
                <a:tc>
                  <a:txBody>
                    <a:bodyPr/>
                    <a:lstStyle/>
                    <a:p>
                      <a:r>
                        <a:rPr lang="fr-CA" sz="1400" b="0">
                          <a:solidFill>
                            <a:schemeClr val="tx1"/>
                          </a:solidFill>
                          <a:latin typeface="Arial"/>
                          <a:cs typeface="Arial"/>
                        </a:rPr>
                        <a:t>Prise en charge de l’ajustement pour l’atteinte des cibles </a:t>
                      </a:r>
                      <a:r>
                        <a:rPr lang="fr-CA" sz="1400" b="1">
                          <a:solidFill>
                            <a:schemeClr val="tx1"/>
                          </a:solidFill>
                          <a:latin typeface="Arial"/>
                          <a:cs typeface="Arial"/>
                        </a:rPr>
                        <a:t>(règles 32 et 34)</a:t>
                      </a:r>
                    </a:p>
                  </a:txBody>
                  <a:tcPr marL="121920" marR="121920" marT="60960" marB="60960"/>
                </a:tc>
                <a:tc>
                  <a:txBody>
                    <a:bodyPr/>
                    <a:lstStyle/>
                    <a:p>
                      <a:pPr marL="0" marR="0" lvl="0" indent="0" eaLnBrk="1" fontAlgn="auto" latinLnBrk="0" hangingPunct="1">
                        <a:lnSpc>
                          <a:spcPct val="100000"/>
                        </a:lnSpc>
                        <a:spcBef>
                          <a:spcPts val="0"/>
                        </a:spcBef>
                        <a:spcAft>
                          <a:spcPts val="0"/>
                        </a:spcAft>
                        <a:buClrTx/>
                        <a:buSzTx/>
                        <a:buFontTx/>
                        <a:buNone/>
                      </a:pPr>
                      <a:r>
                        <a:rPr lang="fr-CA" sz="1400">
                          <a:solidFill>
                            <a:schemeClr val="tx1"/>
                          </a:solidFill>
                          <a:latin typeface="Arial"/>
                          <a:cs typeface="Arial"/>
                        </a:rPr>
                        <a:t>Substitution</a:t>
                      </a:r>
                      <a:r>
                        <a:rPr lang="fr-CA" sz="1400" spc="-45">
                          <a:solidFill>
                            <a:schemeClr val="tx1"/>
                          </a:solidFill>
                          <a:latin typeface="Arial"/>
                          <a:cs typeface="Arial"/>
                        </a:rPr>
                        <a:t> </a:t>
                      </a:r>
                      <a:r>
                        <a:rPr lang="fr-CA" sz="1400">
                          <a:solidFill>
                            <a:schemeClr val="tx1"/>
                          </a:solidFill>
                          <a:latin typeface="Arial"/>
                          <a:cs typeface="Arial"/>
                        </a:rPr>
                        <a:t>thérapeutique</a:t>
                      </a:r>
                      <a:r>
                        <a:rPr lang="fr-CA" sz="1400" spc="-35">
                          <a:solidFill>
                            <a:schemeClr val="tx1"/>
                          </a:solidFill>
                          <a:latin typeface="Arial"/>
                          <a:cs typeface="Arial"/>
                        </a:rPr>
                        <a:t> </a:t>
                      </a:r>
                      <a:r>
                        <a:rPr lang="fr-CA" sz="1400">
                          <a:solidFill>
                            <a:schemeClr val="tx1"/>
                          </a:solidFill>
                          <a:latin typeface="Arial"/>
                          <a:cs typeface="Arial"/>
                        </a:rPr>
                        <a:t>d’un</a:t>
                      </a:r>
                      <a:r>
                        <a:rPr lang="fr-CA" sz="1400" spc="-20">
                          <a:solidFill>
                            <a:schemeClr val="tx1"/>
                          </a:solidFill>
                          <a:latin typeface="Arial"/>
                          <a:cs typeface="Arial"/>
                        </a:rPr>
                        <a:t> </a:t>
                      </a:r>
                      <a:r>
                        <a:rPr lang="fr-CA" sz="1400" spc="-10">
                          <a:solidFill>
                            <a:schemeClr val="tx1"/>
                          </a:solidFill>
                          <a:latin typeface="Arial"/>
                          <a:cs typeface="Arial"/>
                        </a:rPr>
                        <a:t>médicament </a:t>
                      </a:r>
                      <a:endParaRPr lang="fr-CA" sz="1400" b="1">
                        <a:solidFill>
                          <a:schemeClr val="tx1"/>
                        </a:solidFill>
                        <a:latin typeface="Arial"/>
                        <a:cs typeface="Arial"/>
                      </a:endParaRPr>
                    </a:p>
                    <a:p>
                      <a:pPr marL="0" marR="0" lvl="0" indent="0" defTabSz="914400">
                        <a:lnSpc>
                          <a:spcPct val="100000"/>
                        </a:lnSpc>
                        <a:spcBef>
                          <a:spcPts val="0"/>
                        </a:spcBef>
                        <a:spcAft>
                          <a:spcPts val="0"/>
                        </a:spcAft>
                        <a:buClrTx/>
                        <a:buSzTx/>
                        <a:buFontTx/>
                        <a:buNone/>
                        <a:tabLst/>
                        <a:defRPr/>
                      </a:pPr>
                      <a:r>
                        <a:rPr lang="fr-CA" sz="1400" b="1">
                          <a:solidFill>
                            <a:schemeClr val="tx1"/>
                          </a:solidFill>
                          <a:latin typeface="Arial"/>
                          <a:cs typeface="Arial"/>
                        </a:rPr>
                        <a:t>(règle</a:t>
                      </a:r>
                      <a:r>
                        <a:rPr lang="fr-CA" sz="1400" b="1" spc="-20">
                          <a:solidFill>
                            <a:schemeClr val="tx1"/>
                          </a:solidFill>
                          <a:latin typeface="Arial"/>
                          <a:cs typeface="Arial"/>
                        </a:rPr>
                        <a:t> </a:t>
                      </a:r>
                      <a:r>
                        <a:rPr lang="fr-CA" sz="1400" b="1" spc="-25">
                          <a:solidFill>
                            <a:schemeClr val="tx1"/>
                          </a:solidFill>
                          <a:latin typeface="Arial"/>
                          <a:cs typeface="Arial"/>
                        </a:rPr>
                        <a:t>37)</a:t>
                      </a:r>
                      <a:endParaRPr lang="fr-CA" sz="1400" b="1">
                        <a:solidFill>
                          <a:schemeClr val="tx1"/>
                        </a:solidFill>
                        <a:latin typeface="Arial"/>
                        <a:cs typeface="Arial"/>
                      </a:endParaRPr>
                    </a:p>
                  </a:txBody>
                  <a:tcPr marL="121920" marR="121920" marT="60960" marB="60960"/>
                </a:tc>
                <a:tc>
                  <a:txBody>
                    <a:bodyPr/>
                    <a:lstStyle/>
                    <a:p>
                      <a:r>
                        <a:rPr lang="fr-CA" sz="1400">
                          <a:solidFill>
                            <a:schemeClr val="tx1"/>
                          </a:solidFill>
                          <a:latin typeface="Arial" panose="020B0604020202020204" pitchFamily="34" charset="0"/>
                          <a:cs typeface="Arial" panose="020B0604020202020204" pitchFamily="34" charset="0"/>
                        </a:rPr>
                        <a:t>Opinion pharmaceutique sur l’amorce d’un traitement médicamenteux </a:t>
                      </a:r>
                      <a:r>
                        <a:rPr lang="fr-CA" sz="1400" b="1">
                          <a:solidFill>
                            <a:schemeClr val="tx1"/>
                          </a:solidFill>
                          <a:latin typeface="Arial" panose="020B0604020202020204" pitchFamily="34" charset="0"/>
                          <a:cs typeface="Arial" panose="020B0604020202020204" pitchFamily="34" charset="0"/>
                        </a:rPr>
                        <a:t>(règle 10)</a:t>
                      </a:r>
                    </a:p>
                  </a:txBody>
                  <a:tcPr marL="121920" marR="121920" marT="60960" marB="60960"/>
                </a:tc>
                <a:tc>
                  <a:txBody>
                    <a:bodyPr/>
                    <a:lstStyle/>
                    <a:p>
                      <a:r>
                        <a:rPr lang="fr-CA" sz="1400" b="0" dirty="0">
                          <a:solidFill>
                            <a:schemeClr val="tx1"/>
                          </a:solidFill>
                          <a:latin typeface="Arial"/>
                          <a:cs typeface="Arial"/>
                        </a:rPr>
                        <a:t>Gratuité du traitement ITSS et du traitement accéléré des partenaires</a:t>
                      </a:r>
                    </a:p>
                  </a:txBody>
                  <a:tcPr marL="121920" marR="121920" marT="60960" marB="60960"/>
                </a:tc>
                <a:extLst>
                  <a:ext uri="{0D108BD9-81ED-4DB2-BD59-A6C34878D82A}">
                    <a16:rowId xmlns:a16="http://schemas.microsoft.com/office/drawing/2014/main" val="3782850480"/>
                  </a:ext>
                </a:extLst>
              </a:tr>
              <a:tr h="555420">
                <a:tc>
                  <a:txBody>
                    <a:bodyPr/>
                    <a:lstStyle/>
                    <a:p>
                      <a:r>
                        <a:rPr lang="fr-CA" sz="1400" b="0">
                          <a:solidFill>
                            <a:schemeClr val="tx1"/>
                          </a:solidFill>
                          <a:latin typeface="Arial"/>
                          <a:cs typeface="Arial"/>
                        </a:rPr>
                        <a:t>Prise en charge en soutien à la </a:t>
                      </a:r>
                      <a:r>
                        <a:rPr lang="fr-CA" sz="1400" b="0" err="1">
                          <a:solidFill>
                            <a:schemeClr val="tx1"/>
                          </a:solidFill>
                          <a:latin typeface="Arial"/>
                          <a:cs typeface="Arial"/>
                        </a:rPr>
                        <a:t>déprescription</a:t>
                      </a:r>
                      <a:r>
                        <a:rPr lang="fr-CA" sz="1400" b="0">
                          <a:solidFill>
                            <a:schemeClr val="tx1"/>
                          </a:solidFill>
                          <a:latin typeface="Arial"/>
                          <a:cs typeface="Arial"/>
                        </a:rPr>
                        <a:t> </a:t>
                      </a:r>
                      <a:r>
                        <a:rPr lang="fr-CA" sz="1400" b="1">
                          <a:solidFill>
                            <a:schemeClr val="tx1"/>
                          </a:solidFill>
                          <a:latin typeface="Arial"/>
                          <a:cs typeface="Arial"/>
                        </a:rPr>
                        <a:t>(règle 33)</a:t>
                      </a:r>
                    </a:p>
                  </a:txBody>
                  <a:tcPr marL="121920" marR="121920" marT="60960" marB="60960"/>
                </a:tc>
                <a:tc>
                  <a:txBody>
                    <a:bodyPr/>
                    <a:lstStyle/>
                    <a:p>
                      <a:pPr marL="0" marR="0" lvl="0" indent="0" eaLnBrk="1" fontAlgn="auto" latinLnBrk="0" hangingPunct="1">
                        <a:lnSpc>
                          <a:spcPct val="100000"/>
                        </a:lnSpc>
                        <a:spcBef>
                          <a:spcPts val="0"/>
                        </a:spcBef>
                        <a:spcAft>
                          <a:spcPts val="0"/>
                        </a:spcAft>
                        <a:buClrTx/>
                        <a:buSzTx/>
                        <a:buFontTx/>
                        <a:buNone/>
                      </a:pPr>
                      <a:r>
                        <a:rPr lang="fr-CA" sz="1400" b="0">
                          <a:solidFill>
                            <a:schemeClr val="tx1"/>
                          </a:solidFill>
                          <a:latin typeface="Arial"/>
                          <a:cs typeface="Arial"/>
                        </a:rPr>
                        <a:t>Modification</a:t>
                      </a:r>
                      <a:r>
                        <a:rPr lang="fr-CA" sz="1400" b="0" spc="-25">
                          <a:solidFill>
                            <a:schemeClr val="tx1"/>
                          </a:solidFill>
                          <a:latin typeface="Arial"/>
                          <a:cs typeface="Arial"/>
                        </a:rPr>
                        <a:t> </a:t>
                      </a:r>
                      <a:r>
                        <a:rPr lang="fr-CA" sz="1400" b="0">
                          <a:solidFill>
                            <a:schemeClr val="tx1"/>
                          </a:solidFill>
                          <a:latin typeface="Arial"/>
                          <a:cs typeface="Arial"/>
                        </a:rPr>
                        <a:t>d’une</a:t>
                      </a:r>
                      <a:r>
                        <a:rPr lang="fr-CA" sz="1400" b="0" spc="-25">
                          <a:solidFill>
                            <a:schemeClr val="tx1"/>
                          </a:solidFill>
                          <a:latin typeface="Arial"/>
                          <a:cs typeface="Arial"/>
                        </a:rPr>
                        <a:t> </a:t>
                      </a:r>
                      <a:r>
                        <a:rPr lang="fr-CA" sz="1400" b="0">
                          <a:solidFill>
                            <a:schemeClr val="tx1"/>
                          </a:solidFill>
                          <a:latin typeface="Arial"/>
                          <a:cs typeface="Arial"/>
                        </a:rPr>
                        <a:t>thérapie</a:t>
                      </a:r>
                      <a:r>
                        <a:rPr lang="fr-CA" sz="1400" b="0" spc="-25">
                          <a:solidFill>
                            <a:schemeClr val="tx1"/>
                          </a:solidFill>
                          <a:latin typeface="Arial"/>
                          <a:cs typeface="Arial"/>
                        </a:rPr>
                        <a:t> </a:t>
                      </a:r>
                      <a:r>
                        <a:rPr lang="fr-CA" sz="1400" b="0" spc="-10">
                          <a:solidFill>
                            <a:schemeClr val="tx1"/>
                          </a:solidFill>
                          <a:latin typeface="Arial"/>
                          <a:cs typeface="Arial"/>
                        </a:rPr>
                        <a:t>médicamenteuse </a:t>
                      </a:r>
                      <a:r>
                        <a:rPr lang="fr-CA" sz="1400" b="1" spc="-10">
                          <a:solidFill>
                            <a:schemeClr val="tx1"/>
                          </a:solidFill>
                          <a:latin typeface="Arial"/>
                          <a:cs typeface="Arial"/>
                        </a:rPr>
                        <a:t> </a:t>
                      </a:r>
                      <a:r>
                        <a:rPr lang="fr-CA" sz="1400" b="1">
                          <a:solidFill>
                            <a:schemeClr val="tx1"/>
                          </a:solidFill>
                          <a:latin typeface="Arial"/>
                          <a:cs typeface="Arial"/>
                        </a:rPr>
                        <a:t>(règle</a:t>
                      </a:r>
                      <a:r>
                        <a:rPr lang="fr-CA" sz="1400" b="1" spc="-20">
                          <a:solidFill>
                            <a:schemeClr val="tx1"/>
                          </a:solidFill>
                          <a:latin typeface="Arial"/>
                          <a:cs typeface="Arial"/>
                        </a:rPr>
                        <a:t> </a:t>
                      </a:r>
                      <a:r>
                        <a:rPr lang="fr-CA" sz="1400" b="1" spc="-25">
                          <a:solidFill>
                            <a:schemeClr val="tx1"/>
                          </a:solidFill>
                          <a:latin typeface="Arial"/>
                          <a:cs typeface="Arial"/>
                        </a:rPr>
                        <a:t>38)</a:t>
                      </a:r>
                      <a:endParaRPr lang="fr-CA" sz="1400" b="1">
                        <a:solidFill>
                          <a:schemeClr val="tx1"/>
                        </a:solidFill>
                        <a:latin typeface="Arial"/>
                        <a:cs typeface="Arial"/>
                      </a:endParaRP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1376793781"/>
                  </a:ext>
                </a:extLst>
              </a:tr>
              <a:tr h="728528">
                <a:tc>
                  <a:txBody>
                    <a:bodyPr/>
                    <a:lstStyle/>
                    <a:p>
                      <a:r>
                        <a:rPr lang="fr-CA" sz="1400" b="0">
                          <a:solidFill>
                            <a:schemeClr val="tx1"/>
                          </a:solidFill>
                          <a:latin typeface="Arial"/>
                          <a:cs typeface="Arial"/>
                        </a:rPr>
                        <a:t>Administration de certains médicaments en cas d’urgence </a:t>
                      </a:r>
                      <a:r>
                        <a:rPr lang="fr-CA" sz="1400" b="1">
                          <a:solidFill>
                            <a:schemeClr val="tx1"/>
                          </a:solidFill>
                          <a:latin typeface="Arial"/>
                          <a:cs typeface="Arial"/>
                        </a:rPr>
                        <a:t>(règle 36)</a:t>
                      </a:r>
                    </a:p>
                  </a:txBody>
                  <a:tcPr marL="121920" marR="121920" marT="60960" marB="60960"/>
                </a:tc>
                <a:tc>
                  <a:txBody>
                    <a:bodyPr/>
                    <a:lstStyle/>
                    <a:p>
                      <a:pPr marL="0" marR="0" lvl="0" indent="0" eaLnBrk="1" fontAlgn="auto" latinLnBrk="0" hangingPunct="1">
                        <a:lnSpc>
                          <a:spcPct val="100000"/>
                        </a:lnSpc>
                        <a:spcBef>
                          <a:spcPts val="0"/>
                        </a:spcBef>
                        <a:spcAft>
                          <a:spcPts val="0"/>
                        </a:spcAft>
                        <a:buClrTx/>
                        <a:buSzTx/>
                        <a:buFontTx/>
                        <a:buNone/>
                      </a:pPr>
                      <a:r>
                        <a:rPr lang="fr-CA" sz="1400" b="0">
                          <a:solidFill>
                            <a:schemeClr val="tx1"/>
                          </a:solidFill>
                          <a:latin typeface="Arial"/>
                          <a:cs typeface="Arial"/>
                        </a:rPr>
                        <a:t>Prise</a:t>
                      </a:r>
                      <a:r>
                        <a:rPr lang="fr-CA" sz="1400" b="0" spc="-10">
                          <a:solidFill>
                            <a:schemeClr val="tx1"/>
                          </a:solidFill>
                          <a:latin typeface="Arial"/>
                          <a:cs typeface="Arial"/>
                        </a:rPr>
                        <a:t> </a:t>
                      </a:r>
                      <a:r>
                        <a:rPr lang="fr-CA" sz="1400" b="0">
                          <a:solidFill>
                            <a:schemeClr val="tx1"/>
                          </a:solidFill>
                          <a:latin typeface="Arial"/>
                          <a:cs typeface="Arial"/>
                        </a:rPr>
                        <a:t>en</a:t>
                      </a:r>
                      <a:r>
                        <a:rPr lang="fr-CA" sz="1400" b="0" spc="-10">
                          <a:solidFill>
                            <a:schemeClr val="tx1"/>
                          </a:solidFill>
                          <a:latin typeface="Arial"/>
                          <a:cs typeface="Arial"/>
                        </a:rPr>
                        <a:t> </a:t>
                      </a:r>
                      <a:r>
                        <a:rPr lang="fr-CA" sz="1400" b="0">
                          <a:solidFill>
                            <a:schemeClr val="tx1"/>
                          </a:solidFill>
                          <a:latin typeface="Arial"/>
                          <a:cs typeface="Arial"/>
                        </a:rPr>
                        <a:t>charge</a:t>
                      </a:r>
                      <a:r>
                        <a:rPr lang="fr-CA" sz="1400" b="0" spc="-20">
                          <a:solidFill>
                            <a:schemeClr val="tx1"/>
                          </a:solidFill>
                          <a:latin typeface="Arial"/>
                          <a:cs typeface="Arial"/>
                        </a:rPr>
                        <a:t> </a:t>
                      </a:r>
                      <a:r>
                        <a:rPr lang="fr-CA" sz="1400" b="0">
                          <a:solidFill>
                            <a:schemeClr val="tx1"/>
                          </a:solidFill>
                          <a:latin typeface="Arial"/>
                          <a:cs typeface="Arial"/>
                        </a:rPr>
                        <a:t>après</a:t>
                      </a:r>
                      <a:r>
                        <a:rPr lang="fr-CA" sz="1400" b="0" spc="-20">
                          <a:solidFill>
                            <a:schemeClr val="tx1"/>
                          </a:solidFill>
                          <a:latin typeface="Arial"/>
                          <a:cs typeface="Arial"/>
                        </a:rPr>
                        <a:t> </a:t>
                      </a:r>
                      <a:r>
                        <a:rPr lang="fr-CA" sz="1400" b="0">
                          <a:solidFill>
                            <a:schemeClr val="tx1"/>
                          </a:solidFill>
                          <a:latin typeface="Arial"/>
                          <a:cs typeface="Arial"/>
                        </a:rPr>
                        <a:t>une</a:t>
                      </a:r>
                      <a:r>
                        <a:rPr lang="fr-CA" sz="1400" b="0" spc="-5">
                          <a:solidFill>
                            <a:schemeClr val="tx1"/>
                          </a:solidFill>
                          <a:latin typeface="Arial"/>
                          <a:cs typeface="Arial"/>
                        </a:rPr>
                        <a:t> </a:t>
                      </a:r>
                      <a:r>
                        <a:rPr lang="fr-CA" sz="1400" b="0" spc="-10">
                          <a:solidFill>
                            <a:schemeClr val="tx1"/>
                          </a:solidFill>
                          <a:latin typeface="Arial"/>
                          <a:cs typeface="Arial"/>
                        </a:rPr>
                        <a:t>hospitalisation </a:t>
                      </a:r>
                      <a:endParaRPr lang="fr-CA" sz="1400" b="1">
                        <a:solidFill>
                          <a:schemeClr val="tx1"/>
                        </a:solidFill>
                        <a:latin typeface="Arial"/>
                        <a:cs typeface="Arial"/>
                      </a:endParaRPr>
                    </a:p>
                    <a:p>
                      <a:pPr marL="0" marR="0" lvl="0" indent="0" defTabSz="914400">
                        <a:lnSpc>
                          <a:spcPct val="100000"/>
                        </a:lnSpc>
                        <a:spcBef>
                          <a:spcPts val="0"/>
                        </a:spcBef>
                        <a:spcAft>
                          <a:spcPts val="0"/>
                        </a:spcAft>
                        <a:buClrTx/>
                        <a:buSzTx/>
                        <a:buFontTx/>
                        <a:buNone/>
                        <a:tabLst/>
                        <a:defRPr/>
                      </a:pPr>
                      <a:r>
                        <a:rPr lang="fr-CA" sz="1400" b="1">
                          <a:solidFill>
                            <a:schemeClr val="tx1"/>
                          </a:solidFill>
                          <a:latin typeface="Arial"/>
                          <a:cs typeface="Arial"/>
                        </a:rPr>
                        <a:t>(règle</a:t>
                      </a:r>
                      <a:r>
                        <a:rPr lang="fr-CA" sz="1400" b="1" spc="-20">
                          <a:solidFill>
                            <a:schemeClr val="tx1"/>
                          </a:solidFill>
                          <a:latin typeface="Arial"/>
                          <a:cs typeface="Arial"/>
                        </a:rPr>
                        <a:t> </a:t>
                      </a:r>
                      <a:r>
                        <a:rPr lang="fr-CA" sz="1400" b="1" spc="-25">
                          <a:solidFill>
                            <a:schemeClr val="tx1"/>
                          </a:solidFill>
                          <a:latin typeface="Arial"/>
                          <a:cs typeface="Arial"/>
                        </a:rPr>
                        <a:t>40)</a:t>
                      </a:r>
                      <a:endParaRPr lang="fr-CA" sz="1400" b="1">
                        <a:solidFill>
                          <a:schemeClr val="tx1"/>
                        </a:solidFill>
                        <a:latin typeface="Arial"/>
                        <a:cs typeface="Arial"/>
                      </a:endParaRP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250715220"/>
                  </a:ext>
                </a:extLst>
              </a:tr>
              <a:tr h="524540">
                <a:tc>
                  <a:txBody>
                    <a:bodyPr/>
                    <a:lstStyle/>
                    <a:p>
                      <a:r>
                        <a:rPr lang="fr-CA" sz="1400" b="0">
                          <a:solidFill>
                            <a:schemeClr val="tx1"/>
                          </a:solidFill>
                          <a:latin typeface="Arial"/>
                          <a:cs typeface="Arial"/>
                        </a:rPr>
                        <a:t>Prise en charge de la clientèle en soins palliatifs </a:t>
                      </a:r>
                      <a:r>
                        <a:rPr lang="fr-CA" sz="1400" b="1">
                          <a:solidFill>
                            <a:schemeClr val="tx1"/>
                          </a:solidFill>
                          <a:latin typeface="Arial"/>
                          <a:cs typeface="Arial"/>
                        </a:rPr>
                        <a:t>(règle 39)</a:t>
                      </a: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1953001010"/>
                  </a:ext>
                </a:extLst>
              </a:tr>
              <a:tr h="524540">
                <a:tc>
                  <a:txBody>
                    <a:bodyPr/>
                    <a:lstStyle/>
                    <a:p>
                      <a:r>
                        <a:rPr lang="fr-CA" sz="1400" b="0">
                          <a:solidFill>
                            <a:schemeClr val="tx1"/>
                          </a:solidFill>
                          <a:latin typeface="Arial" panose="020B0604020202020204" pitchFamily="34" charset="0"/>
                          <a:cs typeface="Arial" panose="020B0604020202020204" pitchFamily="34" charset="0"/>
                        </a:rPr>
                        <a:t>Demande de consultation à un pharmacien </a:t>
                      </a:r>
                      <a:r>
                        <a:rPr lang="fr-CA" sz="1400" b="1">
                          <a:solidFill>
                            <a:schemeClr val="tx1"/>
                          </a:solidFill>
                          <a:latin typeface="Arial" panose="020B0604020202020204" pitchFamily="34" charset="0"/>
                          <a:cs typeface="Arial" panose="020B0604020202020204" pitchFamily="34" charset="0"/>
                        </a:rPr>
                        <a:t>(règle 41)</a:t>
                      </a: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1883206542"/>
                  </a:ext>
                </a:extLst>
              </a:tr>
              <a:tr h="378668">
                <a:tc>
                  <a:txBody>
                    <a:bodyPr/>
                    <a:lstStyle/>
                    <a:p>
                      <a:r>
                        <a:rPr lang="fr-CA" sz="1400" b="0">
                          <a:solidFill>
                            <a:schemeClr val="tx1"/>
                          </a:solidFill>
                          <a:latin typeface="Arial" panose="020B0604020202020204" pitchFamily="34" charset="0"/>
                          <a:cs typeface="Arial" panose="020B0604020202020204" pitchFamily="34" charset="0"/>
                        </a:rPr>
                        <a:t>Vaccination </a:t>
                      </a:r>
                      <a:r>
                        <a:rPr lang="fr-CA" sz="1400" b="1">
                          <a:solidFill>
                            <a:schemeClr val="tx1"/>
                          </a:solidFill>
                          <a:latin typeface="Arial" panose="020B0604020202020204" pitchFamily="34" charset="0"/>
                          <a:cs typeface="Arial" panose="020B0604020202020204" pitchFamily="34" charset="0"/>
                        </a:rPr>
                        <a:t>(règle 42) </a:t>
                      </a: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endParaRPr lang="fr-CA" sz="120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endParaRPr lang="fr-CA" sz="1200" dirty="0">
                        <a:solidFill>
                          <a:schemeClr val="tx1"/>
                        </a:solidFill>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3704212625"/>
                  </a:ext>
                </a:extLst>
              </a:tr>
            </a:tbl>
          </a:graphicData>
        </a:graphic>
      </p:graphicFrame>
      <p:sp>
        <p:nvSpPr>
          <p:cNvPr id="2" name="ZoneTexte 1">
            <a:extLst>
              <a:ext uri="{FF2B5EF4-FFF2-40B4-BE49-F238E27FC236}">
                <a16:creationId xmlns:a16="http://schemas.microsoft.com/office/drawing/2014/main" id="{2FAC2F11-A438-9762-5AA9-2CB59A54A243}"/>
              </a:ext>
            </a:extLst>
          </p:cNvPr>
          <p:cNvSpPr txBox="1"/>
          <p:nvPr>
            <p:custDataLst>
              <p:tags r:id="rId5"/>
            </p:custDataLst>
          </p:nvPr>
        </p:nvSpPr>
        <p:spPr>
          <a:xfrm>
            <a:off x="0" y="168275"/>
            <a:ext cx="3810000" cy="1270000"/>
          </a:xfrm>
          <a:prstGeom prst="rect">
            <a:avLst/>
          </a:prstGeom>
          <a:noFill/>
        </p:spPr>
        <p:txBody>
          <a:bodyPr vert="horz" rtlCol="0">
            <a:spAutoFit/>
          </a:bodyPr>
          <a:lstStyle/>
          <a:p>
            <a:endParaRPr lang="en-CA"/>
          </a:p>
        </p:txBody>
      </p:sp>
    </p:spTree>
    <p:extLst>
      <p:ext uri="{BB962C8B-B14F-4D97-AF65-F5344CB8AC3E}">
        <p14:creationId xmlns:p14="http://schemas.microsoft.com/office/powerpoint/2010/main" val="3215140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7" name="Title 1">
            <a:extLst>
              <a:ext uri="{FF2B5EF4-FFF2-40B4-BE49-F238E27FC236}">
                <a16:creationId xmlns:a16="http://schemas.microsoft.com/office/drawing/2014/main" id="{E1518FF9-E99C-C9DC-788C-CEEF87851FF9}"/>
              </a:ext>
            </a:extLst>
          </p:cNvPr>
          <p:cNvSpPr>
            <a:spLocks noGrp="1"/>
          </p:cNvSpPr>
          <p:nvPr>
            <p:ph type="title"/>
            <p:custDataLst>
              <p:tags r:id="rId1"/>
            </p:custDataLst>
          </p:nvPr>
        </p:nvSpPr>
        <p:spPr>
          <a:xfrm>
            <a:off x="609599" y="533400"/>
            <a:ext cx="9437783" cy="1325563"/>
          </a:xfrm>
        </p:spPr>
        <p:txBody>
          <a:bodyPr/>
          <a:lstStyle/>
          <a:p>
            <a:r>
              <a:rPr lang="fr-CA"/>
              <a:t>Arbre décisionnel - Du patient à l’entente</a:t>
            </a:r>
            <a:br>
              <a:rPr lang="fr-CA"/>
            </a:br>
            <a:endParaRPr lang="en-US"/>
          </a:p>
        </p:txBody>
      </p:sp>
      <p:sp>
        <p:nvSpPr>
          <p:cNvPr id="3" name="Espace réservé du pied de page 2">
            <a:extLst>
              <a:ext uri="{FF2B5EF4-FFF2-40B4-BE49-F238E27FC236}">
                <a16:creationId xmlns:a16="http://schemas.microsoft.com/office/drawing/2014/main" id="{FBC3D34F-E782-CF96-4A7A-229293FCC780}"/>
              </a:ext>
            </a:extLst>
          </p:cNvPr>
          <p:cNvSpPr>
            <a:spLocks noGrp="1"/>
          </p:cNvSpPr>
          <p:nvPr>
            <p:ph type="ftr" sz="quarter" idx="10"/>
            <p:custDataLst>
              <p:tags r:id="rId2"/>
            </p:custDataLst>
          </p:nvPr>
        </p:nvSpPr>
        <p:spPr>
          <a:xfrm>
            <a:off x="609600" y="6324600"/>
            <a:ext cx="9601200" cy="365125"/>
          </a:xfrm>
        </p:spPr>
        <p:txBody>
          <a:bodyPr anchor="ctr">
            <a:normAutofit/>
          </a:bodyPr>
          <a:lstStyle/>
          <a:p>
            <a:pPr algn="l">
              <a:spcAft>
                <a:spcPts val="600"/>
              </a:spcAft>
            </a:pPr>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60434F3D-1733-EA81-1F41-49D89ED3C404}"/>
              </a:ext>
            </a:extLst>
          </p:cNvPr>
          <p:cNvSpPr>
            <a:spLocks noGrp="1"/>
          </p:cNvSpPr>
          <p:nvPr>
            <p:ph type="sldNum" sz="quarter" idx="11"/>
            <p:custDataLst>
              <p:tags r:id="rId3"/>
            </p:custDataLst>
          </p:nvPr>
        </p:nvSpPr>
        <p:spPr>
          <a:xfrm>
            <a:off x="11455398" y="6442075"/>
            <a:ext cx="736601" cy="365125"/>
          </a:xfrm>
        </p:spPr>
        <p:txBody>
          <a:bodyPr>
            <a:normAutofit/>
          </a:bodyPr>
          <a:lstStyle/>
          <a:p>
            <a:pPr>
              <a:spcAft>
                <a:spcPts val="600"/>
              </a:spcAft>
            </a:pPr>
            <a:fld id="{91882AA3-08DC-0043-8CA8-8CA69DA2397E}" type="slidenum">
              <a:rPr lang="en-US" smtClean="0"/>
              <a:pPr>
                <a:spcAft>
                  <a:spcPts val="600"/>
                </a:spcAft>
              </a:pPr>
              <a:t>12</a:t>
            </a:fld>
            <a:endParaRPr lang="en-US"/>
          </a:p>
        </p:txBody>
      </p:sp>
      <p:pic>
        <p:nvPicPr>
          <p:cNvPr id="2" name="Picture 1">
            <a:extLst>
              <a:ext uri="{FF2B5EF4-FFF2-40B4-BE49-F238E27FC236}">
                <a16:creationId xmlns:a16="http://schemas.microsoft.com/office/drawing/2014/main" id="{CC2ABA20-DCB8-760F-A105-10B1240A0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210" y="1196181"/>
            <a:ext cx="12252209" cy="4801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50663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8BB020-54D5-6F58-64D0-5258A5B9804F}"/>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177CC6DF-87B1-2DC9-8AF1-458442438AF6}"/>
              </a:ext>
            </a:extLst>
          </p:cNvPr>
          <p:cNvSpPr>
            <a:spLocks noGrp="1"/>
          </p:cNvSpPr>
          <p:nvPr>
            <p:ph type="ftr" sz="quarter" idx="10"/>
            <p:custDataLst>
              <p:tags r:id="rId1"/>
            </p:custDataLst>
          </p:nvPr>
        </p:nvSpPr>
        <p:spPr>
          <a:xfrm>
            <a:off x="609600" y="6324600"/>
            <a:ext cx="9601200" cy="365125"/>
          </a:xfrm>
        </p:spPr>
        <p:txBody>
          <a:bodyPr anchor="ctr">
            <a:normAutofit/>
          </a:bodyPr>
          <a:lstStyle/>
          <a:p>
            <a:pPr algn="l">
              <a:spcAft>
                <a:spcPts val="600"/>
              </a:spcAft>
            </a:pPr>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D64D91EF-BB81-9CC8-EC80-EC366E17D404}"/>
              </a:ext>
            </a:extLst>
          </p:cNvPr>
          <p:cNvSpPr>
            <a:spLocks noGrp="1"/>
          </p:cNvSpPr>
          <p:nvPr>
            <p:ph type="sldNum" sz="quarter" idx="11"/>
            <p:custDataLst>
              <p:tags r:id="rId2"/>
            </p:custDataLst>
          </p:nvPr>
        </p:nvSpPr>
        <p:spPr>
          <a:xfrm>
            <a:off x="11455398" y="6442075"/>
            <a:ext cx="736601" cy="365125"/>
          </a:xfrm>
        </p:spPr>
        <p:txBody>
          <a:bodyPr>
            <a:normAutofit/>
          </a:bodyPr>
          <a:lstStyle/>
          <a:p>
            <a:pPr>
              <a:spcAft>
                <a:spcPts val="600"/>
              </a:spcAft>
            </a:pPr>
            <a:fld id="{91882AA3-08DC-0043-8CA8-8CA69DA2397E}" type="slidenum">
              <a:rPr lang="en-US" smtClean="0"/>
              <a:pPr>
                <a:spcAft>
                  <a:spcPts val="600"/>
                </a:spcAft>
              </a:pPr>
              <a:t>13</a:t>
            </a:fld>
            <a:endParaRPr lang="en-US"/>
          </a:p>
        </p:txBody>
      </p:sp>
      <p:sp>
        <p:nvSpPr>
          <p:cNvPr id="1032" name="Text Placeholder 4">
            <a:extLst>
              <a:ext uri="{FF2B5EF4-FFF2-40B4-BE49-F238E27FC236}">
                <a16:creationId xmlns:a16="http://schemas.microsoft.com/office/drawing/2014/main" id="{A141160D-C719-9A47-E8CF-32567020A3FA}"/>
              </a:ext>
            </a:extLst>
          </p:cNvPr>
          <p:cNvSpPr>
            <a:spLocks noGrp="1"/>
          </p:cNvSpPr>
          <p:nvPr>
            <p:ph type="body" sz="quarter" idx="12"/>
            <p:custDataLst>
              <p:tags r:id="rId3"/>
            </p:custDataLst>
          </p:nvPr>
        </p:nvSpPr>
        <p:spPr>
          <a:xfrm>
            <a:off x="119336" y="404664"/>
            <a:ext cx="5328592" cy="457200"/>
          </a:xfrm>
        </p:spPr>
        <p:txBody>
          <a:bodyPr lIns="0" tIns="0" rIns="0" bIns="0" anchor="t"/>
          <a:lstStyle/>
          <a:p>
            <a:r>
              <a:rPr lang="en-US"/>
              <a:t>Le </a:t>
            </a:r>
            <a:r>
              <a:rPr lang="en-US" err="1"/>
              <a:t>contexte</a:t>
            </a:r>
            <a:r>
              <a:rPr lang="en-US"/>
              <a:t> du patient</a:t>
            </a:r>
          </a:p>
        </p:txBody>
      </p:sp>
      <p:pic>
        <p:nvPicPr>
          <p:cNvPr id="2" name="Image 1">
            <a:extLst>
              <a:ext uri="{FF2B5EF4-FFF2-40B4-BE49-F238E27FC236}">
                <a16:creationId xmlns:a16="http://schemas.microsoft.com/office/drawing/2014/main" id="{C3C49E21-A59D-DC3A-A4E4-0782E25D6320}"/>
              </a:ext>
            </a:extLst>
          </p:cNvPr>
          <p:cNvPicPr>
            <a:picLocks noChangeAspect="1"/>
          </p:cNvPicPr>
          <p:nvPr/>
        </p:nvPicPr>
        <p:blipFill>
          <a:blip r:embed="rId6"/>
          <a:stretch>
            <a:fillRect/>
          </a:stretch>
        </p:blipFill>
        <p:spPr>
          <a:xfrm>
            <a:off x="1838325" y="1571625"/>
            <a:ext cx="8515350" cy="3714750"/>
          </a:xfrm>
          <a:prstGeom prst="rect">
            <a:avLst/>
          </a:prstGeom>
        </p:spPr>
      </p:pic>
    </p:spTree>
    <p:extLst>
      <p:ext uri="{BB962C8B-B14F-4D97-AF65-F5344CB8AC3E}">
        <p14:creationId xmlns:p14="http://schemas.microsoft.com/office/powerpoint/2010/main" val="22151608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EAEA2-BF37-9738-9505-D6D2A08B6ACA}"/>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B830FB7-B7B5-711C-52DB-73ACA3F9190D}"/>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041D1459-6557-281D-88FF-765D817B9F5B}"/>
              </a:ext>
            </a:extLst>
          </p:cNvPr>
          <p:cNvSpPr>
            <a:spLocks noGrp="1"/>
          </p:cNvSpPr>
          <p:nvPr>
            <p:ph type="sldNum" sz="quarter" idx="11"/>
            <p:custDataLst>
              <p:tags r:id="rId2"/>
            </p:custDataLst>
          </p:nvPr>
        </p:nvSpPr>
        <p:spPr/>
        <p:txBody>
          <a:bodyPr/>
          <a:lstStyle/>
          <a:p>
            <a:fld id="{91882AA3-08DC-0043-8CA8-8CA69DA2397E}" type="slidenum">
              <a:rPr lang="en-US" smtClean="0"/>
              <a:pPr/>
              <a:t>14</a:t>
            </a:fld>
            <a:endParaRPr lang="en-US"/>
          </a:p>
        </p:txBody>
      </p:sp>
      <p:sp>
        <p:nvSpPr>
          <p:cNvPr id="5" name="Espace réservé du texte 4">
            <a:extLst>
              <a:ext uri="{FF2B5EF4-FFF2-40B4-BE49-F238E27FC236}">
                <a16:creationId xmlns:a16="http://schemas.microsoft.com/office/drawing/2014/main" id="{6EECFF0D-08BF-4071-CB57-75F3E5DE76B8}"/>
              </a:ext>
            </a:extLst>
          </p:cNvPr>
          <p:cNvSpPr>
            <a:spLocks noGrp="1"/>
          </p:cNvSpPr>
          <p:nvPr>
            <p:ph type="body" sz="quarter" idx="12"/>
            <p:custDataLst>
              <p:tags r:id="rId3"/>
            </p:custDataLst>
          </p:nvPr>
        </p:nvSpPr>
        <p:spPr>
          <a:xfrm>
            <a:off x="191344" y="364190"/>
            <a:ext cx="4495800" cy="457200"/>
          </a:xfrm>
        </p:spPr>
        <p:txBody>
          <a:bodyPr/>
          <a:lstStyle/>
          <a:p>
            <a:r>
              <a:rPr lang="fr-CA"/>
              <a:t>Demande d’un professionnel</a:t>
            </a:r>
          </a:p>
        </p:txBody>
      </p:sp>
      <p:pic>
        <p:nvPicPr>
          <p:cNvPr id="2" name="Image 1">
            <a:extLst>
              <a:ext uri="{FF2B5EF4-FFF2-40B4-BE49-F238E27FC236}">
                <a16:creationId xmlns:a16="http://schemas.microsoft.com/office/drawing/2014/main" id="{AA31009E-2CC9-87DF-370F-EC601E950DEE}"/>
              </a:ext>
            </a:extLst>
          </p:cNvPr>
          <p:cNvPicPr>
            <a:picLocks noChangeAspect="1"/>
          </p:cNvPicPr>
          <p:nvPr/>
        </p:nvPicPr>
        <p:blipFill>
          <a:blip r:embed="rId6"/>
          <a:stretch>
            <a:fillRect/>
          </a:stretch>
        </p:blipFill>
        <p:spPr>
          <a:xfrm>
            <a:off x="1852613" y="2014537"/>
            <a:ext cx="8486775" cy="2828925"/>
          </a:xfrm>
          <a:prstGeom prst="rect">
            <a:avLst/>
          </a:prstGeom>
        </p:spPr>
      </p:pic>
    </p:spTree>
    <p:extLst>
      <p:ext uri="{BB962C8B-B14F-4D97-AF65-F5344CB8AC3E}">
        <p14:creationId xmlns:p14="http://schemas.microsoft.com/office/powerpoint/2010/main" val="494257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388F10-B2C5-A1E7-5D39-713C55D31DEC}"/>
              </a:ext>
            </a:extLst>
          </p:cNvPr>
          <p:cNvSpPr>
            <a:spLocks noGrp="1"/>
          </p:cNvSpPr>
          <p:nvPr>
            <p:ph type="title"/>
            <p:custDataLst>
              <p:tags r:id="rId1"/>
            </p:custDataLst>
          </p:nvPr>
        </p:nvSpPr>
        <p:spPr/>
        <p:txBody>
          <a:bodyPr/>
          <a:lstStyle/>
          <a:p>
            <a:r>
              <a:rPr lang="fr-CA">
                <a:cs typeface="Arial"/>
              </a:rPr>
              <a:t>Demande de consultation </a:t>
            </a:r>
            <a:endParaRPr lang="fr-CA"/>
          </a:p>
        </p:txBody>
      </p:sp>
      <p:sp>
        <p:nvSpPr>
          <p:cNvPr id="3" name="Espace réservé du pied de page 2">
            <a:extLst>
              <a:ext uri="{FF2B5EF4-FFF2-40B4-BE49-F238E27FC236}">
                <a16:creationId xmlns:a16="http://schemas.microsoft.com/office/drawing/2014/main" id="{3D4474FE-159C-BE1B-E8C0-BEA4B29114AA}"/>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92475FCF-90E3-90BA-C9AC-F096541D3ADD}"/>
              </a:ext>
            </a:extLst>
          </p:cNvPr>
          <p:cNvSpPr>
            <a:spLocks noGrp="1"/>
          </p:cNvSpPr>
          <p:nvPr>
            <p:ph type="sldNum" sz="quarter" idx="11"/>
            <p:custDataLst>
              <p:tags r:id="rId3"/>
            </p:custDataLst>
          </p:nvPr>
        </p:nvSpPr>
        <p:spPr/>
        <p:txBody>
          <a:bodyPr/>
          <a:lstStyle/>
          <a:p>
            <a:fld id="{91882AA3-08DC-0043-8CA8-8CA69DA2397E}" type="slidenum">
              <a:rPr lang="en-US"/>
              <a:pPr/>
              <a:t>15</a:t>
            </a:fld>
            <a:endParaRPr lang="en-US"/>
          </a:p>
        </p:txBody>
      </p:sp>
      <p:pic>
        <p:nvPicPr>
          <p:cNvPr id="10" name="Graphique 9" descr="Femme médecin avec un remplissage uni">
            <a:extLst>
              <a:ext uri="{FF2B5EF4-FFF2-40B4-BE49-F238E27FC236}">
                <a16:creationId xmlns:a16="http://schemas.microsoft.com/office/drawing/2014/main" id="{425BC8B3-4FA0-4FE5-884E-BC3D5BDCF62F}"/>
              </a:ext>
            </a:extLst>
          </p:cNvPr>
          <p:cNvPicPr>
            <a:picLocks noChangeAspect="1"/>
          </p:cNvPicPr>
          <p:nvPr>
            <p:custDataLst>
              <p:tags r:id="rId4"/>
            </p:custDataLst>
          </p:nvPr>
        </p:nvPicPr>
        <p:blipFill>
          <a:blip r:embed="rId15">
            <a:extLst>
              <a:ext uri="{96DAC541-7B7A-43D3-8B79-37D633B846F1}">
                <asvg:svgBlip xmlns:asvg="http://schemas.microsoft.com/office/drawing/2016/SVG/main" r:embed="rId16"/>
              </a:ext>
            </a:extLst>
          </a:blip>
          <a:stretch>
            <a:fillRect/>
          </a:stretch>
        </p:blipFill>
        <p:spPr>
          <a:xfrm>
            <a:off x="4953000" y="1305818"/>
            <a:ext cx="914400" cy="914400"/>
          </a:xfrm>
          <a:prstGeom prst="rect">
            <a:avLst/>
          </a:prstGeom>
        </p:spPr>
      </p:pic>
      <p:pic>
        <p:nvPicPr>
          <p:cNvPr id="12" name="Graphique 11" descr="Employée de bureau contour">
            <a:extLst>
              <a:ext uri="{FF2B5EF4-FFF2-40B4-BE49-F238E27FC236}">
                <a16:creationId xmlns:a16="http://schemas.microsoft.com/office/drawing/2014/main" id="{D0EFDC8E-6D93-E468-27D0-956A5DF74F69}"/>
              </a:ext>
            </a:extLst>
          </p:cNvPr>
          <p:cNvPicPr>
            <a:picLocks noChangeAspect="1"/>
          </p:cNvPicPr>
          <p:nvPr>
            <p:custDataLst>
              <p:tags r:id="rId5"/>
            </p:custDataLst>
          </p:nvPr>
        </p:nvPicPr>
        <p:blipFill>
          <a:blip r:embed="rId17">
            <a:extLst>
              <a:ext uri="{96DAC541-7B7A-43D3-8B79-37D633B846F1}">
                <asvg:svgBlip xmlns:asvg="http://schemas.microsoft.com/office/drawing/2016/SVG/main" r:embed="rId18"/>
              </a:ext>
            </a:extLst>
          </a:blip>
          <a:stretch>
            <a:fillRect/>
          </a:stretch>
        </p:blipFill>
        <p:spPr>
          <a:xfrm>
            <a:off x="7028782" y="1305818"/>
            <a:ext cx="914400" cy="914400"/>
          </a:xfrm>
          <a:prstGeom prst="rect">
            <a:avLst/>
          </a:prstGeom>
        </p:spPr>
      </p:pic>
      <p:cxnSp>
        <p:nvCxnSpPr>
          <p:cNvPr id="14" name="Connecteur droit avec flèche 13">
            <a:extLst>
              <a:ext uri="{FF2B5EF4-FFF2-40B4-BE49-F238E27FC236}">
                <a16:creationId xmlns:a16="http://schemas.microsoft.com/office/drawing/2014/main" id="{E8D05A06-4F86-122E-3E13-BDA49D9948BD}"/>
              </a:ext>
            </a:extLst>
          </p:cNvPr>
          <p:cNvCxnSpPr>
            <a:cxnSpLocks/>
          </p:cNvCxnSpPr>
          <p:nvPr>
            <p:custDataLst>
              <p:tags r:id="rId6"/>
            </p:custDataLst>
          </p:nvPr>
        </p:nvCxnSpPr>
        <p:spPr>
          <a:xfrm>
            <a:off x="5978236" y="1406236"/>
            <a:ext cx="92825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0C8452ED-A382-56E9-97EA-C73CF1BC56C7}"/>
              </a:ext>
            </a:extLst>
          </p:cNvPr>
          <p:cNvSpPr txBox="1"/>
          <p:nvPr>
            <p:custDataLst>
              <p:tags r:id="rId7"/>
            </p:custDataLst>
          </p:nvPr>
        </p:nvSpPr>
        <p:spPr>
          <a:xfrm>
            <a:off x="5954204" y="1031641"/>
            <a:ext cx="1072665" cy="338554"/>
          </a:xfrm>
          <a:prstGeom prst="rect">
            <a:avLst/>
          </a:prstGeom>
          <a:noFill/>
        </p:spPr>
        <p:txBody>
          <a:bodyPr wrap="square" rtlCol="0">
            <a:spAutoFit/>
          </a:bodyPr>
          <a:lstStyle/>
          <a:p>
            <a:r>
              <a:rPr lang="fr-CA" sz="1600">
                <a:solidFill>
                  <a:schemeClr val="accent1"/>
                </a:solidFill>
              </a:rPr>
              <a:t>Demande</a:t>
            </a:r>
          </a:p>
        </p:txBody>
      </p:sp>
      <p:cxnSp>
        <p:nvCxnSpPr>
          <p:cNvPr id="17" name="Connecteur droit avec flèche 16">
            <a:extLst>
              <a:ext uri="{FF2B5EF4-FFF2-40B4-BE49-F238E27FC236}">
                <a16:creationId xmlns:a16="http://schemas.microsoft.com/office/drawing/2014/main" id="{B6BD4E66-AD4E-BDF3-7B17-DFFAA3D842CB}"/>
              </a:ext>
            </a:extLst>
          </p:cNvPr>
          <p:cNvCxnSpPr/>
          <p:nvPr>
            <p:custDataLst>
              <p:tags r:id="rId8"/>
            </p:custDataLst>
          </p:nvPr>
        </p:nvCxnSpPr>
        <p:spPr>
          <a:xfrm flipH="1">
            <a:off x="5978236" y="1858963"/>
            <a:ext cx="92825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2FB9A6F9-3FA6-B4A6-8C2A-01CF7F48DAFB}"/>
              </a:ext>
            </a:extLst>
          </p:cNvPr>
          <p:cNvSpPr txBox="1"/>
          <p:nvPr>
            <p:custDataLst>
              <p:tags r:id="rId9"/>
            </p:custDataLst>
          </p:nvPr>
        </p:nvSpPr>
        <p:spPr>
          <a:xfrm>
            <a:off x="5989691" y="1896103"/>
            <a:ext cx="1024174" cy="584775"/>
          </a:xfrm>
          <a:prstGeom prst="rect">
            <a:avLst/>
          </a:prstGeom>
          <a:noFill/>
        </p:spPr>
        <p:txBody>
          <a:bodyPr wrap="square" lIns="91440" tIns="45720" rIns="91440" bIns="45720" rtlCol="0" anchor="t">
            <a:spAutoFit/>
          </a:bodyPr>
          <a:lstStyle/>
          <a:p>
            <a:pPr algn="ctr"/>
            <a:r>
              <a:rPr lang="fr-CA" sz="1600">
                <a:solidFill>
                  <a:schemeClr val="tx2"/>
                </a:solidFill>
              </a:rPr>
              <a:t>Réponse écrite</a:t>
            </a:r>
          </a:p>
        </p:txBody>
      </p:sp>
      <p:sp>
        <p:nvSpPr>
          <p:cNvPr id="20" name="ZoneTexte 19">
            <a:extLst>
              <a:ext uri="{FF2B5EF4-FFF2-40B4-BE49-F238E27FC236}">
                <a16:creationId xmlns:a16="http://schemas.microsoft.com/office/drawing/2014/main" id="{536A3167-5A55-EF4F-BA4D-36040E614B59}"/>
              </a:ext>
            </a:extLst>
          </p:cNvPr>
          <p:cNvSpPr txBox="1"/>
          <p:nvPr>
            <p:custDataLst>
              <p:tags r:id="rId10"/>
            </p:custDataLst>
          </p:nvPr>
        </p:nvSpPr>
        <p:spPr>
          <a:xfrm>
            <a:off x="1849582" y="1196181"/>
            <a:ext cx="3262745" cy="1200329"/>
          </a:xfrm>
          <a:prstGeom prst="rect">
            <a:avLst/>
          </a:prstGeom>
          <a:noFill/>
        </p:spPr>
        <p:txBody>
          <a:bodyPr wrap="square">
            <a:spAutoFit/>
          </a:bodyPr>
          <a:lstStyle/>
          <a:p>
            <a:r>
              <a:rPr lang="fr-CA">
                <a:solidFill>
                  <a:srgbClr val="000000"/>
                </a:solidFill>
                <a:latin typeface="+mj-lt"/>
              </a:rPr>
              <a:t>P</a:t>
            </a:r>
            <a:r>
              <a:rPr lang="fr-CA" sz="1800" b="0" i="0" u="none" strike="noStrike" baseline="0">
                <a:solidFill>
                  <a:srgbClr val="000000"/>
                </a:solidFill>
                <a:latin typeface="+mj-lt"/>
              </a:rPr>
              <a:t>rofessionnel habilité à prescrire des médicaments, excluant un pharmacien communautaire</a:t>
            </a:r>
            <a:endParaRPr lang="fr-CA">
              <a:latin typeface="+mj-lt"/>
            </a:endParaRPr>
          </a:p>
        </p:txBody>
      </p:sp>
      <p:sp>
        <p:nvSpPr>
          <p:cNvPr id="21" name="ZoneTexte 20">
            <a:extLst>
              <a:ext uri="{FF2B5EF4-FFF2-40B4-BE49-F238E27FC236}">
                <a16:creationId xmlns:a16="http://schemas.microsoft.com/office/drawing/2014/main" id="{DF4638C5-3F6E-0CB1-E14F-370DE621807D}"/>
              </a:ext>
            </a:extLst>
          </p:cNvPr>
          <p:cNvSpPr txBox="1"/>
          <p:nvPr>
            <p:custDataLst>
              <p:tags r:id="rId11"/>
            </p:custDataLst>
          </p:nvPr>
        </p:nvSpPr>
        <p:spPr>
          <a:xfrm>
            <a:off x="8215277" y="1526771"/>
            <a:ext cx="1577291" cy="369332"/>
          </a:xfrm>
          <a:prstGeom prst="rect">
            <a:avLst/>
          </a:prstGeom>
          <a:noFill/>
        </p:spPr>
        <p:txBody>
          <a:bodyPr wrap="square">
            <a:spAutoFit/>
          </a:bodyPr>
          <a:lstStyle/>
          <a:p>
            <a:r>
              <a:rPr lang="fr-CA">
                <a:solidFill>
                  <a:srgbClr val="000000"/>
                </a:solidFill>
                <a:latin typeface="+mj-lt"/>
              </a:rPr>
              <a:t>Pharmacien</a:t>
            </a:r>
            <a:endParaRPr lang="fr-CA">
              <a:latin typeface="+mj-lt"/>
            </a:endParaRPr>
          </a:p>
        </p:txBody>
      </p:sp>
      <p:sp>
        <p:nvSpPr>
          <p:cNvPr id="25" name="ZoneTexte 24">
            <a:extLst>
              <a:ext uri="{FF2B5EF4-FFF2-40B4-BE49-F238E27FC236}">
                <a16:creationId xmlns:a16="http://schemas.microsoft.com/office/drawing/2014/main" id="{AF8FABDA-FCEF-CBD6-E1C1-F1B681972972}"/>
              </a:ext>
            </a:extLst>
          </p:cNvPr>
          <p:cNvSpPr txBox="1"/>
          <p:nvPr>
            <p:custDataLst>
              <p:tags r:id="rId12"/>
            </p:custDataLst>
          </p:nvPr>
        </p:nvSpPr>
        <p:spPr>
          <a:xfrm>
            <a:off x="609600" y="2726306"/>
            <a:ext cx="10420350" cy="3416320"/>
          </a:xfrm>
          <a:prstGeom prst="rect">
            <a:avLst/>
          </a:prstGeom>
          <a:noFill/>
        </p:spPr>
        <p:txBody>
          <a:bodyPr wrap="square">
            <a:spAutoFit/>
          </a:bodyPr>
          <a:lstStyle/>
          <a:p>
            <a:r>
              <a:rPr lang="fr-CA" sz="2000" b="0" i="0" u="none" strike="noStrike" baseline="0">
                <a:solidFill>
                  <a:srgbClr val="000000"/>
                </a:solidFill>
                <a:latin typeface="+mn-lt"/>
              </a:rPr>
              <a:t>Voici les </a:t>
            </a:r>
            <a:r>
              <a:rPr lang="fr-CA" sz="2000" b="1" i="0" u="none" strike="noStrike" baseline="0">
                <a:solidFill>
                  <a:schemeClr val="accent1"/>
                </a:solidFill>
                <a:latin typeface="+mn-lt"/>
              </a:rPr>
              <a:t>situations de demandes de consultation payables </a:t>
            </a:r>
            <a:r>
              <a:rPr lang="fr-CA" sz="2000" b="0" i="0" u="none" strike="noStrike" baseline="0">
                <a:solidFill>
                  <a:srgbClr val="000000"/>
                </a:solidFill>
                <a:latin typeface="+mn-lt"/>
              </a:rPr>
              <a:t>en vertu de la règle 41 : </a:t>
            </a:r>
          </a:p>
          <a:p>
            <a:endParaRPr lang="fr-CA" sz="1800" b="0" i="0" u="none" strike="noStrike" baseline="0">
              <a:solidFill>
                <a:srgbClr val="000000"/>
              </a:solidFill>
              <a:latin typeface="+mn-lt"/>
            </a:endParaRPr>
          </a:p>
          <a:p>
            <a:pPr marL="285750" indent="-285750">
              <a:buFont typeface="Arial" panose="020B0604020202020204" pitchFamily="34" charset="0"/>
              <a:buChar char="•"/>
            </a:pPr>
            <a:r>
              <a:rPr lang="fr-CA" sz="1800" b="0" i="0" u="none" strike="noStrike" baseline="0">
                <a:solidFill>
                  <a:srgbClr val="000000"/>
                </a:solidFill>
                <a:latin typeface="+mn-lt"/>
              </a:rPr>
              <a:t>Révision de l’historique des traitements et recommandations. </a:t>
            </a:r>
          </a:p>
          <a:p>
            <a:pPr marL="285750" indent="-285750">
              <a:buFont typeface="Arial" panose="020B0604020202020204" pitchFamily="34" charset="0"/>
              <a:buChar char="•"/>
            </a:pPr>
            <a:r>
              <a:rPr lang="fr-CA" sz="1800" b="0" i="0" u="none" strike="noStrike" baseline="0">
                <a:solidFill>
                  <a:srgbClr val="000000"/>
                </a:solidFill>
                <a:latin typeface="+mn-lt"/>
              </a:rPr>
              <a:t>Recommandations sur la conduite à tenir en rapport avec des effets indésirables ou des anomalies de laboratoire pour des traitements ou médicaments. </a:t>
            </a:r>
          </a:p>
          <a:p>
            <a:pPr marL="285750" indent="-285750">
              <a:buFont typeface="Arial" panose="020B0604020202020204" pitchFamily="34" charset="0"/>
              <a:buChar char="•"/>
            </a:pPr>
            <a:r>
              <a:rPr lang="fr-CA" sz="1800" b="0" i="0" u="none" strike="noStrike" baseline="0">
                <a:solidFill>
                  <a:srgbClr val="000000"/>
                </a:solidFill>
                <a:latin typeface="+mn-lt"/>
              </a:rPr>
              <a:t>Analyse pharmacologique pour déterminer la présence ou l’absence d’un médicament en cause dans un problème de santé ou une anomalie de laboratoire. </a:t>
            </a:r>
          </a:p>
          <a:p>
            <a:pPr marL="285750" indent="-285750">
              <a:buFont typeface="Arial" panose="020B0604020202020204" pitchFamily="34" charset="0"/>
              <a:buChar char="•"/>
            </a:pPr>
            <a:r>
              <a:rPr lang="fr-CA" sz="1800" b="0" i="0" u="none" strike="noStrike" baseline="0">
                <a:solidFill>
                  <a:srgbClr val="000000"/>
                </a:solidFill>
                <a:latin typeface="+mn-lt"/>
              </a:rPr>
              <a:t>Plan de sevrage d’un médicament avec suivi. </a:t>
            </a:r>
          </a:p>
          <a:p>
            <a:pPr marL="285750" indent="-285750">
              <a:buFont typeface="Arial" panose="020B0604020202020204" pitchFamily="34" charset="0"/>
              <a:buChar char="•"/>
            </a:pPr>
            <a:r>
              <a:rPr lang="fr-CA" sz="1800" b="0" i="0" u="none" strike="noStrike" baseline="0">
                <a:solidFill>
                  <a:srgbClr val="000000"/>
                </a:solidFill>
                <a:latin typeface="+mn-lt"/>
              </a:rPr>
              <a:t>Évaluation des meilleures options pharmacologiques pour une condition particulière sans réponse au traitement pharmacologique de première intention. </a:t>
            </a:r>
          </a:p>
          <a:p>
            <a:pPr marL="285750" indent="-285750">
              <a:buFont typeface="Arial" panose="020B0604020202020204" pitchFamily="34" charset="0"/>
              <a:buChar char="•"/>
            </a:pPr>
            <a:r>
              <a:rPr lang="fr-CA" sz="1800" b="0" i="0" u="none" strike="noStrike" baseline="0">
                <a:solidFill>
                  <a:srgbClr val="000000"/>
                </a:solidFill>
                <a:latin typeface="+mn-lt"/>
              </a:rPr>
              <a:t>Suggestions d’un traitement alternatif ou d’un titrage de médicament lorsqu’il n’existe aucun algorithme de traitement ou nomogramme s’appliquant à ce patient. </a:t>
            </a:r>
          </a:p>
        </p:txBody>
      </p:sp>
    </p:spTree>
    <p:extLst>
      <p:ext uri="{BB962C8B-B14F-4D97-AF65-F5344CB8AC3E}">
        <p14:creationId xmlns:p14="http://schemas.microsoft.com/office/powerpoint/2010/main" val="648929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E9F141-4427-5474-5F69-51A050CAC9B4}"/>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101D5815-ABE2-C763-5462-31CF1A08EBEA}"/>
              </a:ext>
            </a:extLst>
          </p:cNvPr>
          <p:cNvSpPr>
            <a:spLocks noGrp="1"/>
          </p:cNvSpPr>
          <p:nvPr>
            <p:ph type="title"/>
            <p:custDataLst>
              <p:tags r:id="rId1"/>
            </p:custDataLst>
          </p:nvPr>
        </p:nvSpPr>
        <p:spPr/>
        <p:txBody>
          <a:bodyPr/>
          <a:lstStyle/>
          <a:p>
            <a:r>
              <a:rPr lang="fr-CA">
                <a:cs typeface="Arial"/>
              </a:rPr>
              <a:t>Demande de consultation </a:t>
            </a:r>
            <a:endParaRPr lang="fr-CA"/>
          </a:p>
        </p:txBody>
      </p:sp>
      <p:sp>
        <p:nvSpPr>
          <p:cNvPr id="3" name="Espace réservé du pied de page 2">
            <a:extLst>
              <a:ext uri="{FF2B5EF4-FFF2-40B4-BE49-F238E27FC236}">
                <a16:creationId xmlns:a16="http://schemas.microsoft.com/office/drawing/2014/main" id="{6761A2D8-A5A6-09DF-2363-B9348C9BCBD7}"/>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332BA275-A9EB-02E8-D794-D158676250DB}"/>
              </a:ext>
            </a:extLst>
          </p:cNvPr>
          <p:cNvSpPr>
            <a:spLocks noGrp="1"/>
          </p:cNvSpPr>
          <p:nvPr>
            <p:ph type="sldNum" sz="quarter" idx="11"/>
            <p:custDataLst>
              <p:tags r:id="rId3"/>
            </p:custDataLst>
          </p:nvPr>
        </p:nvSpPr>
        <p:spPr/>
        <p:txBody>
          <a:bodyPr/>
          <a:lstStyle/>
          <a:p>
            <a:fld id="{91882AA3-08DC-0043-8CA8-8CA69DA2397E}" type="slidenum">
              <a:rPr lang="en-US"/>
              <a:pPr/>
              <a:t>16</a:t>
            </a:fld>
            <a:endParaRPr lang="en-US"/>
          </a:p>
        </p:txBody>
      </p:sp>
      <p:sp>
        <p:nvSpPr>
          <p:cNvPr id="6" name="Espace réservé du contenu 5">
            <a:extLst>
              <a:ext uri="{FF2B5EF4-FFF2-40B4-BE49-F238E27FC236}">
                <a16:creationId xmlns:a16="http://schemas.microsoft.com/office/drawing/2014/main" id="{ED03FF32-F273-2423-B557-313428AFB810}"/>
              </a:ext>
            </a:extLst>
          </p:cNvPr>
          <p:cNvSpPr>
            <a:spLocks noGrp="1"/>
          </p:cNvSpPr>
          <p:nvPr>
            <p:ph sz="quarter" idx="13"/>
            <p:custDataLst>
              <p:tags r:id="rId4"/>
            </p:custDataLst>
          </p:nvPr>
        </p:nvSpPr>
        <p:spPr>
          <a:xfrm>
            <a:off x="609600" y="1496291"/>
            <a:ext cx="10695709" cy="4447309"/>
          </a:xfrm>
        </p:spPr>
        <p:txBody>
          <a:bodyPr lIns="0" tIns="0" rIns="0" bIns="0" anchor="t"/>
          <a:lstStyle/>
          <a:p>
            <a:r>
              <a:rPr lang="fr-CA"/>
              <a:t>Tarif de </a:t>
            </a:r>
            <a:r>
              <a:rPr lang="fr-CA" b="1">
                <a:solidFill>
                  <a:schemeClr val="accent1"/>
                </a:solidFill>
              </a:rPr>
              <a:t>49,20 $</a:t>
            </a:r>
            <a:endParaRPr lang="fr-CA" b="1">
              <a:solidFill>
                <a:schemeClr val="accent1"/>
              </a:solidFill>
              <a:cs typeface="Arial"/>
            </a:endParaRPr>
          </a:p>
          <a:p>
            <a:endParaRPr lang="fr-CA"/>
          </a:p>
          <a:p>
            <a:r>
              <a:rPr lang="fr-CA" b="1"/>
              <a:t>Documentation au dossier du patient</a:t>
            </a:r>
            <a:endParaRPr lang="fr-CA" b="1">
              <a:cs typeface="Arial"/>
            </a:endParaRPr>
          </a:p>
          <a:p>
            <a:r>
              <a:rPr lang="fr-CA"/>
              <a:t>La </a:t>
            </a:r>
            <a:r>
              <a:rPr lang="fr-CA" b="1">
                <a:solidFill>
                  <a:schemeClr val="accent1"/>
                </a:solidFill>
              </a:rPr>
              <a:t>date et l’heure </a:t>
            </a:r>
            <a:r>
              <a:rPr lang="fr-CA"/>
              <a:t>de la demande, le nom du </a:t>
            </a:r>
            <a:r>
              <a:rPr lang="fr-CA" b="1">
                <a:solidFill>
                  <a:schemeClr val="accent1"/>
                </a:solidFill>
              </a:rPr>
              <a:t>demandeur</a:t>
            </a:r>
            <a:r>
              <a:rPr lang="fr-CA"/>
              <a:t>, le </a:t>
            </a:r>
            <a:r>
              <a:rPr lang="fr-CA" b="1">
                <a:solidFill>
                  <a:schemeClr val="accent1"/>
                </a:solidFill>
              </a:rPr>
              <a:t>contenu</a:t>
            </a:r>
            <a:r>
              <a:rPr lang="fr-CA"/>
              <a:t> de la demande et le contenu de la consultation, incluant les </a:t>
            </a:r>
            <a:r>
              <a:rPr lang="fr-CA" b="1">
                <a:solidFill>
                  <a:schemeClr val="accent1"/>
                </a:solidFill>
              </a:rPr>
              <a:t>recommandations</a:t>
            </a:r>
            <a:r>
              <a:rPr lang="fr-CA"/>
              <a:t> visant la personne assurée. </a:t>
            </a:r>
            <a:endParaRPr lang="fr-CA">
              <a:cs typeface="Arial"/>
            </a:endParaRPr>
          </a:p>
          <a:p>
            <a:endParaRPr lang="fr-CA"/>
          </a:p>
          <a:p>
            <a:r>
              <a:rPr lang="fr-CA" b="1"/>
              <a:t>Limites</a:t>
            </a:r>
            <a:endParaRPr lang="fr-CA" b="1">
              <a:cs typeface="Arial"/>
            </a:endParaRPr>
          </a:p>
          <a:p>
            <a:r>
              <a:rPr lang="fr-CA"/>
              <a:t>Les </a:t>
            </a:r>
            <a:r>
              <a:rPr lang="fr-CA" b="1">
                <a:solidFill>
                  <a:schemeClr val="accent1"/>
                </a:solidFill>
              </a:rPr>
              <a:t>opinions</a:t>
            </a:r>
            <a:r>
              <a:rPr lang="fr-CA"/>
              <a:t> pharmaceutiques et les refus </a:t>
            </a:r>
            <a:r>
              <a:rPr lang="fr-CA" b="1">
                <a:solidFill>
                  <a:schemeClr val="accent1"/>
                </a:solidFill>
              </a:rPr>
              <a:t>en lien avec la réponse</a:t>
            </a:r>
            <a:r>
              <a:rPr lang="fr-CA"/>
              <a:t> à la demande de consultation par le pharmacien ne sont pas payables. </a:t>
            </a:r>
            <a:endParaRPr lang="fr-CA">
              <a:cs typeface="Arial"/>
            </a:endParaRPr>
          </a:p>
          <a:p>
            <a:r>
              <a:rPr lang="fr-CA"/>
              <a:t>La demande de consultation n’est </a:t>
            </a:r>
            <a:r>
              <a:rPr lang="fr-CA" b="1">
                <a:solidFill>
                  <a:schemeClr val="accent1"/>
                </a:solidFill>
              </a:rPr>
              <a:t>pas facturable</a:t>
            </a:r>
            <a:r>
              <a:rPr lang="fr-CA"/>
              <a:t> si elle donne lieu exclusivement à une </a:t>
            </a:r>
            <a:r>
              <a:rPr lang="fr-CA" b="1">
                <a:solidFill>
                  <a:schemeClr val="accent1"/>
                </a:solidFill>
              </a:rPr>
              <a:t>recommandation de prise en charge</a:t>
            </a:r>
            <a:r>
              <a:rPr lang="fr-CA"/>
              <a:t> pour l’atteinte de cibles thérapeutiques ou à une recommandation de prise en charge de la clientèle en soins palliatifs exécutée dans la même pharmacie. </a:t>
            </a:r>
            <a:endParaRPr lang="fr-CA">
              <a:cs typeface="Arial"/>
            </a:endParaRPr>
          </a:p>
        </p:txBody>
      </p:sp>
    </p:spTree>
    <p:extLst>
      <p:ext uri="{BB962C8B-B14F-4D97-AF65-F5344CB8AC3E}">
        <p14:creationId xmlns:p14="http://schemas.microsoft.com/office/powerpoint/2010/main" val="35262844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9D95D-F25C-21AC-96F3-9A4F752E850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8A396E59-1E2C-8143-7EF9-215E6EBD4729}"/>
              </a:ext>
            </a:extLst>
          </p:cNvPr>
          <p:cNvSpPr>
            <a:spLocks noGrp="1"/>
          </p:cNvSpPr>
          <p:nvPr>
            <p:ph type="title"/>
            <p:custDataLst>
              <p:tags r:id="rId1"/>
            </p:custDataLst>
          </p:nvPr>
        </p:nvSpPr>
        <p:spPr/>
        <p:txBody>
          <a:bodyPr/>
          <a:lstStyle/>
          <a:p>
            <a:r>
              <a:rPr lang="fr-CA">
                <a:cs typeface="Arial"/>
              </a:rPr>
              <a:t>Demande de consultation </a:t>
            </a:r>
            <a:endParaRPr lang="fr-CA"/>
          </a:p>
        </p:txBody>
      </p:sp>
      <p:sp>
        <p:nvSpPr>
          <p:cNvPr id="3" name="Espace réservé du pied de page 2">
            <a:extLst>
              <a:ext uri="{FF2B5EF4-FFF2-40B4-BE49-F238E27FC236}">
                <a16:creationId xmlns:a16="http://schemas.microsoft.com/office/drawing/2014/main" id="{CA0CCB3D-63AA-A739-6583-F708533C2DE4}"/>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0C682B6E-1E1F-8A70-C18A-CC0E2FD06F34}"/>
              </a:ext>
            </a:extLst>
          </p:cNvPr>
          <p:cNvSpPr>
            <a:spLocks noGrp="1"/>
          </p:cNvSpPr>
          <p:nvPr>
            <p:ph type="sldNum" sz="quarter" idx="11"/>
            <p:custDataLst>
              <p:tags r:id="rId3"/>
            </p:custDataLst>
          </p:nvPr>
        </p:nvSpPr>
        <p:spPr/>
        <p:txBody>
          <a:bodyPr/>
          <a:lstStyle/>
          <a:p>
            <a:fld id="{91882AA3-08DC-0043-8CA8-8CA69DA2397E}" type="slidenum">
              <a:rPr lang="en-US"/>
              <a:pPr/>
              <a:t>17</a:t>
            </a:fld>
            <a:endParaRPr lang="en-US"/>
          </a:p>
        </p:txBody>
      </p:sp>
      <p:sp>
        <p:nvSpPr>
          <p:cNvPr id="6" name="Espace réservé du contenu 5">
            <a:extLst>
              <a:ext uri="{FF2B5EF4-FFF2-40B4-BE49-F238E27FC236}">
                <a16:creationId xmlns:a16="http://schemas.microsoft.com/office/drawing/2014/main" id="{F49A6C31-4A2C-6CC2-6FCD-B0B96D82CD49}"/>
              </a:ext>
            </a:extLst>
          </p:cNvPr>
          <p:cNvSpPr>
            <a:spLocks noGrp="1"/>
          </p:cNvSpPr>
          <p:nvPr>
            <p:ph sz="quarter" idx="13"/>
            <p:custDataLst>
              <p:tags r:id="rId4"/>
            </p:custDataLst>
          </p:nvPr>
        </p:nvSpPr>
        <p:spPr>
          <a:xfrm>
            <a:off x="609600" y="1496291"/>
            <a:ext cx="10695709" cy="4447309"/>
          </a:xfrm>
        </p:spPr>
        <p:txBody>
          <a:bodyPr lIns="0" tIns="0" rIns="0" bIns="0" anchor="t"/>
          <a:lstStyle/>
          <a:p>
            <a:r>
              <a:rPr lang="fr-CA" b="1" dirty="0">
                <a:solidFill>
                  <a:srgbClr val="00A8EC"/>
                </a:solidFill>
              </a:rPr>
              <a:t>Question :</a:t>
            </a:r>
            <a:r>
              <a:rPr lang="fr-CA" dirty="0"/>
              <a:t> </a:t>
            </a:r>
            <a:r>
              <a:rPr lang="fr-CA" b="1" dirty="0">
                <a:solidFill>
                  <a:schemeClr val="accent1"/>
                </a:solidFill>
              </a:rPr>
              <a:t>Lorsqu’une demande de consultation nous amène à modifier la thérapie médicamenteuse, est-il permis de facturer les deux activités?</a:t>
            </a:r>
          </a:p>
          <a:p>
            <a:pPr marL="285750" indent="-285750">
              <a:buFont typeface="Arial" panose="020B0604020202020204" pitchFamily="34" charset="0"/>
              <a:buChar char="•"/>
            </a:pPr>
            <a:r>
              <a:rPr lang="fr-CA" dirty="0"/>
              <a:t>La demande de consultation est facturable. Le pharmacien doit cependant fournir une réponse écrite au demandeur et s’assurer de son accord avant de modifier ou cesser la thérapie médicamenteuse selon ses recommandations.</a:t>
            </a:r>
          </a:p>
          <a:p>
            <a:pPr marL="742950" lvl="1" indent="-285750"/>
            <a:r>
              <a:rPr lang="fr-CA" dirty="0"/>
              <a:t>Une fois l’</a:t>
            </a:r>
            <a:r>
              <a:rPr lang="fr-CA" b="1" dirty="0">
                <a:solidFill>
                  <a:schemeClr val="accent1"/>
                </a:solidFill>
              </a:rPr>
              <a:t>accord obtenu</a:t>
            </a:r>
            <a:r>
              <a:rPr lang="fr-CA" dirty="0"/>
              <a:t>, le pharmacien peut aussi facturer la modification de la thérapie médicamenteuse.</a:t>
            </a:r>
            <a:endParaRPr lang="fr-CA" b="1" dirty="0">
              <a:solidFill>
                <a:schemeClr val="accent1"/>
              </a:solidFill>
            </a:endParaRPr>
          </a:p>
          <a:p>
            <a:endParaRPr lang="fr-CA" dirty="0"/>
          </a:p>
        </p:txBody>
      </p:sp>
    </p:spTree>
    <p:extLst>
      <p:ext uri="{BB962C8B-B14F-4D97-AF65-F5344CB8AC3E}">
        <p14:creationId xmlns:p14="http://schemas.microsoft.com/office/powerpoint/2010/main" val="420754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314C1A-9453-39C6-2718-411B11C3DF1A}"/>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04D794C-BFC2-1AA0-EA28-1BB8675049F0}"/>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E87A3C85-CE8E-F776-6613-A25356CCC0A7}"/>
              </a:ext>
            </a:extLst>
          </p:cNvPr>
          <p:cNvSpPr>
            <a:spLocks noGrp="1"/>
          </p:cNvSpPr>
          <p:nvPr>
            <p:ph type="sldNum" sz="quarter" idx="11"/>
            <p:custDataLst>
              <p:tags r:id="rId2"/>
            </p:custDataLst>
          </p:nvPr>
        </p:nvSpPr>
        <p:spPr/>
        <p:txBody>
          <a:bodyPr/>
          <a:lstStyle/>
          <a:p>
            <a:fld id="{91882AA3-08DC-0043-8CA8-8CA69DA2397E}" type="slidenum">
              <a:rPr lang="en-US" smtClean="0"/>
              <a:pPr/>
              <a:t>18</a:t>
            </a:fld>
            <a:endParaRPr lang="en-US"/>
          </a:p>
        </p:txBody>
      </p:sp>
      <p:sp>
        <p:nvSpPr>
          <p:cNvPr id="5" name="Espace réservé du texte 4">
            <a:extLst>
              <a:ext uri="{FF2B5EF4-FFF2-40B4-BE49-F238E27FC236}">
                <a16:creationId xmlns:a16="http://schemas.microsoft.com/office/drawing/2014/main" id="{BFC031A2-59A3-27F5-CE04-7C5DA5BCA736}"/>
              </a:ext>
            </a:extLst>
          </p:cNvPr>
          <p:cNvSpPr>
            <a:spLocks noGrp="1"/>
          </p:cNvSpPr>
          <p:nvPr>
            <p:ph type="body" sz="quarter" idx="12"/>
            <p:custDataLst>
              <p:tags r:id="rId3"/>
            </p:custDataLst>
          </p:nvPr>
        </p:nvSpPr>
        <p:spPr>
          <a:xfrm>
            <a:off x="191344" y="364190"/>
            <a:ext cx="4495800" cy="457200"/>
          </a:xfrm>
        </p:spPr>
        <p:txBody>
          <a:bodyPr/>
          <a:lstStyle/>
          <a:p>
            <a:r>
              <a:rPr lang="fr-CA"/>
              <a:t>Patient asymptomatique</a:t>
            </a:r>
          </a:p>
        </p:txBody>
      </p:sp>
      <p:pic>
        <p:nvPicPr>
          <p:cNvPr id="2" name="Image 1">
            <a:extLst>
              <a:ext uri="{FF2B5EF4-FFF2-40B4-BE49-F238E27FC236}">
                <a16:creationId xmlns:a16="http://schemas.microsoft.com/office/drawing/2014/main" id="{1E4364AE-5858-DE82-87BD-1A1A99EAC955}"/>
              </a:ext>
            </a:extLst>
          </p:cNvPr>
          <p:cNvPicPr>
            <a:picLocks noChangeAspect="1"/>
          </p:cNvPicPr>
          <p:nvPr/>
        </p:nvPicPr>
        <p:blipFill>
          <a:blip r:embed="rId6"/>
          <a:stretch>
            <a:fillRect/>
          </a:stretch>
        </p:blipFill>
        <p:spPr>
          <a:xfrm>
            <a:off x="0" y="1963658"/>
            <a:ext cx="12192000" cy="2930684"/>
          </a:xfrm>
          <a:prstGeom prst="rect">
            <a:avLst/>
          </a:prstGeom>
        </p:spPr>
      </p:pic>
    </p:spTree>
    <p:extLst>
      <p:ext uri="{BB962C8B-B14F-4D97-AF65-F5344CB8AC3E}">
        <p14:creationId xmlns:p14="http://schemas.microsoft.com/office/powerpoint/2010/main" val="36958325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A47759B-4EE2-BB61-7C4C-D97A104A4052}"/>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F10850DF-362C-6BBA-B199-870D8991718E}"/>
              </a:ext>
            </a:extLst>
          </p:cNvPr>
          <p:cNvSpPr>
            <a:spLocks noGrp="1"/>
          </p:cNvSpPr>
          <p:nvPr>
            <p:ph type="sldNum" sz="quarter" idx="11"/>
            <p:custDataLst>
              <p:tags r:id="rId2"/>
            </p:custDataLst>
          </p:nvPr>
        </p:nvSpPr>
        <p:spPr/>
        <p:txBody>
          <a:bodyPr/>
          <a:lstStyle/>
          <a:p>
            <a:fld id="{91882AA3-08DC-0043-8CA8-8CA69DA2397E}" type="slidenum">
              <a:rPr lang="en-US" smtClean="0"/>
              <a:pPr/>
              <a:t>19</a:t>
            </a:fld>
            <a:endParaRPr lang="en-US"/>
          </a:p>
        </p:txBody>
      </p:sp>
      <p:sp>
        <p:nvSpPr>
          <p:cNvPr id="5" name="Espace réservé du texte 4">
            <a:extLst>
              <a:ext uri="{FF2B5EF4-FFF2-40B4-BE49-F238E27FC236}">
                <a16:creationId xmlns:a16="http://schemas.microsoft.com/office/drawing/2014/main" id="{251EF15F-ED93-83AC-4028-17F6061B291F}"/>
              </a:ext>
            </a:extLst>
          </p:cNvPr>
          <p:cNvSpPr>
            <a:spLocks noGrp="1"/>
          </p:cNvSpPr>
          <p:nvPr>
            <p:ph type="body" sz="quarter" idx="12"/>
            <p:custDataLst>
              <p:tags r:id="rId3"/>
            </p:custDataLst>
          </p:nvPr>
        </p:nvSpPr>
        <p:spPr>
          <a:xfrm>
            <a:off x="191344" y="364190"/>
            <a:ext cx="4495800" cy="457200"/>
          </a:xfrm>
        </p:spPr>
        <p:txBody>
          <a:bodyPr/>
          <a:lstStyle/>
          <a:p>
            <a:r>
              <a:rPr lang="fr-CA"/>
              <a:t>Patient ayant une condition </a:t>
            </a:r>
            <a:r>
              <a:rPr lang="fr-CA" err="1"/>
              <a:t>aigÜe</a:t>
            </a:r>
            <a:endParaRPr lang="fr-CA"/>
          </a:p>
        </p:txBody>
      </p:sp>
      <p:pic>
        <p:nvPicPr>
          <p:cNvPr id="2" name="Image 1">
            <a:extLst>
              <a:ext uri="{FF2B5EF4-FFF2-40B4-BE49-F238E27FC236}">
                <a16:creationId xmlns:a16="http://schemas.microsoft.com/office/drawing/2014/main" id="{F7F0D1EE-D5FD-B285-DC3B-3290A18C6047}"/>
              </a:ext>
            </a:extLst>
          </p:cNvPr>
          <p:cNvPicPr>
            <a:picLocks noChangeAspect="1"/>
          </p:cNvPicPr>
          <p:nvPr/>
        </p:nvPicPr>
        <p:blipFill>
          <a:blip r:embed="rId6"/>
          <a:stretch>
            <a:fillRect/>
          </a:stretch>
        </p:blipFill>
        <p:spPr>
          <a:xfrm>
            <a:off x="990600" y="628650"/>
            <a:ext cx="10210800" cy="5600700"/>
          </a:xfrm>
          <a:prstGeom prst="rect">
            <a:avLst/>
          </a:prstGeom>
        </p:spPr>
      </p:pic>
      <p:cxnSp>
        <p:nvCxnSpPr>
          <p:cNvPr id="13" name="Connecteur droit 12">
            <a:extLst>
              <a:ext uri="{FF2B5EF4-FFF2-40B4-BE49-F238E27FC236}">
                <a16:creationId xmlns:a16="http://schemas.microsoft.com/office/drawing/2014/main" id="{F26566CD-FC8B-20AE-2D36-C7ABF590FA1F}"/>
              </a:ext>
            </a:extLst>
          </p:cNvPr>
          <p:cNvCxnSpPr/>
          <p:nvPr/>
        </p:nvCxnSpPr>
        <p:spPr>
          <a:xfrm>
            <a:off x="5003800" y="5626100"/>
            <a:ext cx="5803900" cy="0"/>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 name="Connecteur droit avec flèche 14">
            <a:extLst>
              <a:ext uri="{FF2B5EF4-FFF2-40B4-BE49-F238E27FC236}">
                <a16:creationId xmlns:a16="http://schemas.microsoft.com/office/drawing/2014/main" id="{5EC9157E-088B-3673-1D9F-C448C7418A2F}"/>
              </a:ext>
            </a:extLst>
          </p:cNvPr>
          <p:cNvCxnSpPr>
            <a:cxnSpLocks/>
          </p:cNvCxnSpPr>
          <p:nvPr/>
        </p:nvCxnSpPr>
        <p:spPr>
          <a:xfrm flipV="1">
            <a:off x="10807700" y="3619500"/>
            <a:ext cx="0" cy="2006600"/>
          </a:xfrm>
          <a:prstGeom prst="straightConnector1">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5780627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4FCFF88-E985-955F-F7C7-DD89D296C810}"/>
              </a:ext>
            </a:extLst>
          </p:cNvPr>
          <p:cNvSpPr>
            <a:spLocks noGrp="1"/>
          </p:cNvSpPr>
          <p:nvPr>
            <p:ph type="title"/>
          </p:nvPr>
        </p:nvSpPr>
        <p:spPr/>
        <p:txBody>
          <a:bodyPr/>
          <a:lstStyle/>
          <a:p>
            <a:r>
              <a:rPr lang="fr-CA" dirty="0">
                <a:cs typeface="Arial"/>
              </a:rPr>
              <a:t>Modalités</a:t>
            </a:r>
          </a:p>
        </p:txBody>
      </p:sp>
      <p:sp>
        <p:nvSpPr>
          <p:cNvPr id="3" name="Espace réservé du texte 2">
            <a:extLst>
              <a:ext uri="{FF2B5EF4-FFF2-40B4-BE49-F238E27FC236}">
                <a16:creationId xmlns:a16="http://schemas.microsoft.com/office/drawing/2014/main" id="{7DEFB1F0-AED9-23EA-A723-20CD603CCED3}"/>
              </a:ext>
            </a:extLst>
          </p:cNvPr>
          <p:cNvSpPr>
            <a:spLocks noGrp="1"/>
          </p:cNvSpPr>
          <p:nvPr>
            <p:ph type="body" sz="quarter" idx="12"/>
          </p:nvPr>
        </p:nvSpPr>
        <p:spPr/>
        <p:txBody>
          <a:bodyPr lIns="0" tIns="0" rIns="0" bIns="0" anchor="t"/>
          <a:lstStyle/>
          <a:p>
            <a:pPr algn="l"/>
            <a:r>
              <a:rPr lang="fr-CA" dirty="0">
                <a:cs typeface="Arial"/>
              </a:rPr>
              <a:t>En assistant et consultant cette présentation, vous acceptez les modalités suivantes :</a:t>
            </a:r>
            <a:endParaRPr lang="fr-FR" dirty="0"/>
          </a:p>
          <a:p>
            <a:pPr marL="285750" indent="-285750" algn="l">
              <a:buFont typeface="Arial"/>
              <a:buChar char="•"/>
            </a:pPr>
            <a:r>
              <a:rPr lang="fr-CA" dirty="0">
                <a:cs typeface="Arial"/>
              </a:rPr>
              <a:t>Le contenu de ce webinaire est confidentiel et appartient à l’AQPP;</a:t>
            </a:r>
          </a:p>
          <a:p>
            <a:pPr marL="285750" indent="-285750" algn="l">
              <a:buFont typeface="Arial"/>
              <a:buChar char="•"/>
            </a:pPr>
            <a:r>
              <a:rPr lang="fr-CA" dirty="0">
                <a:cs typeface="Arial"/>
              </a:rPr>
              <a:t>Il est exclusivement réservé aux pharmaciens propriétaires et leur équipe qui ont assisté à la présentation du 19 octobre 2025;</a:t>
            </a:r>
          </a:p>
          <a:p>
            <a:pPr marL="285750" indent="-285750" algn="l">
              <a:buFont typeface="Arial"/>
              <a:buChar char="•"/>
            </a:pPr>
            <a:r>
              <a:rPr lang="fr-CA" dirty="0">
                <a:cs typeface="Arial"/>
              </a:rPr>
              <a:t>Il est conçu dans un objectif d’information;</a:t>
            </a:r>
          </a:p>
          <a:p>
            <a:pPr marL="285750" indent="-285750" algn="l">
              <a:buFont typeface="Arial"/>
              <a:buChar char="•"/>
            </a:pPr>
            <a:r>
              <a:rPr lang="fr-CA" dirty="0">
                <a:cs typeface="Arial"/>
              </a:rPr>
              <a:t>Le contenu présenté est valide en date du 19 octobre 2025;</a:t>
            </a:r>
          </a:p>
          <a:p>
            <a:pPr marL="285750" indent="-285750" algn="l">
              <a:buFont typeface="Arial"/>
              <a:buChar char="•"/>
            </a:pPr>
            <a:r>
              <a:rPr lang="fr-CA" dirty="0">
                <a:cs typeface="Arial"/>
              </a:rPr>
              <a:t>Ce contenu est protégé par le droit d’auteur. Tous les renseignements, informations, rapports et écrits, qui y apparaissent sont la propriété de l’AQPP et ne peuvent faire l’objet, par quelque moyen que ce soit, de reproduction, copie, publication, diffusion, distribution, transmission, vente ou utilisation sans le consentement exprès de l’AQPP;</a:t>
            </a:r>
          </a:p>
          <a:p>
            <a:pPr marL="285750" indent="-285750" algn="l">
              <a:buFont typeface="Arial"/>
              <a:buChar char="•"/>
            </a:pPr>
            <a:r>
              <a:rPr lang="fr-CA" dirty="0">
                <a:cs typeface="Arial"/>
              </a:rPr>
              <a:t>L’AQPP se réserve le droit d’intenter tous les recours à sa disposition en cas d’infraction à la présente mise en garde.</a:t>
            </a:r>
          </a:p>
          <a:p>
            <a:pPr marL="285750" indent="-285750">
              <a:buFont typeface="Arial"/>
              <a:buChar char="•"/>
            </a:pPr>
            <a:endParaRPr lang="fr-CA" dirty="0">
              <a:cs typeface="Arial"/>
            </a:endParaRPr>
          </a:p>
        </p:txBody>
      </p:sp>
    </p:spTree>
    <p:extLst>
      <p:ext uri="{BB962C8B-B14F-4D97-AF65-F5344CB8AC3E}">
        <p14:creationId xmlns:p14="http://schemas.microsoft.com/office/powerpoint/2010/main" val="2861637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CCDF127-AE44-0169-02FC-2A06AB6DB6E0}"/>
              </a:ext>
            </a:extLst>
          </p:cNvPr>
          <p:cNvSpPr>
            <a:spLocks noGrp="1"/>
          </p:cNvSpPr>
          <p:nvPr>
            <p:ph type="title"/>
            <p:custDataLst>
              <p:tags r:id="rId1"/>
            </p:custDataLst>
          </p:nvPr>
        </p:nvSpPr>
        <p:spPr/>
        <p:txBody>
          <a:bodyPr/>
          <a:lstStyle/>
          <a:p>
            <a:r>
              <a:rPr lang="fr-CA">
                <a:cs typeface="Arial"/>
              </a:rPr>
              <a:t>Prescrire pour les problèmes de santé courants </a:t>
            </a:r>
            <a:endParaRPr lang="fr-CA"/>
          </a:p>
        </p:txBody>
      </p:sp>
      <p:sp>
        <p:nvSpPr>
          <p:cNvPr id="3" name="Espace réservé du pied de page 2">
            <a:extLst>
              <a:ext uri="{FF2B5EF4-FFF2-40B4-BE49-F238E27FC236}">
                <a16:creationId xmlns:a16="http://schemas.microsoft.com/office/drawing/2014/main" id="{D71DFF20-9DA3-C04A-9889-749C4FFBA689}"/>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E82B8B83-5F2B-7042-815F-6D1C3E7093E2}"/>
              </a:ext>
            </a:extLst>
          </p:cNvPr>
          <p:cNvSpPr>
            <a:spLocks noGrp="1"/>
          </p:cNvSpPr>
          <p:nvPr>
            <p:ph type="sldNum" sz="quarter" idx="11"/>
            <p:custDataLst>
              <p:tags r:id="rId3"/>
            </p:custDataLst>
          </p:nvPr>
        </p:nvSpPr>
        <p:spPr/>
        <p:txBody>
          <a:bodyPr/>
          <a:lstStyle/>
          <a:p>
            <a:fld id="{91882AA3-08DC-0043-8CA8-8CA69DA2397E}" type="slidenum">
              <a:rPr lang="en-US"/>
              <a:pPr/>
              <a:t>20</a:t>
            </a:fld>
            <a:endParaRPr lang="en-US"/>
          </a:p>
        </p:txBody>
      </p:sp>
      <p:sp>
        <p:nvSpPr>
          <p:cNvPr id="6" name="Espace réservé du contenu 5">
            <a:extLst>
              <a:ext uri="{FF2B5EF4-FFF2-40B4-BE49-F238E27FC236}">
                <a16:creationId xmlns:a16="http://schemas.microsoft.com/office/drawing/2014/main" id="{3727E5EC-9670-BFD6-B21B-9DA3F2F9DA55}"/>
              </a:ext>
            </a:extLst>
          </p:cNvPr>
          <p:cNvSpPr>
            <a:spLocks noGrp="1"/>
          </p:cNvSpPr>
          <p:nvPr>
            <p:ph sz="quarter" idx="13"/>
            <p:custDataLst>
              <p:tags r:id="rId4"/>
            </p:custDataLst>
          </p:nvPr>
        </p:nvSpPr>
        <p:spPr>
          <a:xfrm>
            <a:off x="604343" y="1800225"/>
            <a:ext cx="7289271" cy="3958130"/>
          </a:xfrm>
        </p:spPr>
        <p:txBody>
          <a:bodyPr lIns="0" tIns="0" rIns="0" bIns="0" anchor="t"/>
          <a:lstStyle/>
          <a:p>
            <a:r>
              <a:rPr lang="fr-CA" b="1">
                <a:solidFill>
                  <a:schemeClr val="accent1"/>
                </a:solidFill>
                <a:cs typeface="Arial"/>
              </a:rPr>
              <a:t>Situation courante </a:t>
            </a:r>
          </a:p>
          <a:p>
            <a:r>
              <a:rPr lang="fr-CA">
                <a:cs typeface="Arial"/>
              </a:rPr>
              <a:t>Un patient voudrait </a:t>
            </a:r>
            <a:r>
              <a:rPr lang="fr-CA" b="1">
                <a:solidFill>
                  <a:schemeClr val="accent1"/>
                </a:solidFill>
                <a:cs typeface="Arial"/>
              </a:rPr>
              <a:t>reprendre un traitement </a:t>
            </a:r>
            <a:r>
              <a:rPr lang="fr-CA">
                <a:cs typeface="Arial"/>
              </a:rPr>
              <a:t>utilisé dans les </a:t>
            </a:r>
            <a:r>
              <a:rPr lang="fr-CA" b="1">
                <a:solidFill>
                  <a:schemeClr val="accent1"/>
                </a:solidFill>
                <a:cs typeface="Arial"/>
              </a:rPr>
              <a:t>cinq dernières années </a:t>
            </a:r>
            <a:r>
              <a:rPr lang="fr-CA">
                <a:cs typeface="Arial"/>
              </a:rPr>
              <a:t>pour l’une des conditions suivantes :</a:t>
            </a:r>
          </a:p>
          <a:p>
            <a:pPr>
              <a:lnSpc>
                <a:spcPct val="150000"/>
              </a:lnSpc>
            </a:pPr>
            <a:r>
              <a:rPr lang="fr-CA">
                <a:ea typeface="+mn-lt"/>
                <a:cs typeface="+mn-lt"/>
              </a:rPr>
              <a:t>acné mineure sans nodule ni pustule • aphtes buccaux • candidose cutanée • candidose orale secondaire à l’utilisation d’inhalateurs de corticostéroïdes • conjonctivite allergique • dermatite </a:t>
            </a:r>
            <a:r>
              <a:rPr lang="fr-CA" err="1">
                <a:ea typeface="+mn-lt"/>
                <a:cs typeface="+mn-lt"/>
              </a:rPr>
              <a:t>atopique</a:t>
            </a:r>
            <a:r>
              <a:rPr lang="fr-CA">
                <a:ea typeface="+mn-lt"/>
                <a:cs typeface="+mn-lt"/>
              </a:rPr>
              <a:t> nécessitant l’utilisation de corticostéroïdes n’excédant pas une puissance modérée • érythème fessier • herpès labial • infection urinaire chez la femme lorsque cette condition a fait l’objet d’au plus un traitement au cours des six derniers mois et d’au plus deux traitements au cours des 12 derniers mois • rhinite allergique • vaginite à levure.</a:t>
            </a:r>
            <a:endParaRPr lang="fr-CA"/>
          </a:p>
        </p:txBody>
      </p:sp>
      <p:sp>
        <p:nvSpPr>
          <p:cNvPr id="13" name="Phylactère : pensées 12">
            <a:extLst>
              <a:ext uri="{FF2B5EF4-FFF2-40B4-BE49-F238E27FC236}">
                <a16:creationId xmlns:a16="http://schemas.microsoft.com/office/drawing/2014/main" id="{2301D102-DE88-C133-D6C3-73BDD08626F7}"/>
              </a:ext>
            </a:extLst>
          </p:cNvPr>
          <p:cNvSpPr/>
          <p:nvPr>
            <p:custDataLst>
              <p:tags r:id="rId5"/>
            </p:custDataLst>
          </p:nvPr>
        </p:nvSpPr>
        <p:spPr>
          <a:xfrm>
            <a:off x="7893614" y="1800225"/>
            <a:ext cx="3803086" cy="3257550"/>
          </a:xfrm>
          <a:prstGeom prst="cloud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2400"/>
              <a:t>Pensez à quelle fréquence cette situation se présente.</a:t>
            </a:r>
          </a:p>
        </p:txBody>
      </p:sp>
    </p:spTree>
    <p:extLst>
      <p:ext uri="{BB962C8B-B14F-4D97-AF65-F5344CB8AC3E}">
        <p14:creationId xmlns:p14="http://schemas.microsoft.com/office/powerpoint/2010/main" val="39289742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7CD88-0C12-12BC-72D8-A44E1F528A7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7EA6808-FD3B-9F56-17D6-0362284F474E}"/>
              </a:ext>
            </a:extLst>
          </p:cNvPr>
          <p:cNvSpPr>
            <a:spLocks noGrp="1"/>
          </p:cNvSpPr>
          <p:nvPr>
            <p:ph type="title"/>
            <p:custDataLst>
              <p:tags r:id="rId1"/>
            </p:custDataLst>
          </p:nvPr>
        </p:nvSpPr>
        <p:spPr/>
        <p:txBody>
          <a:bodyPr/>
          <a:lstStyle/>
          <a:p>
            <a:r>
              <a:rPr lang="fr-CA">
                <a:cs typeface="Arial"/>
              </a:rPr>
              <a:t>Prescrire pour les problèmes de santé courants </a:t>
            </a:r>
            <a:endParaRPr lang="fr-CA"/>
          </a:p>
        </p:txBody>
      </p:sp>
      <p:sp>
        <p:nvSpPr>
          <p:cNvPr id="3" name="Espace réservé du pied de page 2">
            <a:extLst>
              <a:ext uri="{FF2B5EF4-FFF2-40B4-BE49-F238E27FC236}">
                <a16:creationId xmlns:a16="http://schemas.microsoft.com/office/drawing/2014/main" id="{994B9AA8-81C1-4E1E-5819-0A45148F3552}"/>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09651D2F-14D8-B86F-9D40-6D4152DDA252}"/>
              </a:ext>
            </a:extLst>
          </p:cNvPr>
          <p:cNvSpPr>
            <a:spLocks noGrp="1"/>
          </p:cNvSpPr>
          <p:nvPr>
            <p:ph type="sldNum" sz="quarter" idx="11"/>
            <p:custDataLst>
              <p:tags r:id="rId3"/>
            </p:custDataLst>
          </p:nvPr>
        </p:nvSpPr>
        <p:spPr/>
        <p:txBody>
          <a:bodyPr/>
          <a:lstStyle/>
          <a:p>
            <a:fld id="{91882AA3-08DC-0043-8CA8-8CA69DA2397E}" type="slidenum">
              <a:rPr lang="en-US"/>
              <a:pPr/>
              <a:t>21</a:t>
            </a:fld>
            <a:endParaRPr lang="en-US"/>
          </a:p>
        </p:txBody>
      </p:sp>
      <p:pic>
        <p:nvPicPr>
          <p:cNvPr id="7" name="Graphique 6" descr="Homme tenant un panneau">
            <a:extLst>
              <a:ext uri="{FF2B5EF4-FFF2-40B4-BE49-F238E27FC236}">
                <a16:creationId xmlns:a16="http://schemas.microsoft.com/office/drawing/2014/main" id="{1885E47C-6A3D-EE7E-6AAD-7B3732AAFDD1}"/>
              </a:ext>
            </a:extLst>
          </p:cNvPr>
          <p:cNvPicPr>
            <a:picLocks noChangeAspect="1"/>
          </p:cNvPicPr>
          <p:nvPr>
            <p:custDataLst>
              <p:tags r:id="rId4"/>
            </p:custDataLst>
          </p:nvPr>
        </p:nvPicPr>
        <p:blipFill>
          <a:blip r:embed="rId10">
            <a:extLst>
              <a:ext uri="{96DAC541-7B7A-43D3-8B79-37D633B846F1}">
                <asvg:svgBlip xmlns:asvg="http://schemas.microsoft.com/office/drawing/2016/SVG/main" r:embed="rId11"/>
              </a:ext>
            </a:extLst>
          </a:blip>
          <a:stretch>
            <a:fillRect/>
          </a:stretch>
        </p:blipFill>
        <p:spPr>
          <a:xfrm>
            <a:off x="8107667" y="425951"/>
            <a:ext cx="2968015" cy="6198686"/>
          </a:xfrm>
          <a:prstGeom prst="rect">
            <a:avLst/>
          </a:prstGeom>
        </p:spPr>
      </p:pic>
      <p:sp>
        <p:nvSpPr>
          <p:cNvPr id="8" name="ZoneTexte 7">
            <a:extLst>
              <a:ext uri="{FF2B5EF4-FFF2-40B4-BE49-F238E27FC236}">
                <a16:creationId xmlns:a16="http://schemas.microsoft.com/office/drawing/2014/main" id="{722490CD-AC8F-1C62-4B6C-7265168B1AC5}"/>
              </a:ext>
            </a:extLst>
          </p:cNvPr>
          <p:cNvSpPr txBox="1"/>
          <p:nvPr>
            <p:custDataLst>
              <p:tags r:id="rId5"/>
            </p:custDataLst>
          </p:nvPr>
        </p:nvSpPr>
        <p:spPr>
          <a:xfrm>
            <a:off x="8419384" y="2200824"/>
            <a:ext cx="2372264" cy="1200329"/>
          </a:xfrm>
          <a:prstGeom prst="rect">
            <a:avLst/>
          </a:prstGeom>
          <a:noFill/>
        </p:spPr>
        <p:txBody>
          <a:bodyPr wrap="square" rtlCol="0">
            <a:spAutoFit/>
          </a:bodyPr>
          <a:lstStyle/>
          <a:p>
            <a:r>
              <a:rPr lang="fr-CA">
                <a:solidFill>
                  <a:schemeClr val="tx1"/>
                </a:solidFill>
              </a:rPr>
              <a:t>Toute l’équipe devrait penser à la règle 30 et l’appliquer lorsque la situation s’y prête!</a:t>
            </a:r>
          </a:p>
        </p:txBody>
      </p:sp>
      <p:sp>
        <p:nvSpPr>
          <p:cNvPr id="12" name="ZoneTexte 11">
            <a:extLst>
              <a:ext uri="{FF2B5EF4-FFF2-40B4-BE49-F238E27FC236}">
                <a16:creationId xmlns:a16="http://schemas.microsoft.com/office/drawing/2014/main" id="{7029B5B4-590E-6C59-ECEB-7AB0F5DFD023}"/>
              </a:ext>
            </a:extLst>
          </p:cNvPr>
          <p:cNvSpPr txBox="1"/>
          <p:nvPr>
            <p:custDataLst>
              <p:tags r:id="rId6"/>
            </p:custDataLst>
          </p:nvPr>
        </p:nvSpPr>
        <p:spPr>
          <a:xfrm>
            <a:off x="609599" y="1729518"/>
            <a:ext cx="7214034" cy="3693319"/>
          </a:xfrm>
          <a:prstGeom prst="rect">
            <a:avLst/>
          </a:prstGeom>
          <a:noFill/>
        </p:spPr>
        <p:txBody>
          <a:bodyPr wrap="square">
            <a:spAutoFit/>
          </a:bodyPr>
          <a:lstStyle/>
          <a:p>
            <a:r>
              <a:rPr lang="fr-CA" b="1">
                <a:solidFill>
                  <a:schemeClr val="accent1"/>
                </a:solidFill>
                <a:cs typeface="Arial"/>
              </a:rPr>
              <a:t>Situation courante (suite)</a:t>
            </a:r>
          </a:p>
          <a:p>
            <a:r>
              <a:rPr lang="fr-CA">
                <a:solidFill>
                  <a:schemeClr val="tx1"/>
                </a:solidFill>
                <a:cs typeface="Arial"/>
              </a:rPr>
              <a:t>Un patient voudrait reprendre un traitement utilisé dans les cinq dernières années pour une des conditions citées sur la dernière diapositive.</a:t>
            </a:r>
          </a:p>
          <a:p>
            <a:endParaRPr lang="fr-CA">
              <a:solidFill>
                <a:schemeClr val="tx1"/>
              </a:solidFill>
              <a:cs typeface="Arial"/>
            </a:endParaRPr>
          </a:p>
          <a:p>
            <a:r>
              <a:rPr lang="fr-CA">
                <a:solidFill>
                  <a:schemeClr val="tx1"/>
                </a:solidFill>
                <a:cs typeface="Arial"/>
              </a:rPr>
              <a:t>Comment votre équipe résoudra la situation?</a:t>
            </a:r>
          </a:p>
          <a:p>
            <a:pPr marL="285750" indent="-285750">
              <a:buFont typeface="Arial" panose="020B0604020202020204" pitchFamily="34" charset="0"/>
              <a:buChar char="•"/>
            </a:pPr>
            <a:r>
              <a:rPr lang="fr-CA">
                <a:solidFill>
                  <a:schemeClr val="tx1"/>
                </a:solidFill>
              </a:rPr>
              <a:t>Demande de </a:t>
            </a:r>
            <a:r>
              <a:rPr lang="fr-CA" err="1">
                <a:solidFill>
                  <a:schemeClr val="tx1"/>
                </a:solidFill>
              </a:rPr>
              <a:t>represcription</a:t>
            </a:r>
            <a:r>
              <a:rPr lang="fr-CA">
                <a:solidFill>
                  <a:schemeClr val="tx1"/>
                </a:solidFill>
              </a:rPr>
              <a:t> par fax</a:t>
            </a:r>
          </a:p>
          <a:p>
            <a:pPr marL="285750" indent="-285750">
              <a:buFont typeface="Arial" panose="020B0604020202020204" pitchFamily="34" charset="0"/>
              <a:buChar char="•"/>
            </a:pPr>
            <a:r>
              <a:rPr lang="fr-CA">
                <a:solidFill>
                  <a:schemeClr val="tx1"/>
                </a:solidFill>
                <a:cs typeface="Arial"/>
              </a:rPr>
              <a:t>Prolongation </a:t>
            </a:r>
          </a:p>
          <a:p>
            <a:pPr marL="285750" indent="-285750">
              <a:buFont typeface="Arial" panose="020B0604020202020204" pitchFamily="34" charset="0"/>
              <a:buChar char="•"/>
            </a:pPr>
            <a:r>
              <a:rPr lang="fr-CA">
                <a:solidFill>
                  <a:schemeClr val="tx1"/>
                </a:solidFill>
                <a:cs typeface="Arial"/>
              </a:rPr>
              <a:t>Prescription d’un médicament avec la règle 30</a:t>
            </a:r>
          </a:p>
          <a:p>
            <a:endParaRPr lang="fr-CA">
              <a:solidFill>
                <a:schemeClr val="tx1"/>
              </a:solidFill>
              <a:cs typeface="Arial"/>
            </a:endParaRPr>
          </a:p>
          <a:p>
            <a:r>
              <a:rPr lang="fr-CA">
                <a:solidFill>
                  <a:schemeClr val="tx1"/>
                </a:solidFill>
                <a:cs typeface="Arial"/>
              </a:rPr>
              <a:t>Chaque situation a ses particularités donc la démarche doit être adaptée, mais nous avons tous avantage à utiliser notre autonomie professionnelle à son maximum.</a:t>
            </a:r>
          </a:p>
        </p:txBody>
      </p:sp>
      <p:sp>
        <p:nvSpPr>
          <p:cNvPr id="14" name="ZoneTexte 13">
            <a:extLst>
              <a:ext uri="{FF2B5EF4-FFF2-40B4-BE49-F238E27FC236}">
                <a16:creationId xmlns:a16="http://schemas.microsoft.com/office/drawing/2014/main" id="{3D49C841-3E96-1A9B-4A67-0EE51175D85B}"/>
              </a:ext>
            </a:extLst>
          </p:cNvPr>
          <p:cNvSpPr txBox="1"/>
          <p:nvPr>
            <p:custDataLst>
              <p:tags r:id="rId7"/>
            </p:custDataLst>
          </p:nvPr>
        </p:nvSpPr>
        <p:spPr>
          <a:xfrm>
            <a:off x="5532932" y="3073820"/>
            <a:ext cx="2087068" cy="1200329"/>
          </a:xfrm>
          <a:prstGeom prst="rect">
            <a:avLst/>
          </a:prstGeom>
          <a:noFill/>
        </p:spPr>
        <p:txBody>
          <a:bodyPr wrap="square">
            <a:spAutoFit/>
          </a:bodyPr>
          <a:lstStyle/>
          <a:p>
            <a:pPr algn="r"/>
            <a:r>
              <a:rPr lang="fr-CA">
                <a:solidFill>
                  <a:schemeClr val="accent1"/>
                </a:solidFill>
                <a:cs typeface="Arial"/>
              </a:rPr>
              <a:t>Rappel des tarifs : </a:t>
            </a:r>
          </a:p>
          <a:p>
            <a:pPr algn="r"/>
            <a:r>
              <a:rPr lang="fr-CA">
                <a:solidFill>
                  <a:schemeClr val="accent1"/>
                </a:solidFill>
                <a:cs typeface="Arial"/>
              </a:rPr>
              <a:t>       0 $ </a:t>
            </a:r>
          </a:p>
          <a:p>
            <a:pPr algn="r"/>
            <a:r>
              <a:rPr lang="fr-CA">
                <a:solidFill>
                  <a:schemeClr val="accent1"/>
                </a:solidFill>
                <a:cs typeface="Arial"/>
              </a:rPr>
              <a:t>15,53 $ </a:t>
            </a:r>
          </a:p>
          <a:p>
            <a:pPr algn="r"/>
            <a:r>
              <a:rPr lang="fr-CA">
                <a:solidFill>
                  <a:schemeClr val="accent1"/>
                </a:solidFill>
                <a:cs typeface="Arial"/>
              </a:rPr>
              <a:t>19,89 $</a:t>
            </a:r>
          </a:p>
        </p:txBody>
      </p:sp>
    </p:spTree>
    <p:extLst>
      <p:ext uri="{BB962C8B-B14F-4D97-AF65-F5344CB8AC3E}">
        <p14:creationId xmlns:p14="http://schemas.microsoft.com/office/powerpoint/2010/main" val="14669178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9578A-2065-9BB2-054C-251180CDB580}"/>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BA1D29DF-EF68-9310-D188-CA7FE3AA4B2D}"/>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5CD78CFF-EE42-FF14-067D-96F77E04967B}"/>
              </a:ext>
            </a:extLst>
          </p:cNvPr>
          <p:cNvSpPr>
            <a:spLocks noGrp="1"/>
          </p:cNvSpPr>
          <p:nvPr>
            <p:ph type="sldNum" sz="quarter" idx="11"/>
            <p:custDataLst>
              <p:tags r:id="rId2"/>
            </p:custDataLst>
          </p:nvPr>
        </p:nvSpPr>
        <p:spPr/>
        <p:txBody>
          <a:bodyPr/>
          <a:lstStyle/>
          <a:p>
            <a:fld id="{91882AA3-08DC-0043-8CA8-8CA69DA2397E}" type="slidenum">
              <a:rPr lang="en-US" smtClean="0"/>
              <a:pPr/>
              <a:t>22</a:t>
            </a:fld>
            <a:endParaRPr lang="en-US"/>
          </a:p>
        </p:txBody>
      </p:sp>
      <p:sp>
        <p:nvSpPr>
          <p:cNvPr id="5" name="Espace réservé du texte 4">
            <a:extLst>
              <a:ext uri="{FF2B5EF4-FFF2-40B4-BE49-F238E27FC236}">
                <a16:creationId xmlns:a16="http://schemas.microsoft.com/office/drawing/2014/main" id="{6FC96345-0950-E296-4ACE-A7873820FD11}"/>
              </a:ext>
            </a:extLst>
          </p:cNvPr>
          <p:cNvSpPr>
            <a:spLocks noGrp="1"/>
          </p:cNvSpPr>
          <p:nvPr>
            <p:ph type="body" sz="quarter" idx="12"/>
            <p:custDataLst>
              <p:tags r:id="rId3"/>
            </p:custDataLst>
          </p:nvPr>
        </p:nvSpPr>
        <p:spPr>
          <a:xfrm>
            <a:off x="191344" y="364190"/>
            <a:ext cx="6840760" cy="544530"/>
          </a:xfrm>
        </p:spPr>
        <p:txBody>
          <a:bodyPr/>
          <a:lstStyle/>
          <a:p>
            <a:r>
              <a:rPr lang="fr-CA"/>
              <a:t>Patient ayant une condition chronique diagnostiquée</a:t>
            </a:r>
          </a:p>
        </p:txBody>
      </p:sp>
      <p:pic>
        <p:nvPicPr>
          <p:cNvPr id="2" name="Image 1">
            <a:extLst>
              <a:ext uri="{FF2B5EF4-FFF2-40B4-BE49-F238E27FC236}">
                <a16:creationId xmlns:a16="http://schemas.microsoft.com/office/drawing/2014/main" id="{063C9E9A-FE1E-0CBF-7E5D-BAA18276427A}"/>
              </a:ext>
            </a:extLst>
          </p:cNvPr>
          <p:cNvPicPr>
            <a:picLocks noChangeAspect="1"/>
          </p:cNvPicPr>
          <p:nvPr/>
        </p:nvPicPr>
        <p:blipFill>
          <a:blip r:embed="rId6"/>
          <a:stretch>
            <a:fillRect/>
          </a:stretch>
        </p:blipFill>
        <p:spPr>
          <a:xfrm>
            <a:off x="1150565" y="732024"/>
            <a:ext cx="6143625" cy="5895975"/>
          </a:xfrm>
          <a:prstGeom prst="rect">
            <a:avLst/>
          </a:prstGeom>
        </p:spPr>
      </p:pic>
      <p:sp>
        <p:nvSpPr>
          <p:cNvPr id="8" name="Légende : encadrée 7">
            <a:extLst>
              <a:ext uri="{FF2B5EF4-FFF2-40B4-BE49-F238E27FC236}">
                <a16:creationId xmlns:a16="http://schemas.microsoft.com/office/drawing/2014/main" id="{82778552-655A-45F3-F87E-BBA3D61B0BA1}"/>
              </a:ext>
            </a:extLst>
          </p:cNvPr>
          <p:cNvSpPr/>
          <p:nvPr/>
        </p:nvSpPr>
        <p:spPr>
          <a:xfrm>
            <a:off x="7835155" y="2759348"/>
            <a:ext cx="3853543" cy="1841326"/>
          </a:xfrm>
          <a:prstGeom prst="borderCallout1">
            <a:avLst>
              <a:gd name="adj1" fmla="val -9823"/>
              <a:gd name="adj2" fmla="val 54727"/>
              <a:gd name="adj3" fmla="val -59609"/>
              <a:gd name="adj4" fmla="val 35130"/>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Qu’en est-il du </a:t>
            </a:r>
            <a:r>
              <a:rPr lang="fr-CA" dirty="0" err="1">
                <a:solidFill>
                  <a:schemeClr val="tx1"/>
                </a:solidFill>
              </a:rPr>
              <a:t>Kadian</a:t>
            </a:r>
            <a:r>
              <a:rPr lang="fr-CA" dirty="0">
                <a:solidFill>
                  <a:schemeClr val="tx1"/>
                </a:solidFill>
              </a:rPr>
              <a:t>®?</a:t>
            </a:r>
          </a:p>
          <a:p>
            <a:pPr algn="ctr"/>
            <a:r>
              <a:rPr lang="fr-CA" sz="1800" dirty="0">
                <a:solidFill>
                  <a:schemeClr val="tx1"/>
                </a:solidFill>
                <a:latin typeface="+mn-lt"/>
                <a:ea typeface="+mn-ea"/>
                <a:cs typeface="+mn-cs"/>
              </a:rPr>
              <a:t>Si un médicament est prescrit pour un TUO, mais n’a pas l’indication reconnue, il faut alors obtenir une considération spéciale de la RAMQ.</a:t>
            </a:r>
            <a:endParaRPr lang="fr-CA" dirty="0">
              <a:solidFill>
                <a:schemeClr val="tx1"/>
              </a:solidFill>
            </a:endParaRPr>
          </a:p>
        </p:txBody>
      </p:sp>
      <p:pic>
        <p:nvPicPr>
          <p:cNvPr id="2049" name="Picture 1">
            <a:extLst>
              <a:ext uri="{FF2B5EF4-FFF2-40B4-BE49-F238E27FC236}">
                <a16:creationId xmlns:a16="http://schemas.microsoft.com/office/drawing/2014/main" id="{EB102B3B-A55E-11F7-BCF6-8794F729925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55556" y="744550"/>
            <a:ext cx="2248269" cy="1134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5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1EA11-5ADD-ACC7-F6A3-F1194256B306}"/>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B6155465-4F42-5913-E617-BF1DED84CFC2}"/>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8B9C496A-07D7-EB68-0133-5B4AC3E59352}"/>
              </a:ext>
            </a:extLst>
          </p:cNvPr>
          <p:cNvSpPr>
            <a:spLocks noGrp="1"/>
          </p:cNvSpPr>
          <p:nvPr>
            <p:ph type="sldNum" sz="quarter" idx="11"/>
            <p:custDataLst>
              <p:tags r:id="rId2"/>
            </p:custDataLst>
          </p:nvPr>
        </p:nvSpPr>
        <p:spPr/>
        <p:txBody>
          <a:bodyPr/>
          <a:lstStyle/>
          <a:p>
            <a:fld id="{91882AA3-08DC-0043-8CA8-8CA69DA2397E}" type="slidenum">
              <a:rPr lang="en-US" smtClean="0"/>
              <a:pPr/>
              <a:t>23</a:t>
            </a:fld>
            <a:endParaRPr lang="en-US"/>
          </a:p>
        </p:txBody>
      </p:sp>
      <p:sp>
        <p:nvSpPr>
          <p:cNvPr id="2" name="Titre 1">
            <a:extLst>
              <a:ext uri="{FF2B5EF4-FFF2-40B4-BE49-F238E27FC236}">
                <a16:creationId xmlns:a16="http://schemas.microsoft.com/office/drawing/2014/main" id="{BCEA44FA-6692-17F5-DA38-3D73C31973A4}"/>
              </a:ext>
            </a:extLst>
          </p:cNvPr>
          <p:cNvSpPr>
            <a:spLocks noGrp="1"/>
          </p:cNvSpPr>
          <p:nvPr>
            <p:ph type="title"/>
            <p:custDataLst>
              <p:tags r:id="rId3"/>
            </p:custDataLst>
          </p:nvPr>
        </p:nvSpPr>
        <p:spPr>
          <a:xfrm>
            <a:off x="609600" y="434789"/>
            <a:ext cx="9601200" cy="784412"/>
          </a:xfrm>
        </p:spPr>
        <p:txBody>
          <a:bodyPr/>
          <a:lstStyle/>
          <a:p>
            <a:r>
              <a:rPr lang="fr-CA"/>
              <a:t>Traitement du trouble d’utilisation des opioïdes (TUO)</a:t>
            </a:r>
            <a:br>
              <a:rPr lang="fr-CA"/>
            </a:br>
            <a:endParaRPr lang="fr-CA"/>
          </a:p>
        </p:txBody>
      </p:sp>
      <p:sp>
        <p:nvSpPr>
          <p:cNvPr id="8" name="Content Placeholder 2">
            <a:extLst>
              <a:ext uri="{FF2B5EF4-FFF2-40B4-BE49-F238E27FC236}">
                <a16:creationId xmlns:a16="http://schemas.microsoft.com/office/drawing/2014/main" id="{F445C524-4D2B-270F-DF38-DB083023B021}"/>
              </a:ext>
            </a:extLst>
          </p:cNvPr>
          <p:cNvSpPr txBox="1">
            <a:spLocks/>
          </p:cNvSpPr>
          <p:nvPr>
            <p:custDataLst>
              <p:tags r:id="rId4"/>
            </p:custDataLst>
          </p:nvPr>
        </p:nvSpPr>
        <p:spPr>
          <a:xfrm>
            <a:off x="4727848" y="1700808"/>
            <a:ext cx="6727550" cy="1229071"/>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cap="none">
                <a:latin typeface="Arial"/>
                <a:cs typeface="Arial"/>
              </a:rPr>
              <a:t>Cas fictif inspiré d’un cas réel</a:t>
            </a:r>
          </a:p>
          <a:p>
            <a:pPr algn="l"/>
            <a:r>
              <a:rPr lang="fr-CA" sz="2000" b="0" cap="none">
                <a:solidFill>
                  <a:schemeClr val="tx1"/>
                </a:solidFill>
                <a:latin typeface="Arial"/>
                <a:cs typeface="Arial"/>
              </a:rPr>
              <a:t>Vous servez ce traitement à votre patiente, à tous les lundis sans exception depuis un an. Au moment de vous remettre sa nouvelle ordonnance, elle indique qu’elle souhaite vous parler en privé.</a:t>
            </a:r>
            <a:endParaRPr lang="fr-CA" sz="2000" b="0" cap="none">
              <a:solidFill>
                <a:srgbClr val="454547"/>
              </a:solidFill>
              <a:cs typeface="Arial" panose="020B0604020202020204"/>
            </a:endParaRPr>
          </a:p>
        </p:txBody>
      </p:sp>
      <p:sp>
        <p:nvSpPr>
          <p:cNvPr id="10" name="ZoneTexte 9">
            <a:extLst>
              <a:ext uri="{FF2B5EF4-FFF2-40B4-BE49-F238E27FC236}">
                <a16:creationId xmlns:a16="http://schemas.microsoft.com/office/drawing/2014/main" id="{89D84A93-3A85-5DB3-945B-4420F4F68278}"/>
              </a:ext>
            </a:extLst>
          </p:cNvPr>
          <p:cNvSpPr txBox="1"/>
          <p:nvPr>
            <p:custDataLst>
              <p:tags r:id="rId5"/>
            </p:custDataLst>
          </p:nvPr>
        </p:nvSpPr>
        <p:spPr>
          <a:xfrm>
            <a:off x="479376" y="1700808"/>
            <a:ext cx="3456384" cy="2031325"/>
          </a:xfrm>
          <a:prstGeom prst="rect">
            <a:avLst/>
          </a:prstGeom>
          <a:noFill/>
          <a:ln>
            <a:solidFill>
              <a:schemeClr val="tx1"/>
            </a:solidFill>
          </a:ln>
        </p:spPr>
        <p:txBody>
          <a:bodyPr wrap="square" rtlCol="0">
            <a:spAutoFit/>
          </a:bodyPr>
          <a:lstStyle/>
          <a:p>
            <a:r>
              <a:rPr lang="fr-CA"/>
              <a:t>Mme Dolores</a:t>
            </a:r>
          </a:p>
          <a:p>
            <a:endParaRPr lang="fr-CA"/>
          </a:p>
          <a:p>
            <a:r>
              <a:rPr lang="fr-CA"/>
              <a:t>Hydromorphone 8 mg PO TID</a:t>
            </a:r>
          </a:p>
          <a:p>
            <a:r>
              <a:rPr lang="fr-CA"/>
              <a:t>#273 </a:t>
            </a:r>
            <a:r>
              <a:rPr lang="fr-CA" err="1"/>
              <a:t>co</a:t>
            </a:r>
            <a:r>
              <a:rPr lang="fr-CA"/>
              <a:t>, #21 </a:t>
            </a:r>
            <a:r>
              <a:rPr lang="fr-CA" err="1"/>
              <a:t>co</a:t>
            </a:r>
            <a:r>
              <a:rPr lang="fr-CA"/>
              <a:t> à la fois</a:t>
            </a:r>
          </a:p>
          <a:p>
            <a:endParaRPr lang="fr-CA"/>
          </a:p>
          <a:p>
            <a:r>
              <a:rPr lang="fr-CA"/>
              <a:t>		Dr Pain</a:t>
            </a:r>
          </a:p>
          <a:p>
            <a:endParaRPr lang="fr-CA"/>
          </a:p>
        </p:txBody>
      </p:sp>
      <p:pic>
        <p:nvPicPr>
          <p:cNvPr id="13" name="Image 12" descr="Un professionnel de la santé avec un patient">
            <a:extLst>
              <a:ext uri="{FF2B5EF4-FFF2-40B4-BE49-F238E27FC236}">
                <a16:creationId xmlns:a16="http://schemas.microsoft.com/office/drawing/2014/main" id="{18BBDC5A-8ACE-807A-E7A7-ABBA04602BF2}"/>
              </a:ext>
            </a:extLst>
          </p:cNvPr>
          <p:cNvPicPr>
            <a:picLocks noChangeAspect="1"/>
          </p:cNvPicPr>
          <p:nvPr>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7752184" y="3975720"/>
            <a:ext cx="3523320" cy="2348880"/>
          </a:xfrm>
          <a:prstGeom prst="rect">
            <a:avLst/>
          </a:prstGeom>
        </p:spPr>
      </p:pic>
      <p:sp>
        <p:nvSpPr>
          <p:cNvPr id="14" name="Bulle narrative : ronde 13">
            <a:extLst>
              <a:ext uri="{FF2B5EF4-FFF2-40B4-BE49-F238E27FC236}">
                <a16:creationId xmlns:a16="http://schemas.microsoft.com/office/drawing/2014/main" id="{627C7068-AAB6-A121-BB3B-900C2B535797}"/>
              </a:ext>
            </a:extLst>
          </p:cNvPr>
          <p:cNvSpPr/>
          <p:nvPr>
            <p:custDataLst>
              <p:tags r:id="rId7"/>
            </p:custDataLst>
          </p:nvPr>
        </p:nvSpPr>
        <p:spPr>
          <a:xfrm>
            <a:off x="44922" y="3568081"/>
            <a:ext cx="8274024" cy="3005012"/>
          </a:xfrm>
          <a:prstGeom prst="wedgeEllipseCallout">
            <a:avLst>
              <a:gd name="adj1" fmla="val 54341"/>
              <a:gd name="adj2" fmla="val 32542"/>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a:solidFill>
                  <a:schemeClr val="tx1"/>
                </a:solidFill>
                <a:cs typeface="Arial"/>
              </a:rPr>
              <a:t>« Mon traitement ne fait plus effet comme avant.</a:t>
            </a:r>
          </a:p>
          <a:p>
            <a:pPr algn="ctr"/>
            <a:r>
              <a:rPr lang="fr-CA">
                <a:solidFill>
                  <a:schemeClr val="tx1"/>
                </a:solidFill>
                <a:cs typeface="Arial"/>
              </a:rPr>
              <a:t> </a:t>
            </a:r>
          </a:p>
          <a:p>
            <a:pPr algn="ctr"/>
            <a:r>
              <a:rPr lang="fr-CA">
                <a:solidFill>
                  <a:schemeClr val="tx1"/>
                </a:solidFill>
                <a:cs typeface="Arial"/>
              </a:rPr>
              <a:t>Mon médecin refuse d’augmenter ma dose d’hydromorphone. Je n’ai pas osé lui dire que j’achète des comprimés sur le marché noir depuis deux mois. </a:t>
            </a:r>
          </a:p>
          <a:p>
            <a:pPr algn="ctr"/>
            <a:endParaRPr lang="fr-CA">
              <a:solidFill>
                <a:schemeClr val="tx1"/>
              </a:solidFill>
              <a:cs typeface="Arial"/>
            </a:endParaRPr>
          </a:p>
          <a:p>
            <a:pPr algn="ctr"/>
            <a:r>
              <a:rPr lang="fr-CA">
                <a:solidFill>
                  <a:schemeClr val="tx1"/>
                </a:solidFill>
                <a:cs typeface="Arial"/>
              </a:rPr>
              <a:t>J’ai perdu le contrôle sur mon utilisation des médicaments et je ne sais pas quoi faire. »</a:t>
            </a:r>
            <a:endParaRPr lang="fr-CA"/>
          </a:p>
        </p:txBody>
      </p:sp>
    </p:spTree>
    <p:extLst>
      <p:ext uri="{BB962C8B-B14F-4D97-AF65-F5344CB8AC3E}">
        <p14:creationId xmlns:p14="http://schemas.microsoft.com/office/powerpoint/2010/main" val="26455279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D7AEA-EFA9-4755-55B3-2D1654889BCD}"/>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A30A8491-80B9-460E-6D43-1EDB8D5F5921}"/>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B443E442-27F8-74A4-0B88-F35425C04938}"/>
              </a:ext>
            </a:extLst>
          </p:cNvPr>
          <p:cNvSpPr>
            <a:spLocks noGrp="1"/>
          </p:cNvSpPr>
          <p:nvPr>
            <p:ph type="sldNum" sz="quarter" idx="11"/>
            <p:custDataLst>
              <p:tags r:id="rId2"/>
            </p:custDataLst>
          </p:nvPr>
        </p:nvSpPr>
        <p:spPr/>
        <p:txBody>
          <a:bodyPr/>
          <a:lstStyle/>
          <a:p>
            <a:fld id="{91882AA3-08DC-0043-8CA8-8CA69DA2397E}" type="slidenum">
              <a:rPr lang="en-US" smtClean="0"/>
              <a:pPr/>
              <a:t>24</a:t>
            </a:fld>
            <a:endParaRPr lang="en-US"/>
          </a:p>
        </p:txBody>
      </p:sp>
      <p:sp>
        <p:nvSpPr>
          <p:cNvPr id="2" name="Titre 1">
            <a:extLst>
              <a:ext uri="{FF2B5EF4-FFF2-40B4-BE49-F238E27FC236}">
                <a16:creationId xmlns:a16="http://schemas.microsoft.com/office/drawing/2014/main" id="{81071C9B-99C1-E4FB-6811-540A3EB366A6}"/>
              </a:ext>
            </a:extLst>
          </p:cNvPr>
          <p:cNvSpPr>
            <a:spLocks noGrp="1"/>
          </p:cNvSpPr>
          <p:nvPr>
            <p:ph type="title"/>
            <p:custDataLst>
              <p:tags r:id="rId3"/>
            </p:custDataLst>
          </p:nvPr>
        </p:nvSpPr>
        <p:spPr>
          <a:xfrm>
            <a:off x="609600" y="434789"/>
            <a:ext cx="9601200" cy="784412"/>
          </a:xfrm>
        </p:spPr>
        <p:txBody>
          <a:bodyPr/>
          <a:lstStyle/>
          <a:p>
            <a:r>
              <a:rPr lang="fr-CA"/>
              <a:t>Traitement du trouble d’utilisation des opioïdes (TUO)</a:t>
            </a:r>
            <a:br>
              <a:rPr lang="fr-CA"/>
            </a:br>
            <a:endParaRPr lang="fr-CA"/>
          </a:p>
        </p:txBody>
      </p:sp>
      <p:sp>
        <p:nvSpPr>
          <p:cNvPr id="8" name="Content Placeholder 2">
            <a:extLst>
              <a:ext uri="{FF2B5EF4-FFF2-40B4-BE49-F238E27FC236}">
                <a16:creationId xmlns:a16="http://schemas.microsoft.com/office/drawing/2014/main" id="{9E41D92B-8830-2FD1-2680-5DEFCE78D452}"/>
              </a:ext>
            </a:extLst>
          </p:cNvPr>
          <p:cNvSpPr txBox="1">
            <a:spLocks/>
          </p:cNvSpPr>
          <p:nvPr>
            <p:custDataLst>
              <p:tags r:id="rId4"/>
            </p:custDataLst>
          </p:nvPr>
        </p:nvSpPr>
        <p:spPr>
          <a:xfrm>
            <a:off x="4717314" y="1600346"/>
            <a:ext cx="6727550" cy="2232248"/>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cap="none">
                <a:latin typeface="Arial"/>
                <a:cs typeface="Arial"/>
              </a:rPr>
              <a:t>Suite du cas </a:t>
            </a:r>
          </a:p>
          <a:p>
            <a:pPr algn="l"/>
            <a:r>
              <a:rPr lang="fr-CA" sz="2000" b="0" cap="none">
                <a:solidFill>
                  <a:schemeClr val="tx1"/>
                </a:solidFill>
                <a:latin typeface="Arial"/>
                <a:cs typeface="Arial"/>
              </a:rPr>
              <a:t>Vous n’êtes pas très familier(ère) avec le traitement du TUO, mais vous reconnaissez la dangerosité de la situation. À la fin de la consultation, la patiente repart avec sa trousse de naloxone et l’intention de reparler au médecin pour lui expliquer la véritable ampleur de sa situation.</a:t>
            </a:r>
            <a:endParaRPr lang="fr-CA" sz="2000" b="0" cap="none">
              <a:solidFill>
                <a:schemeClr val="tx1"/>
              </a:solidFill>
              <a:cs typeface="Arial" panose="020B0604020202020204"/>
            </a:endParaRPr>
          </a:p>
        </p:txBody>
      </p:sp>
      <p:sp>
        <p:nvSpPr>
          <p:cNvPr id="10" name="ZoneTexte 9">
            <a:extLst>
              <a:ext uri="{FF2B5EF4-FFF2-40B4-BE49-F238E27FC236}">
                <a16:creationId xmlns:a16="http://schemas.microsoft.com/office/drawing/2014/main" id="{792EF227-0A3E-9139-EDB4-007029C5ACFA}"/>
              </a:ext>
            </a:extLst>
          </p:cNvPr>
          <p:cNvSpPr txBox="1"/>
          <p:nvPr>
            <p:custDataLst>
              <p:tags r:id="rId5"/>
            </p:custDataLst>
          </p:nvPr>
        </p:nvSpPr>
        <p:spPr>
          <a:xfrm>
            <a:off x="479376" y="1700808"/>
            <a:ext cx="3456384" cy="2308324"/>
          </a:xfrm>
          <a:prstGeom prst="rect">
            <a:avLst/>
          </a:prstGeom>
          <a:noFill/>
          <a:ln>
            <a:solidFill>
              <a:schemeClr val="tx1"/>
            </a:solidFill>
          </a:ln>
        </p:spPr>
        <p:txBody>
          <a:bodyPr wrap="square" rtlCol="0">
            <a:spAutoFit/>
          </a:bodyPr>
          <a:lstStyle/>
          <a:p>
            <a:r>
              <a:rPr lang="fr-CA"/>
              <a:t>Mme Dolores</a:t>
            </a:r>
          </a:p>
          <a:p>
            <a:endParaRPr lang="fr-CA"/>
          </a:p>
          <a:p>
            <a:r>
              <a:rPr lang="fr-CA"/>
              <a:t>Naloxone intranasale 4 mg si signe de surdose. Répéter au besoin. Ren. : 1 an.</a:t>
            </a:r>
          </a:p>
          <a:p>
            <a:endParaRPr lang="fr-CA"/>
          </a:p>
          <a:p>
            <a:r>
              <a:rPr lang="fr-CA"/>
              <a:t>	Ph MP Beaulieu</a:t>
            </a:r>
          </a:p>
          <a:p>
            <a:endParaRPr lang="fr-CA"/>
          </a:p>
        </p:txBody>
      </p:sp>
      <p:sp>
        <p:nvSpPr>
          <p:cNvPr id="11" name="Content Placeholder 2">
            <a:extLst>
              <a:ext uri="{FF2B5EF4-FFF2-40B4-BE49-F238E27FC236}">
                <a16:creationId xmlns:a16="http://schemas.microsoft.com/office/drawing/2014/main" id="{AE7233B6-E947-0B09-6E27-782D5A749DFB}"/>
              </a:ext>
            </a:extLst>
          </p:cNvPr>
          <p:cNvSpPr txBox="1">
            <a:spLocks/>
          </p:cNvSpPr>
          <p:nvPr>
            <p:custDataLst>
              <p:tags r:id="rId6"/>
            </p:custDataLst>
          </p:nvPr>
        </p:nvSpPr>
        <p:spPr>
          <a:xfrm>
            <a:off x="5807968" y="4791515"/>
            <a:ext cx="5359398" cy="510494"/>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r"/>
            <a:r>
              <a:rPr lang="fr-CA" sz="2000" cap="none">
                <a:latin typeface="Arial"/>
                <a:cs typeface="Arial"/>
              </a:rPr>
              <a:t>Ensuite… pas de nouvelles de Mme Dolores pendant des semaines. </a:t>
            </a:r>
            <a:endParaRPr lang="fr-CA" sz="2000" cap="none">
              <a:cs typeface="Arial" panose="020B0604020202020204"/>
            </a:endParaRPr>
          </a:p>
        </p:txBody>
      </p:sp>
    </p:spTree>
    <p:extLst>
      <p:ext uri="{BB962C8B-B14F-4D97-AF65-F5344CB8AC3E}">
        <p14:creationId xmlns:p14="http://schemas.microsoft.com/office/powerpoint/2010/main" val="12674715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74379-AA46-2404-D666-C9A720C3A5DE}"/>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5E194B2-DD90-CEA0-D721-71A2C9212A88}"/>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1824B43B-41A8-8B2A-21EC-8403C4F79648}"/>
              </a:ext>
            </a:extLst>
          </p:cNvPr>
          <p:cNvSpPr>
            <a:spLocks noGrp="1"/>
          </p:cNvSpPr>
          <p:nvPr>
            <p:ph type="sldNum" sz="quarter" idx="11"/>
            <p:custDataLst>
              <p:tags r:id="rId2"/>
            </p:custDataLst>
          </p:nvPr>
        </p:nvSpPr>
        <p:spPr/>
        <p:txBody>
          <a:bodyPr/>
          <a:lstStyle/>
          <a:p>
            <a:fld id="{91882AA3-08DC-0043-8CA8-8CA69DA2397E}" type="slidenum">
              <a:rPr lang="en-US" smtClean="0"/>
              <a:pPr/>
              <a:t>25</a:t>
            </a:fld>
            <a:endParaRPr lang="en-US"/>
          </a:p>
        </p:txBody>
      </p:sp>
      <p:sp>
        <p:nvSpPr>
          <p:cNvPr id="2" name="Titre 1">
            <a:extLst>
              <a:ext uri="{FF2B5EF4-FFF2-40B4-BE49-F238E27FC236}">
                <a16:creationId xmlns:a16="http://schemas.microsoft.com/office/drawing/2014/main" id="{C953610A-A1E4-045A-92B7-52B5769C4012}"/>
              </a:ext>
            </a:extLst>
          </p:cNvPr>
          <p:cNvSpPr>
            <a:spLocks noGrp="1"/>
          </p:cNvSpPr>
          <p:nvPr>
            <p:ph type="title"/>
            <p:custDataLst>
              <p:tags r:id="rId3"/>
            </p:custDataLst>
          </p:nvPr>
        </p:nvSpPr>
        <p:spPr>
          <a:xfrm>
            <a:off x="609600" y="434789"/>
            <a:ext cx="9601200" cy="784412"/>
          </a:xfrm>
        </p:spPr>
        <p:txBody>
          <a:bodyPr/>
          <a:lstStyle/>
          <a:p>
            <a:r>
              <a:rPr lang="fr-CA"/>
              <a:t>Traitement du trouble d’utilisation des opioïdes (TUO)</a:t>
            </a:r>
            <a:br>
              <a:rPr lang="fr-CA"/>
            </a:br>
            <a:endParaRPr lang="fr-CA"/>
          </a:p>
        </p:txBody>
      </p:sp>
      <p:sp>
        <p:nvSpPr>
          <p:cNvPr id="8" name="Content Placeholder 2">
            <a:extLst>
              <a:ext uri="{FF2B5EF4-FFF2-40B4-BE49-F238E27FC236}">
                <a16:creationId xmlns:a16="http://schemas.microsoft.com/office/drawing/2014/main" id="{9712E08C-6D21-06A6-13B8-942CBFC5CD76}"/>
              </a:ext>
            </a:extLst>
          </p:cNvPr>
          <p:cNvSpPr txBox="1">
            <a:spLocks/>
          </p:cNvSpPr>
          <p:nvPr>
            <p:custDataLst>
              <p:tags r:id="rId4"/>
            </p:custDataLst>
          </p:nvPr>
        </p:nvSpPr>
        <p:spPr>
          <a:xfrm>
            <a:off x="4727847" y="1480203"/>
            <a:ext cx="6727550" cy="2031325"/>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cap="none">
                <a:latin typeface="Arial"/>
                <a:cs typeface="Arial"/>
              </a:rPr>
              <a:t>Conclusion du cas </a:t>
            </a:r>
          </a:p>
          <a:p>
            <a:pPr algn="l"/>
            <a:r>
              <a:rPr lang="fr-CA" sz="2000" b="0" cap="none">
                <a:solidFill>
                  <a:schemeClr val="tx1"/>
                </a:solidFill>
                <a:latin typeface="Arial"/>
                <a:cs typeface="Arial"/>
              </a:rPr>
              <a:t>Mme Dolores vous remet cette ordonnance et elle précise qu’elle a été dans un centre de désintoxication.</a:t>
            </a:r>
          </a:p>
          <a:p>
            <a:pPr algn="l"/>
            <a:r>
              <a:rPr lang="fr-CA" sz="2000" b="0" cap="none">
                <a:solidFill>
                  <a:schemeClr val="tx1"/>
                </a:solidFill>
                <a:latin typeface="Arial"/>
                <a:cs typeface="Arial"/>
              </a:rPr>
              <a:t>Vous lui expliquez que vous n’avez aucun autre patient qui prend ce médicament et que vous pourriez l’orienter vers une autre pharmacie.</a:t>
            </a:r>
            <a:endParaRPr lang="fr-CA" sz="2000" b="0" cap="none">
              <a:solidFill>
                <a:schemeClr val="tx1"/>
              </a:solidFill>
              <a:cs typeface="Arial" panose="020B0604020202020204"/>
            </a:endParaRPr>
          </a:p>
        </p:txBody>
      </p:sp>
      <p:sp>
        <p:nvSpPr>
          <p:cNvPr id="10" name="ZoneTexte 9">
            <a:extLst>
              <a:ext uri="{FF2B5EF4-FFF2-40B4-BE49-F238E27FC236}">
                <a16:creationId xmlns:a16="http://schemas.microsoft.com/office/drawing/2014/main" id="{0AC26EF2-CE60-66CC-B57E-2707BE5B7CB3}"/>
              </a:ext>
            </a:extLst>
          </p:cNvPr>
          <p:cNvSpPr txBox="1"/>
          <p:nvPr>
            <p:custDataLst>
              <p:tags r:id="rId5"/>
            </p:custDataLst>
          </p:nvPr>
        </p:nvSpPr>
        <p:spPr>
          <a:xfrm>
            <a:off x="500948" y="1544973"/>
            <a:ext cx="3960440" cy="2031325"/>
          </a:xfrm>
          <a:prstGeom prst="rect">
            <a:avLst/>
          </a:prstGeom>
          <a:noFill/>
          <a:ln>
            <a:solidFill>
              <a:schemeClr val="tx1"/>
            </a:solidFill>
          </a:ln>
        </p:spPr>
        <p:txBody>
          <a:bodyPr wrap="square" rtlCol="0">
            <a:spAutoFit/>
          </a:bodyPr>
          <a:lstStyle/>
          <a:p>
            <a:r>
              <a:rPr lang="fr-CA"/>
              <a:t>Mme Dolores</a:t>
            </a:r>
          </a:p>
          <a:p>
            <a:endParaRPr lang="fr-CA"/>
          </a:p>
          <a:p>
            <a:r>
              <a:rPr lang="fr-CA"/>
              <a:t>Buprénorphine-naloxone 8-2 mg SL die. Devant le pharmacien à tous les jours. #14 </a:t>
            </a:r>
            <a:r>
              <a:rPr lang="fr-CA" err="1"/>
              <a:t>co</a:t>
            </a:r>
            <a:r>
              <a:rPr lang="fr-CA"/>
              <a:t> total, #1 </a:t>
            </a:r>
            <a:r>
              <a:rPr lang="fr-CA" err="1"/>
              <a:t>co</a:t>
            </a:r>
            <a:r>
              <a:rPr lang="fr-CA"/>
              <a:t> à la fois.</a:t>
            </a:r>
          </a:p>
          <a:p>
            <a:endParaRPr lang="fr-CA"/>
          </a:p>
          <a:p>
            <a:r>
              <a:rPr lang="fr-CA"/>
              <a:t>	Dr </a:t>
            </a:r>
            <a:r>
              <a:rPr lang="fr-CA" err="1"/>
              <a:t>Detox</a:t>
            </a:r>
            <a:endParaRPr lang="fr-CA"/>
          </a:p>
        </p:txBody>
      </p:sp>
      <p:sp>
        <p:nvSpPr>
          <p:cNvPr id="5" name="Content Placeholder 2">
            <a:extLst>
              <a:ext uri="{FF2B5EF4-FFF2-40B4-BE49-F238E27FC236}">
                <a16:creationId xmlns:a16="http://schemas.microsoft.com/office/drawing/2014/main" id="{157ACDF6-1282-F9B8-C0E6-7165E256D6C6}"/>
              </a:ext>
            </a:extLst>
          </p:cNvPr>
          <p:cNvSpPr txBox="1">
            <a:spLocks/>
          </p:cNvSpPr>
          <p:nvPr>
            <p:custDataLst>
              <p:tags r:id="rId6"/>
            </p:custDataLst>
          </p:nvPr>
        </p:nvSpPr>
        <p:spPr>
          <a:xfrm>
            <a:off x="500948" y="3744282"/>
            <a:ext cx="10954449" cy="1952821"/>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b="0" cap="none" dirty="0">
                <a:solidFill>
                  <a:schemeClr val="tx1"/>
                </a:solidFill>
                <a:latin typeface="Arial"/>
                <a:cs typeface="Arial"/>
              </a:rPr>
              <a:t>Elle indique qu’elle veut continuer à être servie à sa </a:t>
            </a:r>
            <a:r>
              <a:rPr lang="fr-CA" sz="2000" b="0" cap="none" dirty="0">
                <a:latin typeface="Arial"/>
                <a:cs typeface="Arial"/>
              </a:rPr>
              <a:t>pharmacie de quartier </a:t>
            </a:r>
            <a:r>
              <a:rPr lang="fr-CA" sz="2000" b="0" cap="none" dirty="0">
                <a:solidFill>
                  <a:schemeClr val="tx1"/>
                </a:solidFill>
                <a:latin typeface="Arial"/>
                <a:cs typeface="Arial"/>
              </a:rPr>
              <a:t>par une </a:t>
            </a:r>
            <a:r>
              <a:rPr lang="fr-CA" sz="2000" b="0" cap="none" dirty="0">
                <a:latin typeface="Arial"/>
                <a:cs typeface="Arial"/>
              </a:rPr>
              <a:t>équipe en qui elle a confiance</a:t>
            </a:r>
            <a:r>
              <a:rPr lang="fr-CA" sz="2000" b="0" cap="none" dirty="0">
                <a:solidFill>
                  <a:schemeClr val="tx1"/>
                </a:solidFill>
                <a:latin typeface="Arial"/>
                <a:cs typeface="Arial"/>
              </a:rPr>
              <a:t>. </a:t>
            </a:r>
          </a:p>
          <a:p>
            <a:pPr algn="l"/>
            <a:r>
              <a:rPr lang="fr-CA" sz="2000" b="0" cap="none" dirty="0">
                <a:solidFill>
                  <a:schemeClr val="tx1"/>
                </a:solidFill>
                <a:latin typeface="Arial"/>
                <a:cs typeface="Arial"/>
              </a:rPr>
              <a:t>Vous reconnaissez que vous êtes la pharmacie la mieux placée pour continuer à prendre en charge Mme Dolores. Vous avez la compétence et vous savez </a:t>
            </a:r>
            <a:r>
              <a:rPr lang="fr-CA" sz="2000" b="0" cap="none" dirty="0">
                <a:latin typeface="Arial"/>
                <a:cs typeface="Arial"/>
              </a:rPr>
              <a:t>où trouver les bons outils cliniques</a:t>
            </a:r>
            <a:r>
              <a:rPr lang="fr-CA" sz="2000" b="0" cap="none" dirty="0">
                <a:solidFill>
                  <a:schemeClr val="tx1"/>
                </a:solidFill>
                <a:latin typeface="Arial"/>
                <a:cs typeface="Arial"/>
              </a:rPr>
              <a:t> alors vous acceptez sa demande.</a:t>
            </a:r>
            <a:endParaRPr lang="fr-CA" sz="2000" b="0" cap="none" dirty="0">
              <a:solidFill>
                <a:schemeClr val="tx1"/>
              </a:solidFill>
              <a:cs typeface="Arial" panose="020B0604020202020204"/>
            </a:endParaRPr>
          </a:p>
        </p:txBody>
      </p:sp>
      <p:pic>
        <p:nvPicPr>
          <p:cNvPr id="7" name="Image 6">
            <a:extLst>
              <a:ext uri="{FF2B5EF4-FFF2-40B4-BE49-F238E27FC236}">
                <a16:creationId xmlns:a16="http://schemas.microsoft.com/office/drawing/2014/main" id="{A31AE0DC-92DD-6730-7EBE-FB75C2498EE4}"/>
              </a:ext>
            </a:extLst>
          </p:cNvPr>
          <p:cNvPicPr>
            <a:picLocks noChangeAspect="1"/>
          </p:cNvPicPr>
          <p:nvPr>
            <p:custDataLst>
              <p:tags r:id="rId7"/>
            </p:custDataLst>
          </p:nvPr>
        </p:nvPicPr>
        <p:blipFill>
          <a:blip r:embed="rId10"/>
          <a:stretch>
            <a:fillRect/>
          </a:stretch>
        </p:blipFill>
        <p:spPr>
          <a:xfrm>
            <a:off x="5978198" y="5630788"/>
            <a:ext cx="4778849" cy="992622"/>
          </a:xfrm>
          <a:prstGeom prst="rect">
            <a:avLst/>
          </a:prstGeom>
        </p:spPr>
      </p:pic>
    </p:spTree>
    <p:extLst>
      <p:ext uri="{BB962C8B-B14F-4D97-AF65-F5344CB8AC3E}">
        <p14:creationId xmlns:p14="http://schemas.microsoft.com/office/powerpoint/2010/main" val="1186457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DE029-70FC-3CA7-304C-B95ABAB2CFD5}"/>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7A3B1B6-AFB3-FAD1-FE7C-96A50FBF5331}"/>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FE7E3E48-EE2B-E068-1813-3D41E5576D7A}"/>
              </a:ext>
            </a:extLst>
          </p:cNvPr>
          <p:cNvSpPr>
            <a:spLocks noGrp="1"/>
          </p:cNvSpPr>
          <p:nvPr>
            <p:ph type="sldNum" sz="quarter" idx="11"/>
            <p:custDataLst>
              <p:tags r:id="rId2"/>
            </p:custDataLst>
          </p:nvPr>
        </p:nvSpPr>
        <p:spPr/>
        <p:txBody>
          <a:bodyPr/>
          <a:lstStyle/>
          <a:p>
            <a:fld id="{91882AA3-08DC-0043-8CA8-8CA69DA2397E}" type="slidenum">
              <a:rPr lang="en-US" smtClean="0"/>
              <a:pPr/>
              <a:t>26</a:t>
            </a:fld>
            <a:endParaRPr lang="en-US"/>
          </a:p>
        </p:txBody>
      </p:sp>
      <p:sp>
        <p:nvSpPr>
          <p:cNvPr id="5" name="Espace réservé du texte 4">
            <a:extLst>
              <a:ext uri="{FF2B5EF4-FFF2-40B4-BE49-F238E27FC236}">
                <a16:creationId xmlns:a16="http://schemas.microsoft.com/office/drawing/2014/main" id="{AB450639-C2C4-9EE2-902C-BFDA666ABB2A}"/>
              </a:ext>
            </a:extLst>
          </p:cNvPr>
          <p:cNvSpPr>
            <a:spLocks noGrp="1"/>
          </p:cNvSpPr>
          <p:nvPr>
            <p:ph type="body" sz="quarter" idx="12"/>
            <p:custDataLst>
              <p:tags r:id="rId3"/>
            </p:custDataLst>
          </p:nvPr>
        </p:nvSpPr>
        <p:spPr>
          <a:xfrm>
            <a:off x="191344" y="364190"/>
            <a:ext cx="6840760" cy="544530"/>
          </a:xfrm>
        </p:spPr>
        <p:txBody>
          <a:bodyPr/>
          <a:lstStyle/>
          <a:p>
            <a:r>
              <a:rPr lang="fr-CA"/>
              <a:t>Patient ayant une condition chronique diagnostiquée (suite)</a:t>
            </a:r>
          </a:p>
        </p:txBody>
      </p:sp>
      <p:pic>
        <p:nvPicPr>
          <p:cNvPr id="2" name="Image 1">
            <a:extLst>
              <a:ext uri="{FF2B5EF4-FFF2-40B4-BE49-F238E27FC236}">
                <a16:creationId xmlns:a16="http://schemas.microsoft.com/office/drawing/2014/main" id="{4D516C11-4137-7C61-2CB0-7903116851B1}"/>
              </a:ext>
            </a:extLst>
          </p:cNvPr>
          <p:cNvPicPr>
            <a:picLocks noChangeAspect="1"/>
          </p:cNvPicPr>
          <p:nvPr/>
        </p:nvPicPr>
        <p:blipFill>
          <a:blip r:embed="rId6"/>
          <a:stretch>
            <a:fillRect/>
          </a:stretch>
        </p:blipFill>
        <p:spPr>
          <a:xfrm>
            <a:off x="2061876" y="432179"/>
            <a:ext cx="8056874" cy="6255225"/>
          </a:xfrm>
          <a:prstGeom prst="rect">
            <a:avLst/>
          </a:prstGeom>
        </p:spPr>
      </p:pic>
    </p:spTree>
    <p:extLst>
      <p:ext uri="{BB962C8B-B14F-4D97-AF65-F5344CB8AC3E}">
        <p14:creationId xmlns:p14="http://schemas.microsoft.com/office/powerpoint/2010/main" val="15311771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B962D-9E03-6CEA-2B24-A1141644C71A}"/>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16272DE-573E-84BE-7084-F0D83B125ACE}"/>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9586F2DC-AD04-381F-1D15-5B8DFE3E2F59}"/>
              </a:ext>
            </a:extLst>
          </p:cNvPr>
          <p:cNvSpPr>
            <a:spLocks noGrp="1"/>
          </p:cNvSpPr>
          <p:nvPr>
            <p:ph type="sldNum" sz="quarter" idx="11"/>
            <p:custDataLst>
              <p:tags r:id="rId2"/>
            </p:custDataLst>
          </p:nvPr>
        </p:nvSpPr>
        <p:spPr/>
        <p:txBody>
          <a:bodyPr/>
          <a:lstStyle/>
          <a:p>
            <a:fld id="{91882AA3-08DC-0043-8CA8-8CA69DA2397E}" type="slidenum">
              <a:rPr lang="en-US" smtClean="0"/>
              <a:pPr/>
              <a:t>27</a:t>
            </a:fld>
            <a:endParaRPr lang="en-US"/>
          </a:p>
        </p:txBody>
      </p:sp>
      <p:sp>
        <p:nvSpPr>
          <p:cNvPr id="6" name="Titre 1">
            <a:extLst>
              <a:ext uri="{FF2B5EF4-FFF2-40B4-BE49-F238E27FC236}">
                <a16:creationId xmlns:a16="http://schemas.microsoft.com/office/drawing/2014/main" id="{097D4EB0-7E1E-0EBC-A3B1-BF23A898B85B}"/>
              </a:ext>
            </a:extLst>
          </p:cNvPr>
          <p:cNvSpPr>
            <a:spLocks noGrp="1"/>
          </p:cNvSpPr>
          <p:nvPr>
            <p:ph type="title"/>
            <p:custDataLst>
              <p:tags r:id="rId3"/>
            </p:custDataLst>
          </p:nvPr>
        </p:nvSpPr>
        <p:spPr>
          <a:xfrm>
            <a:off x="609600" y="739589"/>
            <a:ext cx="9337792" cy="784412"/>
          </a:xfrm>
        </p:spPr>
        <p:txBody>
          <a:bodyPr/>
          <a:lstStyle/>
          <a:p>
            <a:r>
              <a:rPr lang="fr-CA"/>
              <a:t>Substitution thérapeutique </a:t>
            </a:r>
            <a:br>
              <a:rPr lang="fr-CA"/>
            </a:br>
            <a:endParaRPr lang="fr-CA"/>
          </a:p>
        </p:txBody>
      </p:sp>
      <p:pic>
        <p:nvPicPr>
          <p:cNvPr id="2" name="Image 1">
            <a:extLst>
              <a:ext uri="{FF2B5EF4-FFF2-40B4-BE49-F238E27FC236}">
                <a16:creationId xmlns:a16="http://schemas.microsoft.com/office/drawing/2014/main" id="{707E05CB-3798-2263-A207-7BEA6C6D3A58}"/>
              </a:ext>
            </a:extLst>
          </p:cNvPr>
          <p:cNvPicPr>
            <a:picLocks noChangeAspect="1"/>
          </p:cNvPicPr>
          <p:nvPr>
            <p:custDataLst>
              <p:tags r:id="rId4"/>
            </p:custDataLst>
          </p:nvPr>
        </p:nvPicPr>
        <p:blipFill>
          <a:blip r:embed="rId10"/>
          <a:stretch>
            <a:fillRect/>
          </a:stretch>
        </p:blipFill>
        <p:spPr>
          <a:xfrm>
            <a:off x="885825" y="1474694"/>
            <a:ext cx="10115550" cy="914400"/>
          </a:xfrm>
          <a:prstGeom prst="rect">
            <a:avLst/>
          </a:prstGeom>
        </p:spPr>
      </p:pic>
      <p:pic>
        <p:nvPicPr>
          <p:cNvPr id="7" name="Image 6">
            <a:extLst>
              <a:ext uri="{FF2B5EF4-FFF2-40B4-BE49-F238E27FC236}">
                <a16:creationId xmlns:a16="http://schemas.microsoft.com/office/drawing/2014/main" id="{6C72AD44-3406-6663-D28E-E7438B20F9D9}"/>
              </a:ext>
            </a:extLst>
          </p:cNvPr>
          <p:cNvPicPr>
            <a:picLocks noChangeAspect="1"/>
          </p:cNvPicPr>
          <p:nvPr>
            <p:custDataLst>
              <p:tags r:id="rId5"/>
            </p:custDataLst>
          </p:nvPr>
        </p:nvPicPr>
        <p:blipFill>
          <a:blip r:embed="rId11"/>
          <a:stretch>
            <a:fillRect/>
          </a:stretch>
        </p:blipFill>
        <p:spPr>
          <a:xfrm>
            <a:off x="885825" y="2445124"/>
            <a:ext cx="4933950" cy="3581400"/>
          </a:xfrm>
          <a:prstGeom prst="rect">
            <a:avLst/>
          </a:prstGeom>
        </p:spPr>
      </p:pic>
      <p:pic>
        <p:nvPicPr>
          <p:cNvPr id="8" name="Image 7">
            <a:extLst>
              <a:ext uri="{FF2B5EF4-FFF2-40B4-BE49-F238E27FC236}">
                <a16:creationId xmlns:a16="http://schemas.microsoft.com/office/drawing/2014/main" id="{927A32B0-2CAE-DF77-398F-03DCE1D37A20}"/>
              </a:ext>
            </a:extLst>
          </p:cNvPr>
          <p:cNvPicPr>
            <a:picLocks noChangeAspect="1"/>
          </p:cNvPicPr>
          <p:nvPr>
            <p:custDataLst>
              <p:tags r:id="rId6"/>
            </p:custDataLst>
          </p:nvPr>
        </p:nvPicPr>
        <p:blipFill>
          <a:blip r:embed="rId12"/>
          <a:stretch>
            <a:fillRect/>
          </a:stretch>
        </p:blipFill>
        <p:spPr>
          <a:xfrm>
            <a:off x="6035207" y="2441202"/>
            <a:ext cx="4962525" cy="1885950"/>
          </a:xfrm>
          <a:prstGeom prst="rect">
            <a:avLst/>
          </a:prstGeom>
        </p:spPr>
      </p:pic>
      <p:sp>
        <p:nvSpPr>
          <p:cNvPr id="9" name="Ellipse 8">
            <a:extLst>
              <a:ext uri="{FF2B5EF4-FFF2-40B4-BE49-F238E27FC236}">
                <a16:creationId xmlns:a16="http://schemas.microsoft.com/office/drawing/2014/main" id="{3EBB8812-AE6D-A90A-CA1A-55DD7BD5B605}"/>
              </a:ext>
            </a:extLst>
          </p:cNvPr>
          <p:cNvSpPr/>
          <p:nvPr>
            <p:custDataLst>
              <p:tags r:id="rId7"/>
            </p:custDataLst>
          </p:nvPr>
        </p:nvSpPr>
        <p:spPr>
          <a:xfrm>
            <a:off x="8518711" y="1631015"/>
            <a:ext cx="2606487" cy="914398"/>
          </a:xfrm>
          <a:prstGeom prst="ellipse">
            <a:avLst/>
          </a:prstGeom>
          <a:noFill/>
          <a:ln w="5715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Tree>
    <p:extLst>
      <p:ext uri="{BB962C8B-B14F-4D97-AF65-F5344CB8AC3E}">
        <p14:creationId xmlns:p14="http://schemas.microsoft.com/office/powerpoint/2010/main" val="11705718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5F187-FD7A-BDF6-908E-9179F5E63C3C}"/>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2C4A208-ABBA-3DCE-7B68-5BB2C5F72E98}"/>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646C45D4-3E28-AE3E-AE23-DA7058877864}"/>
              </a:ext>
            </a:extLst>
          </p:cNvPr>
          <p:cNvSpPr>
            <a:spLocks noGrp="1"/>
          </p:cNvSpPr>
          <p:nvPr>
            <p:ph type="sldNum" sz="quarter" idx="11"/>
            <p:custDataLst>
              <p:tags r:id="rId2"/>
            </p:custDataLst>
          </p:nvPr>
        </p:nvSpPr>
        <p:spPr/>
        <p:txBody>
          <a:bodyPr/>
          <a:lstStyle/>
          <a:p>
            <a:fld id="{91882AA3-08DC-0043-8CA8-8CA69DA2397E}" type="slidenum">
              <a:rPr lang="en-US" smtClean="0"/>
              <a:pPr/>
              <a:t>28</a:t>
            </a:fld>
            <a:endParaRPr lang="en-US"/>
          </a:p>
        </p:txBody>
      </p:sp>
      <p:sp>
        <p:nvSpPr>
          <p:cNvPr id="6" name="Titre 1">
            <a:extLst>
              <a:ext uri="{FF2B5EF4-FFF2-40B4-BE49-F238E27FC236}">
                <a16:creationId xmlns:a16="http://schemas.microsoft.com/office/drawing/2014/main" id="{92BC1B2D-F006-9B7C-A96E-0FC941670AFD}"/>
              </a:ext>
            </a:extLst>
          </p:cNvPr>
          <p:cNvSpPr>
            <a:spLocks noGrp="1"/>
          </p:cNvSpPr>
          <p:nvPr>
            <p:ph type="title"/>
            <p:custDataLst>
              <p:tags r:id="rId3"/>
            </p:custDataLst>
          </p:nvPr>
        </p:nvSpPr>
        <p:spPr>
          <a:xfrm>
            <a:off x="609600" y="434789"/>
            <a:ext cx="9337792" cy="784412"/>
          </a:xfrm>
        </p:spPr>
        <p:txBody>
          <a:bodyPr/>
          <a:lstStyle/>
          <a:p>
            <a:r>
              <a:rPr lang="fr-CA"/>
              <a:t>Substitution thérapeutique </a:t>
            </a:r>
            <a:br>
              <a:rPr lang="fr-CA"/>
            </a:br>
            <a:endParaRPr lang="fr-CA"/>
          </a:p>
        </p:txBody>
      </p:sp>
      <p:sp>
        <p:nvSpPr>
          <p:cNvPr id="20" name="Content Placeholder 2">
            <a:extLst>
              <a:ext uri="{FF2B5EF4-FFF2-40B4-BE49-F238E27FC236}">
                <a16:creationId xmlns:a16="http://schemas.microsoft.com/office/drawing/2014/main" id="{88CE1667-2C32-6EB2-529A-75DEECDA7ED3}"/>
              </a:ext>
            </a:extLst>
          </p:cNvPr>
          <p:cNvSpPr txBox="1">
            <a:spLocks/>
          </p:cNvSpPr>
          <p:nvPr>
            <p:custDataLst>
              <p:tags r:id="rId4"/>
            </p:custDataLst>
          </p:nvPr>
        </p:nvSpPr>
        <p:spPr>
          <a:xfrm>
            <a:off x="609600" y="1100528"/>
            <a:ext cx="10845798" cy="1047953"/>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cap="none">
                <a:latin typeface="Arial"/>
                <a:cs typeface="Arial"/>
              </a:rPr>
              <a:t>Étude de cas</a:t>
            </a:r>
          </a:p>
          <a:p>
            <a:pPr algn="l"/>
            <a:r>
              <a:rPr lang="fr-CA" sz="2000" b="0" cap="none">
                <a:solidFill>
                  <a:srgbClr val="454547"/>
                </a:solidFill>
                <a:latin typeface="Arial"/>
                <a:cs typeface="Arial"/>
              </a:rPr>
              <a:t>Un patient débute un traitement d’amoxicilline pour une otite le jeudi. Il nous appelle le samedi en raison de symptômes d’allergie. Comme le prescripteur n’est pas joignable la fin de semaine, est-ce qu’il est possible d’effectuer une substitution d’antibiotique? </a:t>
            </a:r>
            <a:endParaRPr lang="fr-CA" sz="2000" b="0" cap="none">
              <a:solidFill>
                <a:srgbClr val="454547"/>
              </a:solidFill>
              <a:cs typeface="Arial" panose="020B0604020202020204"/>
            </a:endParaRPr>
          </a:p>
        </p:txBody>
      </p:sp>
      <p:sp>
        <p:nvSpPr>
          <p:cNvPr id="25" name="Content Placeholder 2">
            <a:extLst>
              <a:ext uri="{FF2B5EF4-FFF2-40B4-BE49-F238E27FC236}">
                <a16:creationId xmlns:a16="http://schemas.microsoft.com/office/drawing/2014/main" id="{53CA0FC1-1357-9E92-4FB1-986BFE5E39EC}"/>
              </a:ext>
            </a:extLst>
          </p:cNvPr>
          <p:cNvSpPr txBox="1">
            <a:spLocks/>
          </p:cNvSpPr>
          <p:nvPr>
            <p:custDataLst>
              <p:tags r:id="rId5"/>
            </p:custDataLst>
          </p:nvPr>
        </p:nvSpPr>
        <p:spPr>
          <a:xfrm>
            <a:off x="609600" y="2721653"/>
            <a:ext cx="10845798" cy="3602947"/>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fr-CA" sz="2000" cap="none">
                <a:solidFill>
                  <a:schemeClr val="tx1"/>
                </a:solidFill>
                <a:latin typeface="Arial"/>
                <a:cs typeface="Arial"/>
              </a:rPr>
              <a:t>Conditions actuelles de la règle 37 pour la substitution thérapeutique d’un médicament :</a:t>
            </a:r>
            <a:endParaRPr lang="fr-FR">
              <a:solidFill>
                <a:schemeClr val="tx1"/>
              </a:solidFill>
              <a:cs typeface="Arial"/>
            </a:endParaRPr>
          </a:p>
          <a:p>
            <a:pPr algn="l"/>
            <a:r>
              <a:rPr lang="fr-CA" sz="2000" b="0" i="1" cap="none">
                <a:solidFill>
                  <a:srgbClr val="454547"/>
                </a:solidFill>
                <a:ea typeface="+mn-lt"/>
                <a:cs typeface="+mn-lt"/>
              </a:rPr>
              <a:t>Le pharmacien peut procéder à la substitution thérapeutique d’un médicament dans les conditions suivantes et selon la réglementation en vigueur :</a:t>
            </a:r>
            <a:endParaRPr lang="fr-CA" sz="1600" i="1">
              <a:solidFill>
                <a:srgbClr val="00A8EC"/>
              </a:solidFill>
              <a:latin typeface="Arial"/>
              <a:cs typeface="Arial"/>
            </a:endParaRPr>
          </a:p>
          <a:p>
            <a:pPr marL="285750" indent="-285750" algn="l">
              <a:buFont typeface="Arial"/>
              <a:buChar char="•"/>
            </a:pPr>
            <a:r>
              <a:rPr lang="fr-CA" sz="2000" b="0" i="1" cap="none">
                <a:solidFill>
                  <a:srgbClr val="454547"/>
                </a:solidFill>
                <a:latin typeface="Arial"/>
                <a:cs typeface="Arial"/>
              </a:rPr>
              <a:t>en cas de </a:t>
            </a:r>
            <a:r>
              <a:rPr lang="fr-CA" sz="2000" b="0" i="1" cap="none">
                <a:latin typeface="Arial"/>
                <a:cs typeface="Arial"/>
              </a:rPr>
              <a:t>rupture d’approvisionnement</a:t>
            </a:r>
            <a:r>
              <a:rPr lang="fr-CA" sz="2000" b="0" i="1" cap="none">
                <a:solidFill>
                  <a:srgbClr val="454547"/>
                </a:solidFill>
                <a:latin typeface="Arial"/>
                <a:cs typeface="Arial"/>
              </a:rPr>
              <a:t>; </a:t>
            </a:r>
            <a:endParaRPr lang="fr-CA" sz="1600" i="1">
              <a:cs typeface="Arial" panose="020B0604020202020204"/>
            </a:endParaRPr>
          </a:p>
          <a:p>
            <a:pPr marL="285750" indent="-285750" algn="l">
              <a:buFont typeface="Arial"/>
              <a:buChar char="•"/>
            </a:pPr>
            <a:r>
              <a:rPr lang="fr-CA" sz="2000" b="0" i="1" cap="none">
                <a:solidFill>
                  <a:srgbClr val="454547"/>
                </a:solidFill>
                <a:latin typeface="Arial"/>
                <a:cs typeface="Arial"/>
              </a:rPr>
              <a:t>lorsque le médicament est officiellement </a:t>
            </a:r>
            <a:r>
              <a:rPr lang="fr-CA" sz="2000" b="0" i="1" cap="none">
                <a:latin typeface="Arial"/>
                <a:cs typeface="Arial"/>
              </a:rPr>
              <a:t>retiré du marché</a:t>
            </a:r>
            <a:r>
              <a:rPr lang="fr-CA" sz="2000" b="0" i="1" cap="none">
                <a:solidFill>
                  <a:srgbClr val="454547"/>
                </a:solidFill>
                <a:latin typeface="Arial"/>
                <a:cs typeface="Arial"/>
              </a:rPr>
              <a:t> canadien; </a:t>
            </a:r>
            <a:endParaRPr lang="fr-CA" sz="1600" i="1">
              <a:cs typeface="Arial" panose="020B0604020202020204"/>
            </a:endParaRPr>
          </a:p>
          <a:p>
            <a:pPr marL="285750" indent="-285750" algn="l">
              <a:buFont typeface="Arial"/>
              <a:buChar char="•"/>
            </a:pPr>
            <a:r>
              <a:rPr lang="fr-CA" sz="2000" b="0" i="1" cap="none">
                <a:solidFill>
                  <a:srgbClr val="454547"/>
                </a:solidFill>
                <a:latin typeface="Arial"/>
                <a:cs typeface="Arial"/>
              </a:rPr>
              <a:t>lorsqu’un médicament présente un </a:t>
            </a:r>
            <a:r>
              <a:rPr lang="fr-CA" sz="2000" b="0" i="1" cap="none">
                <a:latin typeface="Arial"/>
                <a:cs typeface="Arial"/>
              </a:rPr>
              <a:t>risque pour la sécurité </a:t>
            </a:r>
            <a:r>
              <a:rPr lang="fr-CA" sz="2000" b="0" i="1" cap="none">
                <a:solidFill>
                  <a:srgbClr val="454547"/>
                </a:solidFill>
                <a:latin typeface="Arial"/>
                <a:cs typeface="Arial"/>
              </a:rPr>
              <a:t>du patient, que la situation clinique du patient justifie l’</a:t>
            </a:r>
            <a:r>
              <a:rPr lang="fr-CA" sz="2000" b="0" i="1" cap="none">
                <a:latin typeface="Arial"/>
                <a:cs typeface="Arial"/>
              </a:rPr>
              <a:t>amorce rapide</a:t>
            </a:r>
            <a:r>
              <a:rPr lang="fr-CA" sz="2000" b="0" i="1" cap="none">
                <a:solidFill>
                  <a:srgbClr val="454547"/>
                </a:solidFill>
                <a:latin typeface="Arial"/>
                <a:cs typeface="Arial"/>
              </a:rPr>
              <a:t> d’une thérapie médicamenteuse, et que le prescripteur ne peut être joint en temps utile; </a:t>
            </a:r>
            <a:endParaRPr lang="fr-CA" sz="1600" i="1">
              <a:cs typeface="Arial" panose="020B0604020202020204"/>
            </a:endParaRPr>
          </a:p>
          <a:p>
            <a:pPr marL="285750" indent="-285750" algn="l">
              <a:buFont typeface="Arial"/>
              <a:buChar char="•"/>
            </a:pPr>
            <a:r>
              <a:rPr lang="fr-CA" sz="2000" b="0" i="1" cap="none">
                <a:solidFill>
                  <a:srgbClr val="454547"/>
                </a:solidFill>
                <a:latin typeface="Arial"/>
                <a:cs typeface="Arial"/>
              </a:rPr>
              <a:t>lorsque le médicament présente un </a:t>
            </a:r>
            <a:r>
              <a:rPr lang="fr-CA" sz="2000" b="0" i="1" cap="none">
                <a:latin typeface="Arial"/>
                <a:cs typeface="Arial"/>
              </a:rPr>
              <a:t>problème relatif à son administration. </a:t>
            </a:r>
            <a:endParaRPr lang="fr-CA" sz="1600" i="1">
              <a:cs typeface="Arial" panose="020B0604020202020204"/>
            </a:endParaRPr>
          </a:p>
          <a:p>
            <a:endParaRPr lang="fr-CA" sz="2000" b="0" i="1" cap="none">
              <a:solidFill>
                <a:srgbClr val="454547"/>
              </a:solidFill>
              <a:latin typeface="Arial"/>
              <a:cs typeface="Arial"/>
            </a:endParaRPr>
          </a:p>
          <a:p>
            <a:endParaRPr lang="fr-CA" sz="2000" b="0" cap="none">
              <a:solidFill>
                <a:srgbClr val="454547"/>
              </a:solidFill>
              <a:latin typeface="Arial"/>
              <a:cs typeface="Arial"/>
            </a:endParaRPr>
          </a:p>
        </p:txBody>
      </p:sp>
    </p:spTree>
    <p:extLst>
      <p:ext uri="{BB962C8B-B14F-4D97-AF65-F5344CB8AC3E}">
        <p14:creationId xmlns:p14="http://schemas.microsoft.com/office/powerpoint/2010/main" val="35396420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2660C9-751B-E358-B66C-62DDA9CBD74E}"/>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182F2BC-C65D-8209-F90D-C837F4417F6F}"/>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58F3F996-D7D2-0409-9023-E3A5A1B27AD1}"/>
              </a:ext>
            </a:extLst>
          </p:cNvPr>
          <p:cNvSpPr>
            <a:spLocks noGrp="1"/>
          </p:cNvSpPr>
          <p:nvPr>
            <p:ph type="sldNum" sz="quarter" idx="11"/>
            <p:custDataLst>
              <p:tags r:id="rId2"/>
            </p:custDataLst>
          </p:nvPr>
        </p:nvSpPr>
        <p:spPr/>
        <p:txBody>
          <a:bodyPr/>
          <a:lstStyle/>
          <a:p>
            <a:fld id="{91882AA3-08DC-0043-8CA8-8CA69DA2397E}" type="slidenum">
              <a:rPr lang="en-US" smtClean="0"/>
              <a:pPr/>
              <a:t>29</a:t>
            </a:fld>
            <a:endParaRPr lang="en-US"/>
          </a:p>
        </p:txBody>
      </p:sp>
      <p:sp>
        <p:nvSpPr>
          <p:cNvPr id="6" name="Titre 1">
            <a:extLst>
              <a:ext uri="{FF2B5EF4-FFF2-40B4-BE49-F238E27FC236}">
                <a16:creationId xmlns:a16="http://schemas.microsoft.com/office/drawing/2014/main" id="{00DD4F34-823D-B962-DAB8-E1580222C05C}"/>
              </a:ext>
            </a:extLst>
          </p:cNvPr>
          <p:cNvSpPr>
            <a:spLocks noGrp="1"/>
          </p:cNvSpPr>
          <p:nvPr>
            <p:ph type="title"/>
            <p:custDataLst>
              <p:tags r:id="rId3"/>
            </p:custDataLst>
          </p:nvPr>
        </p:nvSpPr>
        <p:spPr>
          <a:xfrm>
            <a:off x="609600" y="434789"/>
            <a:ext cx="9337792" cy="784412"/>
          </a:xfrm>
        </p:spPr>
        <p:txBody>
          <a:bodyPr/>
          <a:lstStyle/>
          <a:p>
            <a:r>
              <a:rPr lang="fr-CA"/>
              <a:t>Substitution thérapeutique </a:t>
            </a:r>
            <a:br>
              <a:rPr lang="fr-CA"/>
            </a:br>
            <a:endParaRPr lang="fr-CA"/>
          </a:p>
        </p:txBody>
      </p:sp>
      <p:sp>
        <p:nvSpPr>
          <p:cNvPr id="25" name="Content Placeholder 2">
            <a:extLst>
              <a:ext uri="{FF2B5EF4-FFF2-40B4-BE49-F238E27FC236}">
                <a16:creationId xmlns:a16="http://schemas.microsoft.com/office/drawing/2014/main" id="{F9B8771F-E35B-5B3F-BF7D-2AF59F4705F4}"/>
              </a:ext>
            </a:extLst>
          </p:cNvPr>
          <p:cNvSpPr txBox="1">
            <a:spLocks/>
          </p:cNvSpPr>
          <p:nvPr>
            <p:custDataLst>
              <p:tags r:id="rId4"/>
            </p:custDataLst>
          </p:nvPr>
        </p:nvSpPr>
        <p:spPr>
          <a:xfrm>
            <a:off x="612842" y="1628800"/>
            <a:ext cx="10845798" cy="3307620"/>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342900" indent="-342900">
              <a:buFont typeface="Arial" panose="020B0604020202020204" pitchFamily="34" charset="0"/>
              <a:buChar char="•"/>
            </a:pPr>
            <a:r>
              <a:rPr lang="fr-CA" sz="2000" b="0" cap="none">
                <a:solidFill>
                  <a:srgbClr val="454547"/>
                </a:solidFill>
                <a:ea typeface="+mn-lt"/>
                <a:cs typeface="+mn-lt"/>
              </a:rPr>
              <a:t>Tarif</a:t>
            </a:r>
            <a:endParaRPr lang="fr-FR"/>
          </a:p>
          <a:p>
            <a:pPr marL="342900" indent="-342900">
              <a:buFont typeface="Arial" panose="020B0604020202020204" pitchFamily="34" charset="0"/>
              <a:buChar char="•"/>
            </a:pPr>
            <a:endParaRPr lang="fr-CA" sz="2000" b="0" cap="none">
              <a:solidFill>
                <a:srgbClr val="454547"/>
              </a:solidFill>
              <a:ea typeface="+mn-lt"/>
              <a:cs typeface="+mn-lt"/>
            </a:endParaRPr>
          </a:p>
          <a:p>
            <a:pPr marL="342900" indent="-342900">
              <a:buFont typeface="Arial" panose="020B0604020202020204" pitchFamily="34" charset="0"/>
              <a:buChar char="•"/>
            </a:pPr>
            <a:endParaRPr lang="fr-CA" sz="2000" b="0" cap="none">
              <a:solidFill>
                <a:srgbClr val="454547"/>
              </a:solidFill>
              <a:ea typeface="+mn-lt"/>
              <a:cs typeface="+mn-lt"/>
            </a:endParaRPr>
          </a:p>
          <a:p>
            <a:pPr marL="342900" indent="-342900">
              <a:buFont typeface="Arial" panose="020B0604020202020204" pitchFamily="34" charset="0"/>
              <a:buChar char="•"/>
            </a:pPr>
            <a:endParaRPr lang="fr-CA" sz="2000" b="0" cap="none">
              <a:solidFill>
                <a:srgbClr val="454547"/>
              </a:solidFill>
              <a:ea typeface="+mn-lt"/>
              <a:cs typeface="+mn-lt"/>
            </a:endParaRPr>
          </a:p>
          <a:p>
            <a:pPr marL="342900" indent="-342900">
              <a:buFont typeface="Arial" panose="020B0604020202020204" pitchFamily="34" charset="0"/>
              <a:buChar char="•"/>
            </a:pPr>
            <a:endParaRPr lang="fr-CA" sz="2000" b="0" cap="none">
              <a:solidFill>
                <a:srgbClr val="454547"/>
              </a:solidFill>
              <a:ea typeface="+mn-lt"/>
              <a:cs typeface="+mn-lt"/>
            </a:endParaRPr>
          </a:p>
          <a:p>
            <a:pPr marL="342900" indent="-342900">
              <a:buFont typeface="Arial" panose="020B0604020202020204" pitchFamily="34" charset="0"/>
              <a:buChar char="•"/>
            </a:pPr>
            <a:r>
              <a:rPr lang="fr-CA" sz="2000" b="0" cap="none">
                <a:solidFill>
                  <a:srgbClr val="454547"/>
                </a:solidFill>
                <a:ea typeface="+mn-lt"/>
                <a:cs typeface="+mn-lt"/>
              </a:rPr>
              <a:t>Il s’agit d’une garantie du RGAM</a:t>
            </a:r>
          </a:p>
          <a:p>
            <a:endParaRPr lang="fr-CA" sz="2000" b="0" cap="none">
              <a:solidFill>
                <a:srgbClr val="454547"/>
              </a:solidFill>
              <a:ea typeface="+mn-lt"/>
              <a:cs typeface="+mn-lt"/>
            </a:endParaRPr>
          </a:p>
          <a:p>
            <a:endParaRPr lang="fr-CA" sz="2000" b="0" cap="none">
              <a:solidFill>
                <a:srgbClr val="454547"/>
              </a:solidFill>
              <a:latin typeface="Arial"/>
              <a:cs typeface="Arial"/>
            </a:endParaRPr>
          </a:p>
          <a:p>
            <a:endParaRPr lang="fr-CA" sz="2000" b="0" cap="none">
              <a:solidFill>
                <a:srgbClr val="454547"/>
              </a:solidFill>
              <a:latin typeface="Arial"/>
              <a:cs typeface="Arial"/>
            </a:endParaRPr>
          </a:p>
        </p:txBody>
      </p:sp>
      <p:pic>
        <p:nvPicPr>
          <p:cNvPr id="29" name="Image 28">
            <a:extLst>
              <a:ext uri="{FF2B5EF4-FFF2-40B4-BE49-F238E27FC236}">
                <a16:creationId xmlns:a16="http://schemas.microsoft.com/office/drawing/2014/main" id="{DBE01A16-3A32-62D0-1F4E-7BCC23190422}"/>
              </a:ext>
            </a:extLst>
          </p:cNvPr>
          <p:cNvPicPr>
            <a:picLocks noChangeAspect="1"/>
          </p:cNvPicPr>
          <p:nvPr>
            <p:custDataLst>
              <p:tags r:id="rId5"/>
            </p:custDataLst>
          </p:nvPr>
        </p:nvPicPr>
        <p:blipFill>
          <a:blip r:embed="rId8"/>
          <a:stretch>
            <a:fillRect/>
          </a:stretch>
        </p:blipFill>
        <p:spPr>
          <a:xfrm>
            <a:off x="1179645" y="2661707"/>
            <a:ext cx="9696450" cy="487785"/>
          </a:xfrm>
          <a:prstGeom prst="rect">
            <a:avLst/>
          </a:prstGeom>
          <a:ln>
            <a:solidFill>
              <a:schemeClr val="tx1"/>
            </a:solidFill>
          </a:ln>
        </p:spPr>
      </p:pic>
    </p:spTree>
    <p:extLst>
      <p:ext uri="{BB962C8B-B14F-4D97-AF65-F5344CB8AC3E}">
        <p14:creationId xmlns:p14="http://schemas.microsoft.com/office/powerpoint/2010/main" val="1811742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A9022-E63B-C5B9-F658-A4C38542C0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F7BED1-9FA4-4D81-DCF9-D3C3CCCDD9D0}"/>
              </a:ext>
            </a:extLst>
          </p:cNvPr>
          <p:cNvSpPr>
            <a:spLocks noGrp="1"/>
          </p:cNvSpPr>
          <p:nvPr>
            <p:ph type="title"/>
            <p:custDataLst>
              <p:tags r:id="rId1"/>
            </p:custDataLst>
          </p:nvPr>
        </p:nvSpPr>
        <p:spPr/>
        <p:txBody>
          <a:bodyPr/>
          <a:lstStyle/>
          <a:p>
            <a:r>
              <a:rPr lang="fr-CA"/>
              <a:t>Conflits d’intérêt</a:t>
            </a:r>
            <a:endParaRPr/>
          </a:p>
        </p:txBody>
      </p:sp>
      <p:sp>
        <p:nvSpPr>
          <p:cNvPr id="3" name="Content Placeholder 2">
            <a:extLst>
              <a:ext uri="{FF2B5EF4-FFF2-40B4-BE49-F238E27FC236}">
                <a16:creationId xmlns:a16="http://schemas.microsoft.com/office/drawing/2014/main" id="{D1388329-288D-AB21-1545-EB9247B4D603}"/>
              </a:ext>
            </a:extLst>
          </p:cNvPr>
          <p:cNvSpPr>
            <a:spLocks noGrp="1"/>
          </p:cNvSpPr>
          <p:nvPr>
            <p:ph type="body" sz="quarter" idx="12"/>
            <p:custDataLst>
              <p:tags r:id="rId2"/>
            </p:custDataLst>
          </p:nvPr>
        </p:nvSpPr>
        <p:spPr/>
        <p:txBody>
          <a:bodyPr lIns="0" tIns="0" rIns="0" bIns="0" anchor="t"/>
          <a:lstStyle/>
          <a:p>
            <a:pPr marL="342900" indent="-342900">
              <a:buFont typeface="Arial" panose="020B0604020202020204" pitchFamily="34" charset="0"/>
              <a:buChar char="•"/>
            </a:pPr>
            <a:endParaRPr lang="fr-CA" sz="2400" dirty="0">
              <a:cs typeface="Arial"/>
            </a:endParaRPr>
          </a:p>
          <a:p>
            <a:pPr marL="342900" indent="-342900">
              <a:buFont typeface="Arial" panose="020B0604020202020204" pitchFamily="34" charset="0"/>
              <a:buChar char="•"/>
            </a:pPr>
            <a:r>
              <a:rPr lang="fr-CA" sz="2400" dirty="0"/>
              <a:t>Honoraires à titre de consultante de la part de </a:t>
            </a:r>
            <a:r>
              <a:rPr lang="fr-CA" sz="2400" dirty="0" err="1"/>
              <a:t>Pharmascience</a:t>
            </a:r>
            <a:r>
              <a:rPr lang="fr-CA" sz="2400" dirty="0"/>
              <a:t>.</a:t>
            </a:r>
          </a:p>
        </p:txBody>
      </p:sp>
      <p:sp>
        <p:nvSpPr>
          <p:cNvPr id="4" name="Espace réservé du pied de page 3">
            <a:extLst>
              <a:ext uri="{FF2B5EF4-FFF2-40B4-BE49-F238E27FC236}">
                <a16:creationId xmlns:a16="http://schemas.microsoft.com/office/drawing/2014/main" id="{F6902C90-4DF3-5FCB-A168-59193AB06B38}"/>
              </a:ext>
            </a:extLst>
          </p:cNvPr>
          <p:cNvSpPr>
            <a:spLocks noGrp="1"/>
          </p:cNvSpPr>
          <p:nvPr>
            <p:ph type="ftr" sz="quarter" idx="10"/>
            <p:custDataLst>
              <p:tags r:id="rId3"/>
            </p:custDataLst>
          </p:nvPr>
        </p:nvSpPr>
        <p:spPr/>
        <p:txBody>
          <a:bodyPr/>
          <a:lstStyle/>
          <a:p>
            <a:pPr algn="l"/>
            <a:r>
              <a:rPr lang="fr-CA"/>
              <a:t>AQPP  |  Du patient à l'entente</a:t>
            </a:r>
            <a:endParaRPr lang="en-US"/>
          </a:p>
        </p:txBody>
      </p:sp>
      <p:sp>
        <p:nvSpPr>
          <p:cNvPr id="5" name="Espace réservé du numéro de diapositive 4">
            <a:extLst>
              <a:ext uri="{FF2B5EF4-FFF2-40B4-BE49-F238E27FC236}">
                <a16:creationId xmlns:a16="http://schemas.microsoft.com/office/drawing/2014/main" id="{FCAFFDB3-055F-B0DE-00C3-72E3DAA3D62A}"/>
              </a:ext>
            </a:extLst>
          </p:cNvPr>
          <p:cNvSpPr>
            <a:spLocks noGrp="1"/>
          </p:cNvSpPr>
          <p:nvPr>
            <p:ph type="sldNum" sz="quarter" idx="11"/>
            <p:custDataLst>
              <p:tags r:id="rId4"/>
            </p:custDataLst>
          </p:nvPr>
        </p:nvSpPr>
        <p:spPr/>
        <p:txBody>
          <a:bodyPr/>
          <a:lstStyle/>
          <a:p>
            <a:fld id="{91882AA3-08DC-0043-8CA8-8CA69DA2397E}" type="slidenum">
              <a:rPr lang="en-US" smtClean="0"/>
              <a:pPr/>
              <a:t>3</a:t>
            </a:fld>
            <a:endParaRPr lang="en-US"/>
          </a:p>
        </p:txBody>
      </p:sp>
    </p:spTree>
    <p:extLst>
      <p:ext uri="{BB962C8B-B14F-4D97-AF65-F5344CB8AC3E}">
        <p14:creationId xmlns:p14="http://schemas.microsoft.com/office/powerpoint/2010/main" val="1595317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7262D-97AD-3D89-0BE8-884219295D20}"/>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F08EB14-C5C4-2A26-9841-4682D78618E3}"/>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4F1ECE7B-00F3-3EC2-7913-B19DBECD8415}"/>
              </a:ext>
            </a:extLst>
          </p:cNvPr>
          <p:cNvSpPr>
            <a:spLocks noGrp="1"/>
          </p:cNvSpPr>
          <p:nvPr>
            <p:ph type="sldNum" sz="quarter" idx="11"/>
            <p:custDataLst>
              <p:tags r:id="rId2"/>
            </p:custDataLst>
          </p:nvPr>
        </p:nvSpPr>
        <p:spPr/>
        <p:txBody>
          <a:bodyPr/>
          <a:lstStyle/>
          <a:p>
            <a:fld id="{91882AA3-08DC-0043-8CA8-8CA69DA2397E}" type="slidenum">
              <a:rPr lang="en-US" smtClean="0"/>
              <a:pPr/>
              <a:t>30</a:t>
            </a:fld>
            <a:endParaRPr lang="en-US"/>
          </a:p>
        </p:txBody>
      </p:sp>
      <p:sp>
        <p:nvSpPr>
          <p:cNvPr id="6" name="Titre 1">
            <a:extLst>
              <a:ext uri="{FF2B5EF4-FFF2-40B4-BE49-F238E27FC236}">
                <a16:creationId xmlns:a16="http://schemas.microsoft.com/office/drawing/2014/main" id="{C02D3ABA-C0FF-4B27-0B41-CE56E262287D}"/>
              </a:ext>
            </a:extLst>
          </p:cNvPr>
          <p:cNvSpPr>
            <a:spLocks noGrp="1"/>
          </p:cNvSpPr>
          <p:nvPr>
            <p:ph type="title"/>
            <p:custDataLst>
              <p:tags r:id="rId3"/>
            </p:custDataLst>
          </p:nvPr>
        </p:nvSpPr>
        <p:spPr>
          <a:xfrm>
            <a:off x="609600" y="434789"/>
            <a:ext cx="9337792" cy="784412"/>
          </a:xfrm>
        </p:spPr>
        <p:txBody>
          <a:bodyPr/>
          <a:lstStyle/>
          <a:p>
            <a:r>
              <a:rPr lang="fr-CA"/>
              <a:t>Substitution thérapeutique </a:t>
            </a:r>
            <a:br>
              <a:rPr lang="fr-CA"/>
            </a:br>
            <a:endParaRPr lang="fr-CA"/>
          </a:p>
        </p:txBody>
      </p:sp>
      <p:sp>
        <p:nvSpPr>
          <p:cNvPr id="20" name="Content Placeholder 2">
            <a:extLst>
              <a:ext uri="{FF2B5EF4-FFF2-40B4-BE49-F238E27FC236}">
                <a16:creationId xmlns:a16="http://schemas.microsoft.com/office/drawing/2014/main" id="{CE088F33-665D-FFA8-EF9D-32122F50919B}"/>
              </a:ext>
            </a:extLst>
          </p:cNvPr>
          <p:cNvSpPr txBox="1">
            <a:spLocks/>
          </p:cNvSpPr>
          <p:nvPr>
            <p:custDataLst>
              <p:tags r:id="rId4"/>
            </p:custDataLst>
          </p:nvPr>
        </p:nvSpPr>
        <p:spPr>
          <a:xfrm>
            <a:off x="609600" y="1351540"/>
            <a:ext cx="10845798" cy="1047953"/>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cap="none">
                <a:latin typeface="Arial"/>
                <a:cs typeface="Arial"/>
              </a:rPr>
              <a:t>Étude de cas</a:t>
            </a:r>
          </a:p>
          <a:p>
            <a:pPr algn="l"/>
            <a:r>
              <a:rPr lang="fr-CA" sz="2000" b="0" cap="none">
                <a:solidFill>
                  <a:srgbClr val="454547"/>
                </a:solidFill>
                <a:latin typeface="Arial"/>
                <a:cs typeface="Arial"/>
              </a:rPr>
              <a:t>Quand on substitue le salbutamol HFA pour le Diskus, car le patient n’arrive pas à utiliser l’aérosol doseur et ne veut pas utiliser d’</a:t>
            </a:r>
            <a:r>
              <a:rPr lang="fr-CA" sz="2000" b="0" cap="none" err="1">
                <a:solidFill>
                  <a:srgbClr val="454547"/>
                </a:solidFill>
                <a:latin typeface="Arial"/>
                <a:cs typeface="Arial"/>
              </a:rPr>
              <a:t>aérochambre</a:t>
            </a:r>
            <a:r>
              <a:rPr lang="fr-CA" sz="2000" b="0" cap="none">
                <a:solidFill>
                  <a:srgbClr val="454547"/>
                </a:solidFill>
                <a:latin typeface="Arial"/>
                <a:cs typeface="Arial"/>
              </a:rPr>
              <a:t>, peut-on facturer la substitution? </a:t>
            </a:r>
            <a:endParaRPr lang="fr-CA" sz="2000" b="0" cap="none">
              <a:solidFill>
                <a:srgbClr val="454547"/>
              </a:solidFill>
              <a:cs typeface="Arial" panose="020B0604020202020204"/>
            </a:endParaRPr>
          </a:p>
        </p:txBody>
      </p:sp>
      <p:sp>
        <p:nvSpPr>
          <p:cNvPr id="25" name="Content Placeholder 2">
            <a:extLst>
              <a:ext uri="{FF2B5EF4-FFF2-40B4-BE49-F238E27FC236}">
                <a16:creationId xmlns:a16="http://schemas.microsoft.com/office/drawing/2014/main" id="{DB489343-A067-3DD2-255B-83B842CAEB8D}"/>
              </a:ext>
            </a:extLst>
          </p:cNvPr>
          <p:cNvSpPr txBox="1">
            <a:spLocks/>
          </p:cNvSpPr>
          <p:nvPr>
            <p:custDataLst>
              <p:tags r:id="rId5"/>
            </p:custDataLst>
          </p:nvPr>
        </p:nvSpPr>
        <p:spPr>
          <a:xfrm>
            <a:off x="609599" y="2866575"/>
            <a:ext cx="10845798" cy="1038990"/>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fr-CA" sz="2000" b="0" cap="none">
                <a:solidFill>
                  <a:srgbClr val="454547"/>
                </a:solidFill>
                <a:ea typeface="+mn-lt"/>
                <a:cs typeface="+mn-lt"/>
              </a:rPr>
              <a:t>Extrait de la règle 37 de l’Entente : </a:t>
            </a:r>
            <a:r>
              <a:rPr lang="fr-CA" sz="2000" b="0" i="1" cap="none">
                <a:solidFill>
                  <a:srgbClr val="454547"/>
                </a:solidFill>
                <a:ea typeface="+mn-lt"/>
                <a:cs typeface="+mn-lt"/>
              </a:rPr>
              <a:t>La substitution par un médicament de la </a:t>
            </a:r>
            <a:r>
              <a:rPr lang="fr-CA" sz="2000" i="1" cap="none">
                <a:solidFill>
                  <a:srgbClr val="454547"/>
                </a:solidFill>
                <a:ea typeface="+mn-lt"/>
                <a:cs typeface="+mn-lt"/>
              </a:rPr>
              <a:t>même dénomination commune </a:t>
            </a:r>
            <a:r>
              <a:rPr lang="fr-CA" sz="2000" b="0" i="1" cap="none">
                <a:solidFill>
                  <a:srgbClr val="454547"/>
                </a:solidFill>
                <a:ea typeface="+mn-lt"/>
                <a:cs typeface="+mn-lt"/>
              </a:rPr>
              <a:t>mais d’une autre forme pharmaceutique pour un problème relatif à son administration ne donne droit à aucun paiement en vertu de la présente règle.</a:t>
            </a:r>
          </a:p>
          <a:p>
            <a:endParaRPr lang="fr-CA" sz="2000" b="0" cap="none">
              <a:solidFill>
                <a:srgbClr val="454547"/>
              </a:solidFill>
              <a:latin typeface="Arial"/>
              <a:cs typeface="Arial"/>
            </a:endParaRPr>
          </a:p>
          <a:p>
            <a:endParaRPr lang="fr-CA" sz="2000" b="0" cap="none">
              <a:solidFill>
                <a:srgbClr val="454547"/>
              </a:solidFill>
              <a:latin typeface="Arial"/>
              <a:cs typeface="Arial"/>
            </a:endParaRPr>
          </a:p>
        </p:txBody>
      </p:sp>
    </p:spTree>
    <p:extLst>
      <p:ext uri="{BB962C8B-B14F-4D97-AF65-F5344CB8AC3E}">
        <p14:creationId xmlns:p14="http://schemas.microsoft.com/office/powerpoint/2010/main" val="35567841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63F7E-F195-F256-5F8C-71BFF2E03EF3}"/>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8BA08F5-413F-B833-606A-7B699675B21D}"/>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D4E04BF4-D869-11C4-F2ED-BDB91D5E501C}"/>
              </a:ext>
            </a:extLst>
          </p:cNvPr>
          <p:cNvSpPr>
            <a:spLocks noGrp="1"/>
          </p:cNvSpPr>
          <p:nvPr>
            <p:ph type="sldNum" sz="quarter" idx="11"/>
            <p:custDataLst>
              <p:tags r:id="rId2"/>
            </p:custDataLst>
          </p:nvPr>
        </p:nvSpPr>
        <p:spPr/>
        <p:txBody>
          <a:bodyPr/>
          <a:lstStyle/>
          <a:p>
            <a:fld id="{91882AA3-08DC-0043-8CA8-8CA69DA2397E}" type="slidenum">
              <a:rPr lang="en-US" smtClean="0"/>
              <a:pPr/>
              <a:t>31</a:t>
            </a:fld>
            <a:endParaRPr lang="en-US"/>
          </a:p>
        </p:txBody>
      </p:sp>
      <p:sp>
        <p:nvSpPr>
          <p:cNvPr id="6" name="Titre 1">
            <a:extLst>
              <a:ext uri="{FF2B5EF4-FFF2-40B4-BE49-F238E27FC236}">
                <a16:creationId xmlns:a16="http://schemas.microsoft.com/office/drawing/2014/main" id="{8BC7F22B-1E55-774A-8CEC-C2DCB490424C}"/>
              </a:ext>
            </a:extLst>
          </p:cNvPr>
          <p:cNvSpPr>
            <a:spLocks noGrp="1"/>
          </p:cNvSpPr>
          <p:nvPr>
            <p:ph type="title"/>
            <p:custDataLst>
              <p:tags r:id="rId3"/>
            </p:custDataLst>
          </p:nvPr>
        </p:nvSpPr>
        <p:spPr>
          <a:xfrm>
            <a:off x="609600" y="434789"/>
            <a:ext cx="9337792" cy="784412"/>
          </a:xfrm>
        </p:spPr>
        <p:txBody>
          <a:bodyPr/>
          <a:lstStyle/>
          <a:p>
            <a:r>
              <a:rPr lang="fr-CA"/>
              <a:t>Substitution thérapeutique </a:t>
            </a:r>
            <a:br>
              <a:rPr lang="fr-CA"/>
            </a:br>
            <a:endParaRPr lang="fr-CA"/>
          </a:p>
        </p:txBody>
      </p:sp>
      <p:sp>
        <p:nvSpPr>
          <p:cNvPr id="25" name="Content Placeholder 2">
            <a:extLst>
              <a:ext uri="{FF2B5EF4-FFF2-40B4-BE49-F238E27FC236}">
                <a16:creationId xmlns:a16="http://schemas.microsoft.com/office/drawing/2014/main" id="{6FF1367C-3326-51BC-83F6-DC3FAC3ABA82}"/>
              </a:ext>
            </a:extLst>
          </p:cNvPr>
          <p:cNvSpPr txBox="1">
            <a:spLocks/>
          </p:cNvSpPr>
          <p:nvPr>
            <p:custDataLst>
              <p:tags r:id="rId4"/>
            </p:custDataLst>
          </p:nvPr>
        </p:nvSpPr>
        <p:spPr>
          <a:xfrm>
            <a:off x="609599" y="1217070"/>
            <a:ext cx="10236198" cy="366636"/>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b="0" i="1" cap="none">
                <a:solidFill>
                  <a:srgbClr val="454547"/>
                </a:solidFill>
                <a:ea typeface="+mn-lt"/>
                <a:cs typeface="+mn-lt"/>
              </a:rPr>
              <a:t>Pour avoir droit au paiement d’une substitution thérapeutique, le pharmacien doit :</a:t>
            </a:r>
            <a:endParaRPr lang="fr-FR" i="1"/>
          </a:p>
          <a:p>
            <a:pPr algn="l"/>
            <a:endParaRPr lang="fr-CA" i="1">
              <a:ea typeface="+mn-lt"/>
              <a:cs typeface="+mn-lt"/>
            </a:endParaRPr>
          </a:p>
        </p:txBody>
      </p:sp>
      <p:sp>
        <p:nvSpPr>
          <p:cNvPr id="2" name="ZoneTexte 1">
            <a:extLst>
              <a:ext uri="{FF2B5EF4-FFF2-40B4-BE49-F238E27FC236}">
                <a16:creationId xmlns:a16="http://schemas.microsoft.com/office/drawing/2014/main" id="{636F0BBD-6FE6-4A66-3060-1EE05AFFA518}"/>
              </a:ext>
            </a:extLst>
          </p:cNvPr>
          <p:cNvSpPr txBox="1"/>
          <p:nvPr>
            <p:custDataLst>
              <p:tags r:id="rId5"/>
            </p:custDataLst>
          </p:nvPr>
        </p:nvSpPr>
        <p:spPr>
          <a:xfrm>
            <a:off x="8229040" y="1712818"/>
            <a:ext cx="2999253" cy="923330"/>
          </a:xfrm>
          <a:prstGeom prst="rect">
            <a:avLst/>
          </a:prstGeom>
          <a:noFill/>
          <a:ln>
            <a:solidFill>
              <a:schemeClr val="accent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fr-CA">
                <a:latin typeface="Arial"/>
                <a:cs typeface="Arial"/>
              </a:rPr>
              <a:t>Déléguer à l’ATP la recherche de produit et l'inscription au dossier.</a:t>
            </a:r>
          </a:p>
        </p:txBody>
      </p:sp>
      <p:sp>
        <p:nvSpPr>
          <p:cNvPr id="5" name="ZoneTexte 4">
            <a:extLst>
              <a:ext uri="{FF2B5EF4-FFF2-40B4-BE49-F238E27FC236}">
                <a16:creationId xmlns:a16="http://schemas.microsoft.com/office/drawing/2014/main" id="{0F22112C-918B-91E1-87EE-819D64E15E2E}"/>
              </a:ext>
            </a:extLst>
          </p:cNvPr>
          <p:cNvSpPr txBox="1"/>
          <p:nvPr>
            <p:custDataLst>
              <p:tags r:id="rId6"/>
            </p:custDataLst>
          </p:nvPr>
        </p:nvSpPr>
        <p:spPr>
          <a:xfrm>
            <a:off x="8229040" y="4429124"/>
            <a:ext cx="2999253" cy="923330"/>
          </a:xfrm>
          <a:prstGeom prst="rect">
            <a:avLst/>
          </a:prstGeom>
          <a:noFill/>
          <a:ln>
            <a:solidFill>
              <a:schemeClr val="accent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fr-CA">
                <a:latin typeface="Arial"/>
                <a:cs typeface="Arial"/>
              </a:rPr>
              <a:t>Rédiger l'ordonnance et documenter l'intervention auprès du patient.</a:t>
            </a:r>
          </a:p>
        </p:txBody>
      </p:sp>
      <p:sp>
        <p:nvSpPr>
          <p:cNvPr id="7" name="ZoneTexte 6">
            <a:extLst>
              <a:ext uri="{FF2B5EF4-FFF2-40B4-BE49-F238E27FC236}">
                <a16:creationId xmlns:a16="http://schemas.microsoft.com/office/drawing/2014/main" id="{F9291208-8DE8-0647-E3E2-BBFA7295F7D2}"/>
              </a:ext>
            </a:extLst>
          </p:cNvPr>
          <p:cNvSpPr txBox="1"/>
          <p:nvPr>
            <p:custDataLst>
              <p:tags r:id="rId7"/>
            </p:custDataLst>
          </p:nvPr>
        </p:nvSpPr>
        <p:spPr>
          <a:xfrm>
            <a:off x="8229039" y="2949947"/>
            <a:ext cx="2999253" cy="1200329"/>
          </a:xfrm>
          <a:prstGeom prst="rect">
            <a:avLst/>
          </a:prstGeom>
          <a:noFill/>
          <a:ln>
            <a:solidFill>
              <a:schemeClr val="accent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fr-CA">
                <a:latin typeface="Arial"/>
                <a:cs typeface="Arial"/>
              </a:rPr>
              <a:t>Communiquer verbalement le changement au patient ainsi que les conseils d'usage.</a:t>
            </a:r>
            <a:endParaRPr lang="fr-CA">
              <a:solidFill>
                <a:srgbClr val="000000"/>
              </a:solidFill>
              <a:latin typeface="Arial"/>
              <a:cs typeface="Arial"/>
            </a:endParaRPr>
          </a:p>
        </p:txBody>
      </p:sp>
      <p:sp>
        <p:nvSpPr>
          <p:cNvPr id="8" name="ZoneTexte 7">
            <a:extLst>
              <a:ext uri="{FF2B5EF4-FFF2-40B4-BE49-F238E27FC236}">
                <a16:creationId xmlns:a16="http://schemas.microsoft.com/office/drawing/2014/main" id="{A99BEFEC-38A3-8EE3-6741-0647C2598B7D}"/>
              </a:ext>
            </a:extLst>
          </p:cNvPr>
          <p:cNvSpPr txBox="1"/>
          <p:nvPr>
            <p:custDataLst>
              <p:tags r:id="rId8"/>
            </p:custDataLst>
          </p:nvPr>
        </p:nvSpPr>
        <p:spPr>
          <a:xfrm>
            <a:off x="8229040" y="5693147"/>
            <a:ext cx="2999253" cy="369332"/>
          </a:xfrm>
          <a:prstGeom prst="rect">
            <a:avLst/>
          </a:prstGeom>
          <a:noFill/>
          <a:ln>
            <a:solidFill>
              <a:schemeClr val="accent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fr-CA">
                <a:latin typeface="Arial"/>
                <a:cs typeface="Arial"/>
              </a:rPr>
              <a:t>Fax informatif au médecin.</a:t>
            </a:r>
            <a:endParaRPr lang="fr-CA">
              <a:solidFill>
                <a:srgbClr val="000000"/>
              </a:solidFill>
              <a:latin typeface="Arial"/>
              <a:cs typeface="Arial"/>
            </a:endParaRPr>
          </a:p>
        </p:txBody>
      </p:sp>
      <p:sp>
        <p:nvSpPr>
          <p:cNvPr id="9" name="Content Placeholder 2">
            <a:extLst>
              <a:ext uri="{FF2B5EF4-FFF2-40B4-BE49-F238E27FC236}">
                <a16:creationId xmlns:a16="http://schemas.microsoft.com/office/drawing/2014/main" id="{23F10C3C-7B98-0F74-6355-31DC0A66E13D}"/>
              </a:ext>
            </a:extLst>
          </p:cNvPr>
          <p:cNvSpPr txBox="1">
            <a:spLocks/>
          </p:cNvSpPr>
          <p:nvPr>
            <p:custDataLst>
              <p:tags r:id="rId9"/>
            </p:custDataLst>
          </p:nvPr>
        </p:nvSpPr>
        <p:spPr>
          <a:xfrm>
            <a:off x="609599" y="1710129"/>
            <a:ext cx="6982010" cy="4615907"/>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b="0" i="1" cap="none">
                <a:solidFill>
                  <a:srgbClr val="454547"/>
                </a:solidFill>
                <a:ea typeface="+mn-lt"/>
                <a:cs typeface="+mn-lt"/>
              </a:rPr>
              <a:t>1) dans le cas d’une substitution thérapeutique en raison d’une rupture d’approvisionnement, s’assurer qu’il ne peut obtenir le médicament auprès de deux (2) grossistes en médicaments reconnus par le ministre de la Santé et des Services sociaux en vertu de l’article 62 de la Loi sur l’assurance médicaments</a:t>
            </a:r>
            <a:endParaRPr lang="fr-CA" sz="2000" i="1">
              <a:cs typeface="Arial"/>
            </a:endParaRPr>
          </a:p>
          <a:p>
            <a:pPr algn="l"/>
            <a:r>
              <a:rPr lang="fr-CA" sz="2000" b="0" i="1" cap="none">
                <a:solidFill>
                  <a:srgbClr val="454547"/>
                </a:solidFill>
                <a:ea typeface="+mn-lt"/>
                <a:cs typeface="+mn-lt"/>
              </a:rPr>
              <a:t>2) aviser la personne assurée;</a:t>
            </a:r>
            <a:endParaRPr lang="fr-CA" sz="2000" i="1"/>
          </a:p>
          <a:p>
            <a:pPr algn="l"/>
            <a:r>
              <a:rPr lang="fr-CA" sz="2000" b="0" i="1" cap="none">
                <a:solidFill>
                  <a:srgbClr val="454547"/>
                </a:solidFill>
                <a:ea typeface="+mn-lt"/>
                <a:cs typeface="+mn-lt"/>
              </a:rPr>
              <a:t>3) inscrire au dossier de la personne assurée les démarches réalisées, la substitution effectuée et l’avis donné à cet effet à cette personne. Copie doit être fournie à la Régie sur demande;</a:t>
            </a:r>
            <a:endParaRPr lang="fr-CA" sz="2000" i="1"/>
          </a:p>
          <a:p>
            <a:r>
              <a:rPr lang="fr-CA" sz="2000" b="0" i="1" cap="none">
                <a:solidFill>
                  <a:srgbClr val="454547"/>
                </a:solidFill>
                <a:ea typeface="+mn-lt"/>
                <a:cs typeface="+mn-lt"/>
              </a:rPr>
              <a:t>4) informer le prescripteur initial de la substitution effectuée.</a:t>
            </a:r>
            <a:endParaRPr lang="fr-CA" sz="2000" i="1">
              <a:ea typeface="+mn-lt"/>
              <a:cs typeface="+mn-lt"/>
            </a:endParaRPr>
          </a:p>
          <a:p>
            <a:endParaRPr lang="fr-CA" sz="2000" b="0" i="1" cap="none">
              <a:solidFill>
                <a:srgbClr val="454547"/>
              </a:solidFill>
              <a:latin typeface="Arial"/>
              <a:cs typeface="Arial"/>
            </a:endParaRPr>
          </a:p>
          <a:p>
            <a:endParaRPr lang="fr-CA" sz="2000" b="0" i="1" cap="none">
              <a:solidFill>
                <a:srgbClr val="454547"/>
              </a:solidFill>
              <a:latin typeface="Arial"/>
              <a:cs typeface="Arial"/>
            </a:endParaRPr>
          </a:p>
        </p:txBody>
      </p:sp>
    </p:spTree>
    <p:extLst>
      <p:ext uri="{BB962C8B-B14F-4D97-AF65-F5344CB8AC3E}">
        <p14:creationId xmlns:p14="http://schemas.microsoft.com/office/powerpoint/2010/main" val="33509979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1B26F-BE96-5EA4-F195-8136DD21DB92}"/>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77580794-02CE-BCDF-55E3-51840E3AE0B1}"/>
              </a:ext>
            </a:extLst>
          </p:cNvPr>
          <p:cNvSpPr>
            <a:spLocks noGrp="1"/>
          </p:cNvSpPr>
          <p:nvPr>
            <p:ph type="ftr" sz="quarter" idx="10"/>
            <p:custDataLst>
              <p:tags r:id="rId1"/>
            </p:custDataLst>
          </p:nvPr>
        </p:nvSpPr>
        <p:spPr/>
        <p:txBody>
          <a:bodyPr/>
          <a:lstStyle/>
          <a:p>
            <a:pPr algn="l"/>
            <a:r>
              <a:rPr lang="fr-CA" dirty="0"/>
              <a:t>AQPP  |  Du patient à l'entente</a:t>
            </a:r>
            <a:endParaRPr lang="en-US" dirty="0"/>
          </a:p>
        </p:txBody>
      </p:sp>
      <p:sp>
        <p:nvSpPr>
          <p:cNvPr id="4" name="Espace réservé du numéro de diapositive 3">
            <a:extLst>
              <a:ext uri="{FF2B5EF4-FFF2-40B4-BE49-F238E27FC236}">
                <a16:creationId xmlns:a16="http://schemas.microsoft.com/office/drawing/2014/main" id="{FC4ADA14-1747-CABB-619E-94CDCFFFB960}"/>
              </a:ext>
            </a:extLst>
          </p:cNvPr>
          <p:cNvSpPr>
            <a:spLocks noGrp="1"/>
          </p:cNvSpPr>
          <p:nvPr>
            <p:ph type="sldNum" sz="quarter" idx="11"/>
            <p:custDataLst>
              <p:tags r:id="rId2"/>
            </p:custDataLst>
          </p:nvPr>
        </p:nvSpPr>
        <p:spPr/>
        <p:txBody>
          <a:bodyPr/>
          <a:lstStyle/>
          <a:p>
            <a:fld id="{91882AA3-08DC-0043-8CA8-8CA69DA2397E}" type="slidenum">
              <a:rPr lang="en-US" smtClean="0"/>
              <a:pPr/>
              <a:t>32</a:t>
            </a:fld>
            <a:endParaRPr lang="en-US"/>
          </a:p>
        </p:txBody>
      </p:sp>
      <p:sp>
        <p:nvSpPr>
          <p:cNvPr id="6" name="Titre 1">
            <a:extLst>
              <a:ext uri="{FF2B5EF4-FFF2-40B4-BE49-F238E27FC236}">
                <a16:creationId xmlns:a16="http://schemas.microsoft.com/office/drawing/2014/main" id="{0D974070-7B3B-0D1B-F3EB-641E66C7DED8}"/>
              </a:ext>
            </a:extLst>
          </p:cNvPr>
          <p:cNvSpPr>
            <a:spLocks noGrp="1"/>
          </p:cNvSpPr>
          <p:nvPr>
            <p:ph type="title"/>
            <p:custDataLst>
              <p:tags r:id="rId3"/>
            </p:custDataLst>
          </p:nvPr>
        </p:nvSpPr>
        <p:spPr>
          <a:xfrm>
            <a:off x="609600" y="739589"/>
            <a:ext cx="9337792" cy="784412"/>
          </a:xfrm>
        </p:spPr>
        <p:txBody>
          <a:bodyPr/>
          <a:lstStyle/>
          <a:p>
            <a:r>
              <a:rPr lang="fr-CA"/>
              <a:t>Substitution thérapeutique </a:t>
            </a:r>
            <a:br>
              <a:rPr lang="fr-CA"/>
            </a:br>
            <a:endParaRPr lang="fr-CA"/>
          </a:p>
        </p:txBody>
      </p:sp>
      <p:sp>
        <p:nvSpPr>
          <p:cNvPr id="20" name="Content Placeholder 2">
            <a:extLst>
              <a:ext uri="{FF2B5EF4-FFF2-40B4-BE49-F238E27FC236}">
                <a16:creationId xmlns:a16="http://schemas.microsoft.com/office/drawing/2014/main" id="{7079E9C7-FACC-7B16-A600-7240C7BEE158}"/>
              </a:ext>
            </a:extLst>
          </p:cNvPr>
          <p:cNvSpPr txBox="1">
            <a:spLocks/>
          </p:cNvSpPr>
          <p:nvPr>
            <p:custDataLst>
              <p:tags r:id="rId4"/>
            </p:custDataLst>
          </p:nvPr>
        </p:nvSpPr>
        <p:spPr>
          <a:xfrm>
            <a:off x="609600" y="1710128"/>
            <a:ext cx="10845798" cy="4230424"/>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fr-CA" sz="2000" cap="none" dirty="0">
                <a:solidFill>
                  <a:schemeClr val="tx1"/>
                </a:solidFill>
                <a:ea typeface="+mn-lt"/>
                <a:cs typeface="+mn-lt"/>
              </a:rPr>
              <a:t>Limites</a:t>
            </a:r>
            <a:endParaRPr lang="fr-FR" dirty="0">
              <a:solidFill>
                <a:schemeClr val="tx1"/>
              </a:solidFill>
            </a:endParaRPr>
          </a:p>
          <a:p>
            <a:pPr marL="342900" indent="-342900">
              <a:buFont typeface="Arial"/>
              <a:buChar char="•"/>
            </a:pPr>
            <a:r>
              <a:rPr lang="fr-CA" sz="2000" b="0" cap="none" dirty="0">
                <a:solidFill>
                  <a:srgbClr val="454547"/>
                </a:solidFill>
                <a:ea typeface="+mn-lt"/>
                <a:cs typeface="+mn-lt"/>
              </a:rPr>
              <a:t>Dans le cas d’une rupture d’approvisionnement et advenant qu’une </a:t>
            </a:r>
            <a:r>
              <a:rPr lang="fr-CA" sz="2000" b="0" cap="none" dirty="0">
                <a:ea typeface="+mn-lt"/>
                <a:cs typeface="+mn-lt"/>
              </a:rPr>
              <a:t>infolettre</a:t>
            </a:r>
            <a:r>
              <a:rPr lang="fr-CA" sz="2000" b="0" cap="none" dirty="0">
                <a:solidFill>
                  <a:srgbClr val="454547"/>
                </a:solidFill>
                <a:ea typeface="+mn-lt"/>
                <a:cs typeface="+mn-lt"/>
              </a:rPr>
              <a:t> proposant une </a:t>
            </a:r>
            <a:r>
              <a:rPr lang="fr-CA" sz="2000" b="0" cap="none" dirty="0">
                <a:ea typeface="+mn-lt"/>
                <a:cs typeface="+mn-lt"/>
              </a:rPr>
              <a:t>solution de remplacement au médicament</a:t>
            </a:r>
            <a:r>
              <a:rPr lang="fr-CA" sz="2000" b="0" cap="none" dirty="0">
                <a:solidFill>
                  <a:srgbClr val="454547"/>
                </a:solidFill>
                <a:ea typeface="+mn-lt"/>
                <a:cs typeface="+mn-lt"/>
              </a:rPr>
              <a:t> en rupture d’approvisionnement a été émise par la Régie, le pharmacien doit également s’assurer que cette alternative n’est pas disponible auprès de deux grossistes reconnus.</a:t>
            </a:r>
            <a:endParaRPr lang="fr-CA" dirty="0">
              <a:solidFill>
                <a:srgbClr val="454547"/>
              </a:solidFill>
              <a:ea typeface="+mn-lt"/>
              <a:cs typeface="+mn-lt"/>
            </a:endParaRPr>
          </a:p>
          <a:p>
            <a:pPr marL="342900" indent="-342900">
              <a:buFont typeface="Arial"/>
              <a:buChar char="•"/>
            </a:pPr>
            <a:r>
              <a:rPr lang="fr-CA" sz="2000" b="0" cap="none" dirty="0">
                <a:ea typeface="+mn-lt"/>
                <a:cs typeface="+mn-lt"/>
              </a:rPr>
              <a:t>Un seul service est payable tant que la solution de remplacement de traitement est en cours</a:t>
            </a:r>
            <a:r>
              <a:rPr lang="fr-CA" sz="2000" b="0" cap="none" dirty="0">
                <a:solidFill>
                  <a:srgbClr val="454547"/>
                </a:solidFill>
                <a:ea typeface="+mn-lt"/>
                <a:cs typeface="+mn-lt"/>
              </a:rPr>
              <a:t> et que le traitement médicamenteux est poursuivi avec la solution de remplacement déterminée par le pharmacien.</a:t>
            </a:r>
          </a:p>
          <a:p>
            <a:pPr marL="800100" lvl="1" indent="-342900">
              <a:buFont typeface="Arial"/>
              <a:buChar char="•"/>
            </a:pPr>
            <a:r>
              <a:rPr lang="fr-CA" dirty="0"/>
              <a:t>Le </a:t>
            </a:r>
            <a:r>
              <a:rPr lang="fr-CA" dirty="0">
                <a:solidFill>
                  <a:schemeClr val="accent1"/>
                </a:solidFill>
              </a:rPr>
              <a:t>retour</a:t>
            </a:r>
            <a:r>
              <a:rPr lang="fr-CA" dirty="0"/>
              <a:t> au médicament de référence ne constitue </a:t>
            </a:r>
            <a:r>
              <a:rPr lang="fr-CA" dirty="0">
                <a:solidFill>
                  <a:schemeClr val="accent1"/>
                </a:solidFill>
              </a:rPr>
              <a:t>pas</a:t>
            </a:r>
            <a:r>
              <a:rPr lang="fr-CA" dirty="0"/>
              <a:t> une deuxième substitution </a:t>
            </a:r>
            <a:r>
              <a:rPr lang="fr-CA" dirty="0">
                <a:solidFill>
                  <a:schemeClr val="accent1"/>
                </a:solidFill>
              </a:rPr>
              <a:t>facturable</a:t>
            </a:r>
            <a:r>
              <a:rPr lang="fr-CA" dirty="0"/>
              <a:t>. Le tout est compris dans le tarif perçu initialement pour la substitution.</a:t>
            </a:r>
            <a:endParaRPr lang="fr-CA" dirty="0">
              <a:solidFill>
                <a:srgbClr val="00A8EC"/>
              </a:solidFill>
              <a:ea typeface="+mn-lt"/>
              <a:cs typeface="+mn-lt"/>
            </a:endParaRPr>
          </a:p>
          <a:p>
            <a:pPr marL="342900" indent="-342900">
              <a:buFont typeface="Arial"/>
              <a:buChar char="•"/>
            </a:pPr>
            <a:r>
              <a:rPr lang="fr-CA" sz="2000" b="0" cap="none" dirty="0">
                <a:solidFill>
                  <a:srgbClr val="454547"/>
                </a:solidFill>
                <a:ea typeface="+mn-lt"/>
                <a:cs typeface="+mn-lt"/>
              </a:rPr>
              <a:t>Les </a:t>
            </a:r>
            <a:r>
              <a:rPr lang="fr-CA" sz="2000" b="0" cap="none" dirty="0">
                <a:ea typeface="+mn-lt"/>
                <a:cs typeface="+mn-lt"/>
              </a:rPr>
              <a:t>opinions pharmaceutiques relatives à la substitution </a:t>
            </a:r>
            <a:r>
              <a:rPr lang="fr-CA" sz="2000" b="0" cap="none" dirty="0">
                <a:solidFill>
                  <a:srgbClr val="454547"/>
                </a:solidFill>
                <a:ea typeface="+mn-lt"/>
                <a:cs typeface="+mn-lt"/>
              </a:rPr>
              <a:t>thérapeutique effectuée ne donnent droit à aucun paiement.</a:t>
            </a:r>
            <a:endParaRPr lang="fr-CA" dirty="0">
              <a:cs typeface="Arial" panose="020B0604020202020204"/>
            </a:endParaRPr>
          </a:p>
        </p:txBody>
      </p:sp>
    </p:spTree>
    <p:extLst>
      <p:ext uri="{BB962C8B-B14F-4D97-AF65-F5344CB8AC3E}">
        <p14:creationId xmlns:p14="http://schemas.microsoft.com/office/powerpoint/2010/main" val="28539860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34F82-0B4A-2B95-25FD-423BE2DC31CF}"/>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4EE8910C-9DB3-A7D5-A391-CDACD21718CA}"/>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2F4AC62C-1CA4-2F2A-0DCA-21FA8368C60B}"/>
              </a:ext>
            </a:extLst>
          </p:cNvPr>
          <p:cNvSpPr>
            <a:spLocks noGrp="1"/>
          </p:cNvSpPr>
          <p:nvPr>
            <p:ph type="sldNum" sz="quarter" idx="11"/>
            <p:custDataLst>
              <p:tags r:id="rId2"/>
            </p:custDataLst>
          </p:nvPr>
        </p:nvSpPr>
        <p:spPr/>
        <p:txBody>
          <a:bodyPr/>
          <a:lstStyle/>
          <a:p>
            <a:fld id="{91882AA3-08DC-0043-8CA8-8CA69DA2397E}" type="slidenum">
              <a:rPr lang="en-US" smtClean="0"/>
              <a:pPr/>
              <a:t>33</a:t>
            </a:fld>
            <a:endParaRPr lang="en-US"/>
          </a:p>
        </p:txBody>
      </p:sp>
      <p:sp>
        <p:nvSpPr>
          <p:cNvPr id="9" name="Content Placeholder 2">
            <a:extLst>
              <a:ext uri="{FF2B5EF4-FFF2-40B4-BE49-F238E27FC236}">
                <a16:creationId xmlns:a16="http://schemas.microsoft.com/office/drawing/2014/main" id="{AFD69959-1AD9-27AE-841D-7BF4FE622994}"/>
              </a:ext>
            </a:extLst>
          </p:cNvPr>
          <p:cNvSpPr txBox="1">
            <a:spLocks/>
          </p:cNvSpPr>
          <p:nvPr>
            <p:custDataLst>
              <p:tags r:id="rId3"/>
            </p:custDataLst>
          </p:nvPr>
        </p:nvSpPr>
        <p:spPr>
          <a:xfrm>
            <a:off x="609600" y="1556793"/>
            <a:ext cx="10845798" cy="4248472"/>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342900" indent="-342900" algn="l">
              <a:buFont typeface="Arial" panose="020B0604020202020204" pitchFamily="34" charset="0"/>
              <a:buChar char="•"/>
            </a:pPr>
            <a:r>
              <a:rPr lang="fr-CA" sz="2000" b="0" cap="none">
                <a:solidFill>
                  <a:srgbClr val="454547"/>
                </a:solidFill>
                <a:ea typeface="+mn-lt"/>
                <a:cs typeface="+mn-lt"/>
              </a:rPr>
              <a:t>Règle 35 de l’Entente pour le service d’évaluation aux fins de prolonger une ordonnance et sa prolongation </a:t>
            </a:r>
          </a:p>
          <a:p>
            <a:pPr marL="342900" indent="-342900" algn="l">
              <a:buFont typeface="Arial" panose="020B0604020202020204" pitchFamily="34" charset="0"/>
              <a:buChar char="•"/>
            </a:pPr>
            <a:r>
              <a:rPr lang="fr-CA" sz="2000" b="0" cap="none">
                <a:solidFill>
                  <a:srgbClr val="454547"/>
                </a:solidFill>
                <a:ea typeface="+mn-lt"/>
                <a:cs typeface="+mn-lt"/>
              </a:rPr>
              <a:t>Documentation au dossier</a:t>
            </a:r>
            <a:endParaRPr lang="fr-CA" sz="2000">
              <a:solidFill>
                <a:srgbClr val="00A8EC"/>
              </a:solidFill>
              <a:ea typeface="+mn-lt"/>
              <a:cs typeface="+mn-lt"/>
            </a:endParaRPr>
          </a:p>
          <a:p>
            <a:pPr marL="800100" lvl="1" indent="-342900" algn="l"/>
            <a:r>
              <a:rPr lang="fr-CA" sz="2000" b="0" cap="none">
                <a:solidFill>
                  <a:srgbClr val="454547"/>
                </a:solidFill>
                <a:ea typeface="+mn-lt"/>
                <a:cs typeface="+mn-lt"/>
              </a:rPr>
              <a:t>La démarche d’évaluation selon les normes professionnelles en vigueur </a:t>
            </a:r>
          </a:p>
          <a:p>
            <a:pPr marL="1257300" lvl="2" indent="-342900" algn="l"/>
            <a:r>
              <a:rPr lang="fr-CA" sz="2000">
                <a:solidFill>
                  <a:srgbClr val="454547"/>
                </a:solidFill>
                <a:ea typeface="+mn-lt"/>
                <a:cs typeface="+mn-lt"/>
              </a:rPr>
              <a:t>Selon</a:t>
            </a:r>
            <a:r>
              <a:rPr lang="fr-CA" sz="2000" i="1">
                <a:solidFill>
                  <a:srgbClr val="454547"/>
                </a:solidFill>
                <a:ea typeface="+mn-lt"/>
                <a:cs typeface="+mn-lt"/>
              </a:rPr>
              <a:t> </a:t>
            </a:r>
            <a:r>
              <a:rPr lang="fr-CA" sz="2000">
                <a:solidFill>
                  <a:srgbClr val="454547"/>
                </a:solidFill>
                <a:ea typeface="+mn-lt"/>
                <a:cs typeface="+mn-lt"/>
              </a:rPr>
              <a:t>le </a:t>
            </a:r>
            <a:r>
              <a:rPr lang="fr-CA" sz="2000" i="1">
                <a:solidFill>
                  <a:srgbClr val="454547"/>
                </a:solidFill>
                <a:ea typeface="+mn-lt"/>
                <a:cs typeface="+mn-lt"/>
              </a:rPr>
              <a:t>Règlement sur l’amorce et la modification d’une thérapie médicamenteuse, sur l’administration d’un médicament et sur la prescription de tests par un pharmacien</a:t>
            </a:r>
            <a:r>
              <a:rPr lang="fr-CA" sz="2000">
                <a:solidFill>
                  <a:srgbClr val="454547"/>
                </a:solidFill>
                <a:ea typeface="+mn-lt"/>
                <a:cs typeface="+mn-lt"/>
              </a:rPr>
              <a:t>, </a:t>
            </a:r>
            <a:r>
              <a:rPr lang="fr-CA" sz="2000">
                <a:solidFill>
                  <a:schemeClr val="accent1"/>
                </a:solidFill>
                <a:ea typeface="+mn-lt"/>
                <a:cs typeface="+mn-lt"/>
              </a:rPr>
              <a:t>le pharmacien qui prolonge une ordonnance recommande au patient d’obtenir un suivi clinique approprié</a:t>
            </a:r>
            <a:r>
              <a:rPr lang="fr-CA" sz="2000">
                <a:solidFill>
                  <a:srgbClr val="454547"/>
                </a:solidFill>
                <a:ea typeface="+mn-lt"/>
                <a:cs typeface="+mn-lt"/>
              </a:rPr>
              <a:t>.</a:t>
            </a:r>
          </a:p>
          <a:p>
            <a:pPr marL="800100" lvl="1" indent="-342900" algn="l"/>
            <a:r>
              <a:rPr lang="fr-CA" sz="2000" b="0" cap="none">
                <a:solidFill>
                  <a:srgbClr val="454547"/>
                </a:solidFill>
                <a:ea typeface="+mn-lt"/>
                <a:cs typeface="+mn-lt"/>
              </a:rPr>
              <a:t>Date de l’entrevue (</a:t>
            </a:r>
            <a:r>
              <a:rPr lang="fr-CA" sz="2000" b="0" cap="none">
                <a:solidFill>
                  <a:schemeClr val="accent1"/>
                </a:solidFill>
                <a:ea typeface="+mn-lt"/>
                <a:cs typeface="+mn-lt"/>
              </a:rPr>
              <a:t>implicite</a:t>
            </a:r>
            <a:r>
              <a:rPr lang="fr-CA" sz="2000" b="0" cap="none">
                <a:solidFill>
                  <a:srgbClr val="454547"/>
                </a:solidFill>
                <a:ea typeface="+mn-lt"/>
                <a:cs typeface="+mn-lt"/>
              </a:rPr>
              <a:t> si on prolonge)</a:t>
            </a:r>
          </a:p>
          <a:p>
            <a:pPr marL="800100" lvl="1" indent="-342900" algn="l"/>
            <a:r>
              <a:rPr lang="fr-CA" sz="2000" b="0" cap="none">
                <a:solidFill>
                  <a:srgbClr val="454547"/>
                </a:solidFill>
                <a:ea typeface="+mn-lt"/>
                <a:cs typeface="+mn-lt"/>
              </a:rPr>
              <a:t>La décision rendue (</a:t>
            </a:r>
            <a:r>
              <a:rPr lang="fr-CA" sz="2000" b="0" cap="none">
                <a:solidFill>
                  <a:schemeClr val="accent1"/>
                </a:solidFill>
                <a:ea typeface="+mn-lt"/>
                <a:cs typeface="+mn-lt"/>
              </a:rPr>
              <a:t>implicite</a:t>
            </a:r>
            <a:r>
              <a:rPr lang="fr-CA" sz="2000" b="0" cap="none">
                <a:solidFill>
                  <a:srgbClr val="454547"/>
                </a:solidFill>
                <a:ea typeface="+mn-lt"/>
                <a:cs typeface="+mn-lt"/>
              </a:rPr>
              <a:t> si on prolonge)</a:t>
            </a:r>
            <a:endParaRPr lang="fr-CA" sz="2000" b="0" cap="none">
              <a:solidFill>
                <a:srgbClr val="454547"/>
              </a:solidFill>
              <a:cs typeface="Arial"/>
            </a:endParaRPr>
          </a:p>
          <a:p>
            <a:pPr marL="342900" indent="-342900" algn="l">
              <a:buFont typeface="Arial" panose="020B0604020202020204" pitchFamily="34" charset="0"/>
              <a:buChar char="•"/>
            </a:pPr>
            <a:endParaRPr lang="fr-CA" sz="2000" b="0" cap="none">
              <a:solidFill>
                <a:srgbClr val="454547"/>
              </a:solidFill>
              <a:ea typeface="+mn-lt"/>
              <a:cs typeface="+mn-lt"/>
            </a:endParaRPr>
          </a:p>
        </p:txBody>
      </p:sp>
      <p:sp>
        <p:nvSpPr>
          <p:cNvPr id="8" name="ZoneTexte 7">
            <a:extLst>
              <a:ext uri="{FF2B5EF4-FFF2-40B4-BE49-F238E27FC236}">
                <a16:creationId xmlns:a16="http://schemas.microsoft.com/office/drawing/2014/main" id="{AF1510A1-6357-6504-79A0-2D441BAC5BB1}"/>
              </a:ext>
            </a:extLst>
          </p:cNvPr>
          <p:cNvSpPr txBox="1"/>
          <p:nvPr>
            <p:custDataLst>
              <p:tags r:id="rId4"/>
            </p:custDataLst>
          </p:nvPr>
        </p:nvSpPr>
        <p:spPr>
          <a:xfrm>
            <a:off x="484094" y="627529"/>
            <a:ext cx="1022872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CA" sz="3600">
                <a:solidFill>
                  <a:srgbClr val="3863AC"/>
                </a:solidFill>
                <a:latin typeface="Arial"/>
              </a:rPr>
              <a:t>Prolongation</a:t>
            </a:r>
            <a:endParaRPr lang="fr-CA" sz="3600"/>
          </a:p>
        </p:txBody>
      </p:sp>
    </p:spTree>
    <p:extLst>
      <p:ext uri="{BB962C8B-B14F-4D97-AF65-F5344CB8AC3E}">
        <p14:creationId xmlns:p14="http://schemas.microsoft.com/office/powerpoint/2010/main" val="7933439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0D64F-5514-663D-A9C4-42B208767CE2}"/>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B7B2685C-ACAF-47B6-D09D-E57B465FFD48}"/>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8A596421-8A9B-9961-2BF8-30D25F096888}"/>
              </a:ext>
            </a:extLst>
          </p:cNvPr>
          <p:cNvSpPr>
            <a:spLocks noGrp="1"/>
          </p:cNvSpPr>
          <p:nvPr>
            <p:ph type="sldNum" sz="quarter" idx="11"/>
            <p:custDataLst>
              <p:tags r:id="rId2"/>
            </p:custDataLst>
          </p:nvPr>
        </p:nvSpPr>
        <p:spPr/>
        <p:txBody>
          <a:bodyPr/>
          <a:lstStyle/>
          <a:p>
            <a:fld id="{91882AA3-08DC-0043-8CA8-8CA69DA2397E}" type="slidenum">
              <a:rPr lang="en-US" smtClean="0"/>
              <a:pPr/>
              <a:t>34</a:t>
            </a:fld>
            <a:endParaRPr lang="en-US"/>
          </a:p>
        </p:txBody>
      </p:sp>
      <p:sp>
        <p:nvSpPr>
          <p:cNvPr id="6" name="Titre 1">
            <a:extLst>
              <a:ext uri="{FF2B5EF4-FFF2-40B4-BE49-F238E27FC236}">
                <a16:creationId xmlns:a16="http://schemas.microsoft.com/office/drawing/2014/main" id="{0F07BC01-8A53-949B-49BE-57C315D3E460}"/>
              </a:ext>
            </a:extLst>
          </p:cNvPr>
          <p:cNvSpPr>
            <a:spLocks noGrp="1"/>
          </p:cNvSpPr>
          <p:nvPr>
            <p:ph type="title"/>
            <p:custDataLst>
              <p:tags r:id="rId3"/>
            </p:custDataLst>
          </p:nvPr>
        </p:nvSpPr>
        <p:spPr>
          <a:xfrm>
            <a:off x="609600" y="739589"/>
            <a:ext cx="9337792" cy="784412"/>
          </a:xfrm>
        </p:spPr>
        <p:txBody>
          <a:bodyPr/>
          <a:lstStyle/>
          <a:p>
            <a:r>
              <a:rPr lang="fr-CA"/>
              <a:t>Prolongation</a:t>
            </a:r>
            <a:br>
              <a:rPr lang="fr-CA"/>
            </a:br>
            <a:endParaRPr lang="fr-CA">
              <a:cs typeface="Arial"/>
            </a:endParaRPr>
          </a:p>
        </p:txBody>
      </p:sp>
      <p:sp>
        <p:nvSpPr>
          <p:cNvPr id="9" name="Content Placeholder 2">
            <a:extLst>
              <a:ext uri="{FF2B5EF4-FFF2-40B4-BE49-F238E27FC236}">
                <a16:creationId xmlns:a16="http://schemas.microsoft.com/office/drawing/2014/main" id="{52A9373B-6687-8822-2AAE-50B1C9B7F8CA}"/>
              </a:ext>
            </a:extLst>
          </p:cNvPr>
          <p:cNvSpPr txBox="1">
            <a:spLocks/>
          </p:cNvSpPr>
          <p:nvPr>
            <p:custDataLst>
              <p:tags r:id="rId4"/>
            </p:custDataLst>
          </p:nvPr>
        </p:nvSpPr>
        <p:spPr>
          <a:xfrm>
            <a:off x="609600" y="1826669"/>
            <a:ext cx="10845798" cy="4216976"/>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b="0" cap="none" dirty="0">
                <a:solidFill>
                  <a:srgbClr val="454547"/>
                </a:solidFill>
                <a:ea typeface="+mn-lt"/>
                <a:cs typeface="+mn-lt"/>
              </a:rPr>
              <a:t>Tarif </a:t>
            </a:r>
            <a:endParaRPr lang="fr-CA" sz="2000" b="0" i="1" cap="none" dirty="0">
              <a:solidFill>
                <a:srgbClr val="454547"/>
              </a:solidFill>
              <a:ea typeface="+mn-lt"/>
              <a:cs typeface="+mn-lt"/>
            </a:endParaRPr>
          </a:p>
          <a:p>
            <a:pPr algn="l"/>
            <a:endParaRPr lang="fr-CA" sz="2000" b="0" i="1" cap="none" dirty="0">
              <a:solidFill>
                <a:srgbClr val="454547"/>
              </a:solidFill>
              <a:ea typeface="+mn-lt"/>
              <a:cs typeface="+mn-lt"/>
            </a:endParaRPr>
          </a:p>
          <a:p>
            <a:pPr algn="l"/>
            <a:endParaRPr lang="fr-CA" sz="2000" b="0" i="1" cap="none" dirty="0">
              <a:solidFill>
                <a:srgbClr val="454547"/>
              </a:solidFill>
              <a:ea typeface="+mn-lt"/>
              <a:cs typeface="+mn-lt"/>
            </a:endParaRPr>
          </a:p>
          <a:p>
            <a:pPr algn="l"/>
            <a:r>
              <a:rPr lang="fr-CA" sz="2000" b="0" cap="none" dirty="0">
                <a:solidFill>
                  <a:srgbClr val="454547"/>
                </a:solidFill>
                <a:ea typeface="+mn-lt"/>
                <a:cs typeface="+mn-lt"/>
              </a:rPr>
              <a:t>Il s’agit d’une garantie du RGAM</a:t>
            </a:r>
          </a:p>
          <a:p>
            <a:pPr algn="l"/>
            <a:endParaRPr lang="fr-CA" sz="2000" b="0" cap="none" dirty="0">
              <a:solidFill>
                <a:srgbClr val="454547"/>
              </a:solidFill>
              <a:ea typeface="+mn-lt"/>
              <a:cs typeface="+mn-lt"/>
            </a:endParaRPr>
          </a:p>
          <a:p>
            <a:pPr algn="l"/>
            <a:r>
              <a:rPr lang="fr-CA" sz="2000" b="0" cap="none" dirty="0">
                <a:solidFill>
                  <a:srgbClr val="454547"/>
                </a:solidFill>
                <a:ea typeface="+mn-lt"/>
                <a:cs typeface="+mn-lt"/>
              </a:rPr>
              <a:t>Limites</a:t>
            </a:r>
          </a:p>
          <a:p>
            <a:pPr marL="342900" indent="-342900" algn="l">
              <a:buFont typeface="Arial" panose="020B0604020202020204" pitchFamily="34" charset="0"/>
              <a:buChar char="•"/>
            </a:pPr>
            <a:r>
              <a:rPr lang="fr-CA" sz="2000" b="0" cap="none" dirty="0">
                <a:solidFill>
                  <a:srgbClr val="454547"/>
                </a:solidFill>
                <a:ea typeface="+mn-lt"/>
                <a:cs typeface="+mn-lt"/>
              </a:rPr>
              <a:t>Seules les prolongations de </a:t>
            </a:r>
            <a:r>
              <a:rPr lang="fr-CA" sz="2000" b="0" cap="none" dirty="0">
                <a:ea typeface="+mn-lt"/>
                <a:cs typeface="+mn-lt"/>
              </a:rPr>
              <a:t>plus de 30 jours </a:t>
            </a:r>
            <a:r>
              <a:rPr lang="fr-CA" sz="2000" b="0" cap="none" dirty="0">
                <a:solidFill>
                  <a:srgbClr val="454547"/>
                </a:solidFill>
                <a:ea typeface="+mn-lt"/>
                <a:cs typeface="+mn-lt"/>
              </a:rPr>
              <a:t>sont facturables.</a:t>
            </a:r>
          </a:p>
          <a:p>
            <a:pPr marL="342900" indent="-342900" algn="l">
              <a:buFont typeface="Arial" panose="020B0604020202020204" pitchFamily="34" charset="0"/>
              <a:buChar char="•"/>
            </a:pPr>
            <a:r>
              <a:rPr lang="fr-CA" sz="2000" b="0" cap="none" dirty="0">
                <a:solidFill>
                  <a:srgbClr val="454547"/>
                </a:solidFill>
                <a:ea typeface="+mn-lt"/>
                <a:cs typeface="+mn-lt"/>
              </a:rPr>
              <a:t>Tarif facturable </a:t>
            </a:r>
            <a:r>
              <a:rPr lang="fr-CA" sz="2000" b="0" cap="none" dirty="0">
                <a:ea typeface="+mn-lt"/>
                <a:cs typeface="+mn-lt"/>
              </a:rPr>
              <a:t>trois fois par période de 12 mois </a:t>
            </a:r>
            <a:r>
              <a:rPr lang="fr-CA" sz="2000" b="0" cap="none" dirty="0">
                <a:solidFill>
                  <a:srgbClr val="454547"/>
                </a:solidFill>
                <a:ea typeface="+mn-lt"/>
                <a:cs typeface="+mn-lt"/>
              </a:rPr>
              <a:t>par personne assurée.</a:t>
            </a:r>
            <a:endParaRPr lang="fr-CA" dirty="0">
              <a:solidFill>
                <a:srgbClr val="00A8EC"/>
              </a:solidFill>
              <a:ea typeface="+mn-lt"/>
              <a:cs typeface="+mn-lt"/>
            </a:endParaRPr>
          </a:p>
          <a:p>
            <a:pPr marL="342900" indent="-342900" algn="l">
              <a:buFont typeface="Arial" panose="020B0604020202020204" pitchFamily="34" charset="0"/>
              <a:buChar char="•"/>
            </a:pPr>
            <a:r>
              <a:rPr lang="fr-CA" sz="2000" b="0" cap="none" dirty="0">
                <a:solidFill>
                  <a:srgbClr val="454547"/>
                </a:solidFill>
                <a:cs typeface="Arial"/>
              </a:rPr>
              <a:t>Les </a:t>
            </a:r>
            <a:r>
              <a:rPr lang="fr-CA" sz="2000" b="0" cap="none" dirty="0">
                <a:cs typeface="Arial"/>
              </a:rPr>
              <a:t>opinions pharmaceutiques </a:t>
            </a:r>
            <a:r>
              <a:rPr lang="fr-CA" sz="2000" b="0" cap="none" dirty="0">
                <a:solidFill>
                  <a:srgbClr val="454547"/>
                </a:solidFill>
                <a:cs typeface="Arial"/>
              </a:rPr>
              <a:t>liées à l’évaluation aux fins de prolonger une ordonnance ne donnent droit à </a:t>
            </a:r>
            <a:r>
              <a:rPr lang="fr-CA" sz="2000" b="0" cap="none" dirty="0">
                <a:cs typeface="Arial"/>
              </a:rPr>
              <a:t>aucun paiement</a:t>
            </a:r>
            <a:r>
              <a:rPr lang="fr-CA" sz="2000" b="0" cap="none" dirty="0">
                <a:solidFill>
                  <a:srgbClr val="454547"/>
                </a:solidFill>
                <a:cs typeface="Arial"/>
              </a:rPr>
              <a:t>.</a:t>
            </a:r>
            <a:endParaRPr lang="fr-CA" dirty="0"/>
          </a:p>
        </p:txBody>
      </p:sp>
      <p:pic>
        <p:nvPicPr>
          <p:cNvPr id="10" name="Image 9">
            <a:extLst>
              <a:ext uri="{FF2B5EF4-FFF2-40B4-BE49-F238E27FC236}">
                <a16:creationId xmlns:a16="http://schemas.microsoft.com/office/drawing/2014/main" id="{2808F9B5-31FE-BB9D-7EAE-7E3E71D93517}"/>
              </a:ext>
            </a:extLst>
          </p:cNvPr>
          <p:cNvPicPr>
            <a:picLocks noChangeAspect="1"/>
          </p:cNvPicPr>
          <p:nvPr>
            <p:custDataLst>
              <p:tags r:id="rId5"/>
            </p:custDataLst>
          </p:nvPr>
        </p:nvPicPr>
        <p:blipFill>
          <a:blip r:embed="rId9"/>
          <a:srcRect l="64702" t="46643" b="11063"/>
          <a:stretch>
            <a:fillRect/>
          </a:stretch>
        </p:blipFill>
        <p:spPr>
          <a:xfrm>
            <a:off x="7358341" y="2420888"/>
            <a:ext cx="3742011" cy="576064"/>
          </a:xfrm>
          <a:prstGeom prst="rect">
            <a:avLst/>
          </a:prstGeom>
          <a:ln>
            <a:solidFill>
              <a:schemeClr val="tx1"/>
            </a:solidFill>
          </a:ln>
        </p:spPr>
      </p:pic>
      <p:pic>
        <p:nvPicPr>
          <p:cNvPr id="2" name="Image 1">
            <a:extLst>
              <a:ext uri="{FF2B5EF4-FFF2-40B4-BE49-F238E27FC236}">
                <a16:creationId xmlns:a16="http://schemas.microsoft.com/office/drawing/2014/main" id="{41358319-0703-DDE8-31C7-E0BFCE9FA1C3}"/>
              </a:ext>
            </a:extLst>
          </p:cNvPr>
          <p:cNvPicPr>
            <a:picLocks noChangeAspect="1"/>
          </p:cNvPicPr>
          <p:nvPr>
            <p:custDataLst>
              <p:tags r:id="rId6"/>
            </p:custDataLst>
          </p:nvPr>
        </p:nvPicPr>
        <p:blipFill>
          <a:blip r:embed="rId9"/>
          <a:srcRect t="1003" r="36022" b="56704"/>
          <a:stretch>
            <a:fillRect/>
          </a:stretch>
        </p:blipFill>
        <p:spPr>
          <a:xfrm>
            <a:off x="575797" y="2420888"/>
            <a:ext cx="6782544" cy="576064"/>
          </a:xfrm>
          <a:prstGeom prst="rect">
            <a:avLst/>
          </a:prstGeom>
          <a:ln>
            <a:solidFill>
              <a:schemeClr val="tx1"/>
            </a:solidFill>
          </a:ln>
        </p:spPr>
      </p:pic>
    </p:spTree>
    <p:extLst>
      <p:ext uri="{BB962C8B-B14F-4D97-AF65-F5344CB8AC3E}">
        <p14:creationId xmlns:p14="http://schemas.microsoft.com/office/powerpoint/2010/main" val="25867747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14B26-0FCF-036C-9AA2-1C78885C85E0}"/>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3D95BE-825B-7184-A6A5-6D5E29A6BB37}"/>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A362878D-5629-76F7-BAC4-F7CB9618E09A}"/>
              </a:ext>
            </a:extLst>
          </p:cNvPr>
          <p:cNvSpPr>
            <a:spLocks noGrp="1"/>
          </p:cNvSpPr>
          <p:nvPr>
            <p:ph type="sldNum" sz="quarter" idx="11"/>
            <p:custDataLst>
              <p:tags r:id="rId2"/>
            </p:custDataLst>
          </p:nvPr>
        </p:nvSpPr>
        <p:spPr/>
        <p:txBody>
          <a:bodyPr/>
          <a:lstStyle/>
          <a:p>
            <a:fld id="{91882AA3-08DC-0043-8CA8-8CA69DA2397E}" type="slidenum">
              <a:rPr lang="en-US" smtClean="0"/>
              <a:pPr/>
              <a:t>35</a:t>
            </a:fld>
            <a:endParaRPr lang="en-US"/>
          </a:p>
        </p:txBody>
      </p:sp>
      <p:sp>
        <p:nvSpPr>
          <p:cNvPr id="6" name="Titre 1">
            <a:extLst>
              <a:ext uri="{FF2B5EF4-FFF2-40B4-BE49-F238E27FC236}">
                <a16:creationId xmlns:a16="http://schemas.microsoft.com/office/drawing/2014/main" id="{9E313D23-47FE-BD81-A3CD-11C8490E76F2}"/>
              </a:ext>
            </a:extLst>
          </p:cNvPr>
          <p:cNvSpPr>
            <a:spLocks noGrp="1"/>
          </p:cNvSpPr>
          <p:nvPr>
            <p:ph type="title"/>
            <p:custDataLst>
              <p:tags r:id="rId3"/>
            </p:custDataLst>
          </p:nvPr>
        </p:nvSpPr>
        <p:spPr>
          <a:xfrm>
            <a:off x="609600" y="739589"/>
            <a:ext cx="9337792" cy="784412"/>
          </a:xfrm>
        </p:spPr>
        <p:txBody>
          <a:bodyPr/>
          <a:lstStyle/>
          <a:p>
            <a:r>
              <a:rPr lang="fr-CA"/>
              <a:t>Prolongation </a:t>
            </a:r>
            <a:br>
              <a:rPr lang="fr-CA"/>
            </a:br>
            <a:endParaRPr lang="fr-CA"/>
          </a:p>
        </p:txBody>
      </p:sp>
      <p:sp>
        <p:nvSpPr>
          <p:cNvPr id="9" name="Content Placeholder 2">
            <a:extLst>
              <a:ext uri="{FF2B5EF4-FFF2-40B4-BE49-F238E27FC236}">
                <a16:creationId xmlns:a16="http://schemas.microsoft.com/office/drawing/2014/main" id="{065DCC73-FB3F-2DDE-9A59-F2E149034720}"/>
              </a:ext>
            </a:extLst>
          </p:cNvPr>
          <p:cNvSpPr txBox="1">
            <a:spLocks/>
          </p:cNvSpPr>
          <p:nvPr>
            <p:custDataLst>
              <p:tags r:id="rId4"/>
            </p:custDataLst>
          </p:nvPr>
        </p:nvSpPr>
        <p:spPr>
          <a:xfrm>
            <a:off x="609600" y="1674439"/>
            <a:ext cx="5486400" cy="1789428"/>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cap="none">
                <a:latin typeface="Arial"/>
                <a:cs typeface="Arial"/>
              </a:rPr>
              <a:t>Étude de cas </a:t>
            </a:r>
          </a:p>
          <a:p>
            <a:pPr algn="l"/>
            <a:r>
              <a:rPr lang="fr-CA" sz="2000" b="0" cap="none">
                <a:solidFill>
                  <a:srgbClr val="454547"/>
                </a:solidFill>
                <a:ea typeface="+mn-lt"/>
                <a:cs typeface="+mn-lt"/>
              </a:rPr>
              <a:t>Est-ce que le pharmacien peut prolonger une ordonnance d’un patient indéfiniment pour un patient orphelin si la condition thérapeutique le justifie, par exemple chez un patient dont l’état est stable? </a:t>
            </a:r>
          </a:p>
        </p:txBody>
      </p:sp>
      <p:pic>
        <p:nvPicPr>
          <p:cNvPr id="5" name="Image 4">
            <a:extLst>
              <a:ext uri="{FF2B5EF4-FFF2-40B4-BE49-F238E27FC236}">
                <a16:creationId xmlns:a16="http://schemas.microsoft.com/office/drawing/2014/main" id="{CF05C139-634B-D285-3280-A9D3A77AD0AD}"/>
              </a:ext>
            </a:extLst>
          </p:cNvPr>
          <p:cNvPicPr>
            <a:picLocks noChangeAspect="1"/>
          </p:cNvPicPr>
          <p:nvPr>
            <p:custDataLst>
              <p:tags r:id="rId5"/>
            </p:custDataLst>
          </p:nvPr>
        </p:nvPicPr>
        <p:blipFill>
          <a:blip r:embed="rId10"/>
          <a:stretch>
            <a:fillRect/>
          </a:stretch>
        </p:blipFill>
        <p:spPr>
          <a:xfrm>
            <a:off x="6738796" y="589151"/>
            <a:ext cx="3637557" cy="5506460"/>
          </a:xfrm>
          <a:prstGeom prst="rect">
            <a:avLst/>
          </a:prstGeom>
        </p:spPr>
      </p:pic>
      <p:pic>
        <p:nvPicPr>
          <p:cNvPr id="7" name="Image 6">
            <a:extLst>
              <a:ext uri="{FF2B5EF4-FFF2-40B4-BE49-F238E27FC236}">
                <a16:creationId xmlns:a16="http://schemas.microsoft.com/office/drawing/2014/main" id="{104F430B-772A-8432-55B1-8255BB3B3F31}"/>
              </a:ext>
            </a:extLst>
          </p:cNvPr>
          <p:cNvPicPr>
            <a:picLocks noChangeAspect="1"/>
          </p:cNvPicPr>
          <p:nvPr>
            <p:custDataLst>
              <p:tags r:id="rId6"/>
            </p:custDataLst>
          </p:nvPr>
        </p:nvPicPr>
        <p:blipFill>
          <a:blip r:embed="rId11"/>
          <a:stretch>
            <a:fillRect/>
          </a:stretch>
        </p:blipFill>
        <p:spPr>
          <a:xfrm>
            <a:off x="479377" y="3850995"/>
            <a:ext cx="6259420" cy="1043237"/>
          </a:xfrm>
          <a:prstGeom prst="rect">
            <a:avLst/>
          </a:prstGeom>
        </p:spPr>
      </p:pic>
      <p:sp>
        <p:nvSpPr>
          <p:cNvPr id="10" name="ZoneTexte 9">
            <a:extLst>
              <a:ext uri="{FF2B5EF4-FFF2-40B4-BE49-F238E27FC236}">
                <a16:creationId xmlns:a16="http://schemas.microsoft.com/office/drawing/2014/main" id="{03B15313-8185-4212-3BED-128808553F1B}"/>
              </a:ext>
            </a:extLst>
          </p:cNvPr>
          <p:cNvSpPr txBox="1"/>
          <p:nvPr>
            <p:custDataLst>
              <p:tags r:id="rId7"/>
            </p:custDataLst>
          </p:nvPr>
        </p:nvSpPr>
        <p:spPr>
          <a:xfrm>
            <a:off x="1703512" y="4907779"/>
            <a:ext cx="5112567" cy="276999"/>
          </a:xfrm>
          <a:prstGeom prst="rect">
            <a:avLst/>
          </a:prstGeom>
          <a:noFill/>
        </p:spPr>
        <p:txBody>
          <a:bodyPr wrap="square" rtlCol="0">
            <a:spAutoFit/>
          </a:bodyPr>
          <a:lstStyle/>
          <a:p>
            <a:r>
              <a:rPr lang="fr-CA" sz="1200">
                <a:latin typeface="+mj-lt"/>
              </a:rPr>
              <a:t>Denis Roy, </a:t>
            </a:r>
            <a:r>
              <a:rPr lang="fr-CA" sz="1200" i="1">
                <a:latin typeface="+mj-lt"/>
              </a:rPr>
              <a:t>D’abord, ne pas nuire (2 de 2), </a:t>
            </a:r>
            <a:r>
              <a:rPr lang="fr-CA" sz="1200">
                <a:latin typeface="+mj-lt"/>
              </a:rPr>
              <a:t>Profession santé, </a:t>
            </a:r>
            <a:r>
              <a:rPr lang="fr-CA" sz="1200" cap="all">
                <a:latin typeface="+mj-lt"/>
              </a:rPr>
              <a:t>15/04/2025</a:t>
            </a:r>
            <a:endParaRPr lang="fr-CA" sz="1200">
              <a:latin typeface="+mj-lt"/>
            </a:endParaRPr>
          </a:p>
        </p:txBody>
      </p:sp>
    </p:spTree>
    <p:extLst>
      <p:ext uri="{BB962C8B-B14F-4D97-AF65-F5344CB8AC3E}">
        <p14:creationId xmlns:p14="http://schemas.microsoft.com/office/powerpoint/2010/main" val="38564558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54BA0-36C4-FA2B-EA64-BA3566284215}"/>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0ED2978-0B9E-6176-3D05-05095CFC86F0}"/>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DEDA6700-B665-FA84-0E4A-F90DF4C05D17}"/>
              </a:ext>
            </a:extLst>
          </p:cNvPr>
          <p:cNvSpPr>
            <a:spLocks noGrp="1"/>
          </p:cNvSpPr>
          <p:nvPr>
            <p:ph type="sldNum" sz="quarter" idx="11"/>
            <p:custDataLst>
              <p:tags r:id="rId2"/>
            </p:custDataLst>
          </p:nvPr>
        </p:nvSpPr>
        <p:spPr/>
        <p:txBody>
          <a:bodyPr/>
          <a:lstStyle/>
          <a:p>
            <a:fld id="{91882AA3-08DC-0043-8CA8-8CA69DA2397E}" type="slidenum">
              <a:rPr lang="en-US" smtClean="0"/>
              <a:pPr/>
              <a:t>36</a:t>
            </a:fld>
            <a:endParaRPr lang="en-US"/>
          </a:p>
        </p:txBody>
      </p:sp>
      <p:sp>
        <p:nvSpPr>
          <p:cNvPr id="5" name="Espace réservé du texte 4">
            <a:extLst>
              <a:ext uri="{FF2B5EF4-FFF2-40B4-BE49-F238E27FC236}">
                <a16:creationId xmlns:a16="http://schemas.microsoft.com/office/drawing/2014/main" id="{8CFF7F2E-9350-E1DD-7DEF-AC75D3EFCB4B}"/>
              </a:ext>
            </a:extLst>
          </p:cNvPr>
          <p:cNvSpPr>
            <a:spLocks noGrp="1"/>
          </p:cNvSpPr>
          <p:nvPr>
            <p:ph type="body" sz="quarter" idx="12"/>
            <p:custDataLst>
              <p:tags r:id="rId3"/>
            </p:custDataLst>
          </p:nvPr>
        </p:nvSpPr>
        <p:spPr>
          <a:xfrm>
            <a:off x="191344" y="364190"/>
            <a:ext cx="6840760" cy="544530"/>
          </a:xfrm>
        </p:spPr>
        <p:txBody>
          <a:bodyPr/>
          <a:lstStyle/>
          <a:p>
            <a:r>
              <a:rPr lang="fr-CA"/>
              <a:t>Patient ayant une condition chronique diagnostiquée (suite)</a:t>
            </a:r>
          </a:p>
        </p:txBody>
      </p:sp>
      <p:pic>
        <p:nvPicPr>
          <p:cNvPr id="2" name="Image 1">
            <a:extLst>
              <a:ext uri="{FF2B5EF4-FFF2-40B4-BE49-F238E27FC236}">
                <a16:creationId xmlns:a16="http://schemas.microsoft.com/office/drawing/2014/main" id="{748E859D-CEA9-50BD-6E71-D81D88C5E749}"/>
              </a:ext>
            </a:extLst>
          </p:cNvPr>
          <p:cNvPicPr>
            <a:picLocks noChangeAspect="1"/>
          </p:cNvPicPr>
          <p:nvPr/>
        </p:nvPicPr>
        <p:blipFill>
          <a:blip r:embed="rId6"/>
          <a:stretch>
            <a:fillRect/>
          </a:stretch>
        </p:blipFill>
        <p:spPr>
          <a:xfrm>
            <a:off x="3829152" y="693761"/>
            <a:ext cx="5898474" cy="5811673"/>
          </a:xfrm>
          <a:prstGeom prst="rect">
            <a:avLst/>
          </a:prstGeom>
        </p:spPr>
      </p:pic>
    </p:spTree>
    <p:extLst>
      <p:ext uri="{BB962C8B-B14F-4D97-AF65-F5344CB8AC3E}">
        <p14:creationId xmlns:p14="http://schemas.microsoft.com/office/powerpoint/2010/main" val="24499879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EF56E-DEA5-4745-2DF0-47F5B0CD737B}"/>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53D8358-0F2C-10F8-D841-8F494621B748}"/>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3BE61E08-1CBA-1DDB-1EBC-1241EA8C5EBF}"/>
              </a:ext>
            </a:extLst>
          </p:cNvPr>
          <p:cNvSpPr>
            <a:spLocks noGrp="1"/>
          </p:cNvSpPr>
          <p:nvPr>
            <p:ph type="sldNum" sz="quarter" idx="11"/>
            <p:custDataLst>
              <p:tags r:id="rId2"/>
            </p:custDataLst>
          </p:nvPr>
        </p:nvSpPr>
        <p:spPr/>
        <p:txBody>
          <a:bodyPr/>
          <a:lstStyle/>
          <a:p>
            <a:fld id="{91882AA3-08DC-0043-8CA8-8CA69DA2397E}" type="slidenum">
              <a:rPr lang="en-US" smtClean="0"/>
              <a:pPr/>
              <a:t>37</a:t>
            </a:fld>
            <a:endParaRPr lang="en-US"/>
          </a:p>
        </p:txBody>
      </p:sp>
      <p:sp>
        <p:nvSpPr>
          <p:cNvPr id="6" name="Titre 1">
            <a:extLst>
              <a:ext uri="{FF2B5EF4-FFF2-40B4-BE49-F238E27FC236}">
                <a16:creationId xmlns:a16="http://schemas.microsoft.com/office/drawing/2014/main" id="{E461B29C-38E6-0A12-9953-B8794DC74FC6}"/>
              </a:ext>
            </a:extLst>
          </p:cNvPr>
          <p:cNvSpPr>
            <a:spLocks noGrp="1"/>
          </p:cNvSpPr>
          <p:nvPr>
            <p:ph type="title"/>
            <p:custDataLst>
              <p:tags r:id="rId3"/>
            </p:custDataLst>
          </p:nvPr>
        </p:nvSpPr>
        <p:spPr>
          <a:xfrm>
            <a:off x="471793" y="702469"/>
            <a:ext cx="9337792" cy="784412"/>
          </a:xfrm>
        </p:spPr>
        <p:txBody>
          <a:bodyPr/>
          <a:lstStyle/>
          <a:p>
            <a:r>
              <a:rPr lang="fr-CA"/>
              <a:t>Révision de la pharmacothérapie</a:t>
            </a:r>
            <a:br>
              <a:rPr lang="fr-CA"/>
            </a:br>
            <a:endParaRPr lang="fr-CA">
              <a:cs typeface="Arial"/>
            </a:endParaRPr>
          </a:p>
        </p:txBody>
      </p:sp>
      <p:sp>
        <p:nvSpPr>
          <p:cNvPr id="2" name="ZoneTexte 1">
            <a:extLst>
              <a:ext uri="{FF2B5EF4-FFF2-40B4-BE49-F238E27FC236}">
                <a16:creationId xmlns:a16="http://schemas.microsoft.com/office/drawing/2014/main" id="{92EB58B8-9EA1-8493-0FC1-25D733639A66}"/>
              </a:ext>
            </a:extLst>
          </p:cNvPr>
          <p:cNvSpPr txBox="1"/>
          <p:nvPr>
            <p:custDataLst>
              <p:tags r:id="rId4"/>
            </p:custDataLst>
          </p:nvPr>
        </p:nvSpPr>
        <p:spPr>
          <a:xfrm>
            <a:off x="471793" y="1451274"/>
            <a:ext cx="10972800" cy="4893647"/>
          </a:xfrm>
          <a:prstGeom prst="rect">
            <a:avLst/>
          </a:prstGeom>
          <a:noFill/>
        </p:spPr>
        <p:txBody>
          <a:bodyPr wrap="square" rtlCol="0">
            <a:spAutoFit/>
          </a:bodyPr>
          <a:lstStyle/>
          <a:p>
            <a:r>
              <a:rPr lang="fr-CA" sz="2400">
                <a:latin typeface="+mj-lt"/>
              </a:rPr>
              <a:t>Règle 32 : Service de la prise en charge de l’ajustement de la dose de médicaments pour l’atteinte de cibles thérapeutiques visant un ou plusieurs des champs thérapeutiques suivants : </a:t>
            </a:r>
          </a:p>
          <a:p>
            <a:endParaRPr lang="fr-CA" sz="2400">
              <a:latin typeface="+mj-lt"/>
            </a:endParaRPr>
          </a:p>
          <a:p>
            <a:pPr marL="342900" indent="-342900">
              <a:buFont typeface="Arial" panose="020B0604020202020204" pitchFamily="34" charset="0"/>
              <a:buChar char="•"/>
            </a:pPr>
            <a:r>
              <a:rPr lang="fr-CA" sz="2400">
                <a:latin typeface="+mj-lt"/>
              </a:rPr>
              <a:t>hypertension artérielle </a:t>
            </a:r>
          </a:p>
          <a:p>
            <a:pPr marL="342900" indent="-342900">
              <a:buFont typeface="Arial" panose="020B0604020202020204" pitchFamily="34" charset="0"/>
              <a:buChar char="•"/>
            </a:pPr>
            <a:r>
              <a:rPr lang="fr-CA" sz="2400">
                <a:latin typeface="+mj-lt"/>
              </a:rPr>
              <a:t>dyslipidémie </a:t>
            </a:r>
          </a:p>
          <a:p>
            <a:pPr marL="342900" indent="-342900">
              <a:buFont typeface="Arial" panose="020B0604020202020204" pitchFamily="34" charset="0"/>
              <a:buChar char="•"/>
            </a:pPr>
            <a:r>
              <a:rPr lang="fr-CA" sz="2400">
                <a:latin typeface="+mj-lt"/>
              </a:rPr>
              <a:t>hypothyroïdie </a:t>
            </a:r>
          </a:p>
          <a:p>
            <a:pPr marL="342900" indent="-342900">
              <a:buFont typeface="Arial" panose="020B0604020202020204" pitchFamily="34" charset="0"/>
              <a:buChar char="•"/>
            </a:pPr>
            <a:r>
              <a:rPr lang="fr-CA" sz="2400">
                <a:latin typeface="+mj-lt"/>
              </a:rPr>
              <a:t>diabète traité ou non avec de l’insuline </a:t>
            </a:r>
          </a:p>
          <a:p>
            <a:pPr marL="342900" indent="-342900">
              <a:buFont typeface="Arial" panose="020B0604020202020204" pitchFamily="34" charset="0"/>
              <a:buChar char="•"/>
            </a:pPr>
            <a:r>
              <a:rPr lang="fr-CA" sz="2400">
                <a:latin typeface="+mj-lt"/>
              </a:rPr>
              <a:t>traitement prophylactique de la migraine </a:t>
            </a:r>
          </a:p>
          <a:p>
            <a:pPr marL="342900" indent="-342900">
              <a:buFont typeface="Arial" panose="020B0604020202020204" pitchFamily="34" charset="0"/>
              <a:buChar char="•"/>
            </a:pPr>
            <a:r>
              <a:rPr lang="fr-CA" sz="2400">
                <a:latin typeface="+mj-lt"/>
              </a:rPr>
              <a:t>douleur chronique </a:t>
            </a:r>
          </a:p>
          <a:p>
            <a:pPr marL="342900" indent="-342900">
              <a:buFont typeface="Arial" panose="020B0604020202020204" pitchFamily="34" charset="0"/>
              <a:buChar char="•"/>
            </a:pPr>
            <a:r>
              <a:rPr lang="fr-CA" sz="2400">
                <a:latin typeface="+mj-lt"/>
              </a:rPr>
              <a:t>asthme </a:t>
            </a:r>
          </a:p>
          <a:p>
            <a:pPr marL="342900" indent="-342900">
              <a:buFont typeface="Arial" panose="020B0604020202020204" pitchFamily="34" charset="0"/>
              <a:buChar char="•"/>
            </a:pPr>
            <a:r>
              <a:rPr lang="fr-CA" sz="2400">
                <a:latin typeface="+mj-lt"/>
              </a:rPr>
              <a:t>MPOC</a:t>
            </a:r>
          </a:p>
          <a:p>
            <a:endParaRPr lang="fr-CA" sz="2400">
              <a:latin typeface="+mj-lt"/>
            </a:endParaRPr>
          </a:p>
        </p:txBody>
      </p:sp>
      <p:sp>
        <p:nvSpPr>
          <p:cNvPr id="7" name="ZoneTexte 6">
            <a:extLst>
              <a:ext uri="{FF2B5EF4-FFF2-40B4-BE49-F238E27FC236}">
                <a16:creationId xmlns:a16="http://schemas.microsoft.com/office/drawing/2014/main" id="{BAC0BA09-367C-3141-7037-5BE03FF480C3}"/>
              </a:ext>
            </a:extLst>
          </p:cNvPr>
          <p:cNvSpPr txBox="1"/>
          <p:nvPr>
            <p:custDataLst>
              <p:tags r:id="rId5"/>
            </p:custDataLst>
          </p:nvPr>
        </p:nvSpPr>
        <p:spPr>
          <a:xfrm>
            <a:off x="3935760" y="2996952"/>
            <a:ext cx="7968207" cy="369332"/>
          </a:xfrm>
          <a:prstGeom prst="rect">
            <a:avLst/>
          </a:prstGeom>
          <a:noFill/>
        </p:spPr>
        <p:txBody>
          <a:bodyPr wrap="square" rtlCol="0">
            <a:spAutoFit/>
          </a:bodyPr>
          <a:lstStyle/>
          <a:p>
            <a:r>
              <a:rPr lang="fr-CA">
                <a:solidFill>
                  <a:srgbClr val="FF0000"/>
                </a:solidFill>
              </a:rPr>
              <a:t>1 sur 4 chez les 20 ans et plus (INSPQ 2023-2024)</a:t>
            </a:r>
          </a:p>
        </p:txBody>
      </p:sp>
      <p:sp>
        <p:nvSpPr>
          <p:cNvPr id="8" name="ZoneTexte 7">
            <a:extLst>
              <a:ext uri="{FF2B5EF4-FFF2-40B4-BE49-F238E27FC236}">
                <a16:creationId xmlns:a16="http://schemas.microsoft.com/office/drawing/2014/main" id="{AAF86DC8-F1B1-75A7-0AFD-C37BFB5B4C32}"/>
              </a:ext>
            </a:extLst>
          </p:cNvPr>
          <p:cNvSpPr txBox="1"/>
          <p:nvPr>
            <p:custDataLst>
              <p:tags r:id="rId6"/>
            </p:custDataLst>
          </p:nvPr>
        </p:nvSpPr>
        <p:spPr>
          <a:xfrm>
            <a:off x="2639616" y="3356992"/>
            <a:ext cx="7427168" cy="369332"/>
          </a:xfrm>
          <a:prstGeom prst="rect">
            <a:avLst/>
          </a:prstGeom>
          <a:noFill/>
        </p:spPr>
        <p:txBody>
          <a:bodyPr wrap="square" rtlCol="0">
            <a:spAutoFit/>
          </a:bodyPr>
          <a:lstStyle/>
          <a:p>
            <a:r>
              <a:rPr lang="fr-CA">
                <a:solidFill>
                  <a:srgbClr val="FF0000"/>
                </a:solidFill>
              </a:rPr>
              <a:t>1 sur 2 chez les 40 ans et plus (Le médecin de famille canadien, 2024)</a:t>
            </a:r>
          </a:p>
        </p:txBody>
      </p:sp>
      <p:sp>
        <p:nvSpPr>
          <p:cNvPr id="9" name="ZoneTexte 8">
            <a:extLst>
              <a:ext uri="{FF2B5EF4-FFF2-40B4-BE49-F238E27FC236}">
                <a16:creationId xmlns:a16="http://schemas.microsoft.com/office/drawing/2014/main" id="{F4DEED07-8DA2-084A-E0D1-C0C007CB50E8}"/>
              </a:ext>
            </a:extLst>
          </p:cNvPr>
          <p:cNvSpPr txBox="1"/>
          <p:nvPr>
            <p:custDataLst>
              <p:tags r:id="rId7"/>
            </p:custDataLst>
          </p:nvPr>
        </p:nvSpPr>
        <p:spPr>
          <a:xfrm>
            <a:off x="2783632" y="3717032"/>
            <a:ext cx="7427168" cy="369332"/>
          </a:xfrm>
          <a:prstGeom prst="rect">
            <a:avLst/>
          </a:prstGeom>
          <a:noFill/>
        </p:spPr>
        <p:txBody>
          <a:bodyPr wrap="square" rtlCol="0">
            <a:spAutoFit/>
          </a:bodyPr>
          <a:lstStyle/>
          <a:p>
            <a:r>
              <a:rPr lang="fr-CA">
                <a:solidFill>
                  <a:srgbClr val="FF0000"/>
                </a:solidFill>
              </a:rPr>
              <a:t>2 à 6 % de la population (Le médecin de famille canadien, 2020)</a:t>
            </a:r>
          </a:p>
        </p:txBody>
      </p:sp>
      <p:sp>
        <p:nvSpPr>
          <p:cNvPr id="10" name="ZoneTexte 9">
            <a:extLst>
              <a:ext uri="{FF2B5EF4-FFF2-40B4-BE49-F238E27FC236}">
                <a16:creationId xmlns:a16="http://schemas.microsoft.com/office/drawing/2014/main" id="{10D0528C-7181-532F-9E1A-C69A8E58BA8C}"/>
              </a:ext>
            </a:extLst>
          </p:cNvPr>
          <p:cNvSpPr txBox="1"/>
          <p:nvPr>
            <p:custDataLst>
              <p:tags r:id="rId8"/>
            </p:custDataLst>
          </p:nvPr>
        </p:nvSpPr>
        <p:spPr>
          <a:xfrm>
            <a:off x="6089792" y="4077072"/>
            <a:ext cx="6159616" cy="369332"/>
          </a:xfrm>
          <a:prstGeom prst="rect">
            <a:avLst/>
          </a:prstGeom>
          <a:noFill/>
        </p:spPr>
        <p:txBody>
          <a:bodyPr wrap="square" rtlCol="0">
            <a:spAutoFit/>
          </a:bodyPr>
          <a:lstStyle/>
          <a:p>
            <a:r>
              <a:rPr lang="fr-CA" dirty="0">
                <a:solidFill>
                  <a:srgbClr val="FF0000"/>
                </a:solidFill>
              </a:rPr>
              <a:t>7,1 % de la population de 1 an et plus (INSPQ, 2023-2024)</a:t>
            </a:r>
          </a:p>
        </p:txBody>
      </p:sp>
      <p:sp>
        <p:nvSpPr>
          <p:cNvPr id="11" name="ZoneTexte 10">
            <a:extLst>
              <a:ext uri="{FF2B5EF4-FFF2-40B4-BE49-F238E27FC236}">
                <a16:creationId xmlns:a16="http://schemas.microsoft.com/office/drawing/2014/main" id="{5DE62454-91FD-0E03-BA1D-CC5520AADD36}"/>
              </a:ext>
            </a:extLst>
          </p:cNvPr>
          <p:cNvSpPr txBox="1"/>
          <p:nvPr>
            <p:custDataLst>
              <p:tags r:id="rId9"/>
            </p:custDataLst>
          </p:nvPr>
        </p:nvSpPr>
        <p:spPr>
          <a:xfrm>
            <a:off x="1841378" y="5555785"/>
            <a:ext cx="7968207" cy="369332"/>
          </a:xfrm>
          <a:prstGeom prst="rect">
            <a:avLst/>
          </a:prstGeom>
          <a:noFill/>
        </p:spPr>
        <p:txBody>
          <a:bodyPr wrap="square" rtlCol="0">
            <a:spAutoFit/>
          </a:bodyPr>
          <a:lstStyle/>
          <a:p>
            <a:r>
              <a:rPr lang="fr-CA">
                <a:solidFill>
                  <a:srgbClr val="FF0000"/>
                </a:solidFill>
              </a:rPr>
              <a:t>1 sur 4 chez les 75 ans et plus (INSPQ 2023-2024)</a:t>
            </a:r>
          </a:p>
        </p:txBody>
      </p:sp>
      <p:sp>
        <p:nvSpPr>
          <p:cNvPr id="12" name="ZoneTexte 11">
            <a:extLst>
              <a:ext uri="{FF2B5EF4-FFF2-40B4-BE49-F238E27FC236}">
                <a16:creationId xmlns:a16="http://schemas.microsoft.com/office/drawing/2014/main" id="{7F2A14AB-E12B-7BE9-7CB2-EE8CB1074A06}"/>
              </a:ext>
            </a:extLst>
          </p:cNvPr>
          <p:cNvSpPr txBox="1"/>
          <p:nvPr>
            <p:custDataLst>
              <p:tags r:id="rId10"/>
            </p:custDataLst>
          </p:nvPr>
        </p:nvSpPr>
        <p:spPr>
          <a:xfrm>
            <a:off x="6384032" y="4446404"/>
            <a:ext cx="5735205" cy="369332"/>
          </a:xfrm>
          <a:prstGeom prst="rect">
            <a:avLst/>
          </a:prstGeom>
          <a:noFill/>
        </p:spPr>
        <p:txBody>
          <a:bodyPr wrap="square" rtlCol="0">
            <a:spAutoFit/>
          </a:bodyPr>
          <a:lstStyle/>
          <a:p>
            <a:r>
              <a:rPr lang="fr-CA">
                <a:solidFill>
                  <a:srgbClr val="FF0000"/>
                </a:solidFill>
              </a:rPr>
              <a:t>6,8% de la population québécoise (Stat Canada, 2014)</a:t>
            </a:r>
          </a:p>
        </p:txBody>
      </p:sp>
      <p:sp>
        <p:nvSpPr>
          <p:cNvPr id="13" name="ZoneTexte 12">
            <a:extLst>
              <a:ext uri="{FF2B5EF4-FFF2-40B4-BE49-F238E27FC236}">
                <a16:creationId xmlns:a16="http://schemas.microsoft.com/office/drawing/2014/main" id="{A70EF71C-A2BC-C456-3B88-D48BE567990B}"/>
              </a:ext>
            </a:extLst>
          </p:cNvPr>
          <p:cNvSpPr txBox="1"/>
          <p:nvPr>
            <p:custDataLst>
              <p:tags r:id="rId11"/>
            </p:custDataLst>
          </p:nvPr>
        </p:nvSpPr>
        <p:spPr>
          <a:xfrm>
            <a:off x="3342257" y="4835705"/>
            <a:ext cx="8377950" cy="369332"/>
          </a:xfrm>
          <a:prstGeom prst="rect">
            <a:avLst/>
          </a:prstGeom>
          <a:noFill/>
        </p:spPr>
        <p:txBody>
          <a:bodyPr wrap="square" rtlCol="0">
            <a:spAutoFit/>
          </a:bodyPr>
          <a:lstStyle/>
          <a:p>
            <a:r>
              <a:rPr lang="fr-CA">
                <a:solidFill>
                  <a:srgbClr val="FF0000"/>
                </a:solidFill>
              </a:rPr>
              <a:t>1 sur 5, et 1 sur 3 chez personnes âgées (Canada, 2011)</a:t>
            </a:r>
          </a:p>
        </p:txBody>
      </p:sp>
      <p:sp>
        <p:nvSpPr>
          <p:cNvPr id="14" name="ZoneTexte 13">
            <a:extLst>
              <a:ext uri="{FF2B5EF4-FFF2-40B4-BE49-F238E27FC236}">
                <a16:creationId xmlns:a16="http://schemas.microsoft.com/office/drawing/2014/main" id="{45D86052-6C38-AD7D-9D8C-8E55C80F71B4}"/>
              </a:ext>
            </a:extLst>
          </p:cNvPr>
          <p:cNvSpPr txBox="1"/>
          <p:nvPr>
            <p:custDataLst>
              <p:tags r:id="rId12"/>
            </p:custDataLst>
          </p:nvPr>
        </p:nvSpPr>
        <p:spPr>
          <a:xfrm>
            <a:off x="1917683" y="5210996"/>
            <a:ext cx="5735205" cy="369332"/>
          </a:xfrm>
          <a:prstGeom prst="rect">
            <a:avLst/>
          </a:prstGeom>
          <a:noFill/>
        </p:spPr>
        <p:txBody>
          <a:bodyPr wrap="square" rtlCol="0">
            <a:spAutoFit/>
          </a:bodyPr>
          <a:lstStyle/>
          <a:p>
            <a:r>
              <a:rPr lang="fr-CA">
                <a:solidFill>
                  <a:srgbClr val="FF0000"/>
                </a:solidFill>
              </a:rPr>
              <a:t>11,2 % chez les 1 an et plus (INSPQ, 2022-2023)</a:t>
            </a:r>
          </a:p>
        </p:txBody>
      </p:sp>
      <p:sp>
        <p:nvSpPr>
          <p:cNvPr id="16" name="ZoneTexte 15">
            <a:extLst>
              <a:ext uri="{FF2B5EF4-FFF2-40B4-BE49-F238E27FC236}">
                <a16:creationId xmlns:a16="http://schemas.microsoft.com/office/drawing/2014/main" id="{506755F4-83F0-308A-77B8-A1A7DFCACCA5}"/>
              </a:ext>
            </a:extLst>
          </p:cNvPr>
          <p:cNvSpPr txBox="1"/>
          <p:nvPr>
            <p:custDataLst>
              <p:tags r:id="rId13"/>
            </p:custDataLst>
          </p:nvPr>
        </p:nvSpPr>
        <p:spPr>
          <a:xfrm>
            <a:off x="5087888" y="2175247"/>
            <a:ext cx="3375140" cy="461665"/>
          </a:xfrm>
          <a:prstGeom prst="rect">
            <a:avLst/>
          </a:prstGeom>
          <a:noFill/>
        </p:spPr>
        <p:txBody>
          <a:bodyPr wrap="square" rtlCol="0">
            <a:spAutoFit/>
          </a:bodyPr>
          <a:lstStyle/>
          <a:p>
            <a:r>
              <a:rPr lang="fr-CA" sz="2400">
                <a:solidFill>
                  <a:srgbClr val="FF0000"/>
                </a:solidFill>
              </a:rPr>
              <a:t>(prévalence en rouge)</a:t>
            </a:r>
          </a:p>
        </p:txBody>
      </p:sp>
      <p:pic>
        <p:nvPicPr>
          <p:cNvPr id="20" name="Graphique 19" descr="Un bébé à quatre pattes">
            <a:extLst>
              <a:ext uri="{FF2B5EF4-FFF2-40B4-BE49-F238E27FC236}">
                <a16:creationId xmlns:a16="http://schemas.microsoft.com/office/drawing/2014/main" id="{60F577AC-9B80-084B-0879-0BBEE7FE4A88}"/>
              </a:ext>
            </a:extLst>
          </p:cNvPr>
          <p:cNvPicPr>
            <a:picLocks noChangeAspect="1"/>
          </p:cNvPicPr>
          <p:nvPr>
            <p:custDataLst>
              <p:tags r:id="rId14"/>
            </p:custDataLst>
          </p:nvPr>
        </p:nvPicPr>
        <p:blipFill>
          <a:blip r:embed="rId77">
            <a:extLst>
              <a:ext uri="{96DAC541-7B7A-43D3-8B79-37D633B846F1}">
                <asvg:svgBlip xmlns:asvg="http://schemas.microsoft.com/office/drawing/2016/SVG/main" r:embed="rId78"/>
              </a:ext>
            </a:extLst>
          </a:blip>
          <a:stretch>
            <a:fillRect/>
          </a:stretch>
        </p:blipFill>
        <p:spPr>
          <a:xfrm flipH="1">
            <a:off x="8583969" y="5563059"/>
            <a:ext cx="396893" cy="379761"/>
          </a:xfrm>
          <a:prstGeom prst="rect">
            <a:avLst/>
          </a:prstGeom>
        </p:spPr>
      </p:pic>
      <p:pic>
        <p:nvPicPr>
          <p:cNvPr id="22" name="Graphique 21" descr="Bébé rampant en grenouillère">
            <a:extLst>
              <a:ext uri="{FF2B5EF4-FFF2-40B4-BE49-F238E27FC236}">
                <a16:creationId xmlns:a16="http://schemas.microsoft.com/office/drawing/2014/main" id="{11C5A3C8-B12B-87DF-797E-CCFCC67E8391}"/>
              </a:ext>
            </a:extLst>
          </p:cNvPr>
          <p:cNvPicPr>
            <a:picLocks noChangeAspect="1"/>
          </p:cNvPicPr>
          <p:nvPr>
            <p:custDataLst>
              <p:tags r:id="rId15"/>
            </p:custDataLst>
          </p:nvPr>
        </p:nvPicPr>
        <p:blipFill>
          <a:blip r:embed="rId79">
            <a:extLst>
              <a:ext uri="{96DAC541-7B7A-43D3-8B79-37D633B846F1}">
                <asvg:svgBlip xmlns:asvg="http://schemas.microsoft.com/office/drawing/2016/SVG/main" r:embed="rId80"/>
              </a:ext>
            </a:extLst>
          </a:blip>
          <a:stretch>
            <a:fillRect/>
          </a:stretch>
        </p:blipFill>
        <p:spPr>
          <a:xfrm flipH="1">
            <a:off x="10502502" y="3548141"/>
            <a:ext cx="436868" cy="379761"/>
          </a:xfrm>
          <a:prstGeom prst="rect">
            <a:avLst/>
          </a:prstGeom>
        </p:spPr>
      </p:pic>
      <p:pic>
        <p:nvPicPr>
          <p:cNvPr id="24" name="Graphique 23" descr="Garçon aux cheveux bouclés">
            <a:extLst>
              <a:ext uri="{FF2B5EF4-FFF2-40B4-BE49-F238E27FC236}">
                <a16:creationId xmlns:a16="http://schemas.microsoft.com/office/drawing/2014/main" id="{9AEE5702-098C-0768-494E-9B76BA4D0161}"/>
              </a:ext>
            </a:extLst>
          </p:cNvPr>
          <p:cNvPicPr>
            <a:picLocks noChangeAspect="1"/>
          </p:cNvPicPr>
          <p:nvPr>
            <p:custDataLst>
              <p:tags r:id="rId16"/>
            </p:custDataLst>
          </p:nvPr>
        </p:nvPicPr>
        <p:blipFill>
          <a:blip r:embed="rId81">
            <a:extLst>
              <a:ext uri="{96DAC541-7B7A-43D3-8B79-37D633B846F1}">
                <asvg:svgBlip xmlns:asvg="http://schemas.microsoft.com/office/drawing/2016/SVG/main" r:embed="rId82"/>
              </a:ext>
            </a:extLst>
          </a:blip>
          <a:stretch>
            <a:fillRect/>
          </a:stretch>
        </p:blipFill>
        <p:spPr>
          <a:xfrm flipH="1">
            <a:off x="10420790" y="2473727"/>
            <a:ext cx="379761" cy="1162127"/>
          </a:xfrm>
          <a:prstGeom prst="rect">
            <a:avLst/>
          </a:prstGeom>
        </p:spPr>
      </p:pic>
      <p:pic>
        <p:nvPicPr>
          <p:cNvPr id="26" name="Graphique 25" descr="Garçon portant un sac à dos">
            <a:extLst>
              <a:ext uri="{FF2B5EF4-FFF2-40B4-BE49-F238E27FC236}">
                <a16:creationId xmlns:a16="http://schemas.microsoft.com/office/drawing/2014/main" id="{71F7712C-E927-8D06-B4F2-68B4634D2972}"/>
              </a:ext>
            </a:extLst>
          </p:cNvPr>
          <p:cNvPicPr>
            <a:picLocks noChangeAspect="1"/>
          </p:cNvPicPr>
          <p:nvPr>
            <p:custDataLst>
              <p:tags r:id="rId17"/>
            </p:custDataLst>
          </p:nvPr>
        </p:nvPicPr>
        <p:blipFill>
          <a:blip r:embed="rId83">
            <a:extLst>
              <a:ext uri="{96DAC541-7B7A-43D3-8B79-37D633B846F1}">
                <asvg:svgBlip xmlns:asvg="http://schemas.microsoft.com/office/drawing/2016/SVG/main" r:embed="rId84"/>
              </a:ext>
            </a:extLst>
          </a:blip>
          <a:stretch>
            <a:fillRect/>
          </a:stretch>
        </p:blipFill>
        <p:spPr>
          <a:xfrm flipH="1">
            <a:off x="9843759" y="5293531"/>
            <a:ext cx="431158" cy="1070756"/>
          </a:xfrm>
          <a:prstGeom prst="rect">
            <a:avLst/>
          </a:prstGeom>
        </p:spPr>
      </p:pic>
      <p:pic>
        <p:nvPicPr>
          <p:cNvPr id="28" name="Graphique 27" descr="Garçon portant une cape">
            <a:extLst>
              <a:ext uri="{FF2B5EF4-FFF2-40B4-BE49-F238E27FC236}">
                <a16:creationId xmlns:a16="http://schemas.microsoft.com/office/drawing/2014/main" id="{987A472B-B44E-4CBD-D96D-8B7CDBAA4B97}"/>
              </a:ext>
            </a:extLst>
          </p:cNvPr>
          <p:cNvPicPr>
            <a:picLocks noChangeAspect="1"/>
          </p:cNvPicPr>
          <p:nvPr>
            <p:custDataLst>
              <p:tags r:id="rId18"/>
            </p:custDataLst>
          </p:nvPr>
        </p:nvPicPr>
        <p:blipFill>
          <a:blip r:embed="rId85">
            <a:extLst>
              <a:ext uri="{96DAC541-7B7A-43D3-8B79-37D633B846F1}">
                <asvg:svgBlip xmlns:asvg="http://schemas.microsoft.com/office/drawing/2016/SVG/main" r:embed="rId86"/>
              </a:ext>
            </a:extLst>
          </a:blip>
          <a:stretch>
            <a:fillRect/>
          </a:stretch>
        </p:blipFill>
        <p:spPr>
          <a:xfrm flipH="1">
            <a:off x="10465344" y="4055905"/>
            <a:ext cx="571070" cy="1184970"/>
          </a:xfrm>
          <a:prstGeom prst="rect">
            <a:avLst/>
          </a:prstGeom>
        </p:spPr>
      </p:pic>
      <p:pic>
        <p:nvPicPr>
          <p:cNvPr id="32" name="Graphique 31" descr="Fille portant un sac à dos">
            <a:extLst>
              <a:ext uri="{FF2B5EF4-FFF2-40B4-BE49-F238E27FC236}">
                <a16:creationId xmlns:a16="http://schemas.microsoft.com/office/drawing/2014/main" id="{20496BC6-44DB-DDEA-EA02-10AAC1A82E57}"/>
              </a:ext>
            </a:extLst>
          </p:cNvPr>
          <p:cNvPicPr>
            <a:picLocks noChangeAspect="1"/>
          </p:cNvPicPr>
          <p:nvPr>
            <p:custDataLst>
              <p:tags r:id="rId19"/>
            </p:custDataLst>
          </p:nvPr>
        </p:nvPicPr>
        <p:blipFill>
          <a:blip r:embed="rId87">
            <a:extLst>
              <a:ext uri="{96DAC541-7B7A-43D3-8B79-37D633B846F1}">
                <asvg:svgBlip xmlns:asvg="http://schemas.microsoft.com/office/drawing/2016/SVG/main" r:embed="rId88"/>
              </a:ext>
            </a:extLst>
          </a:blip>
          <a:stretch>
            <a:fillRect/>
          </a:stretch>
        </p:blipFill>
        <p:spPr>
          <a:xfrm flipH="1">
            <a:off x="10290379" y="5150838"/>
            <a:ext cx="431158" cy="1070756"/>
          </a:xfrm>
          <a:prstGeom prst="rect">
            <a:avLst/>
          </a:prstGeom>
        </p:spPr>
      </p:pic>
      <p:pic>
        <p:nvPicPr>
          <p:cNvPr id="34" name="Graphique 33" descr="Fille portant une cape">
            <a:extLst>
              <a:ext uri="{FF2B5EF4-FFF2-40B4-BE49-F238E27FC236}">
                <a16:creationId xmlns:a16="http://schemas.microsoft.com/office/drawing/2014/main" id="{2D82F75A-1888-FC8F-8182-5BD2EC5EA04B}"/>
              </a:ext>
            </a:extLst>
          </p:cNvPr>
          <p:cNvPicPr>
            <a:picLocks noChangeAspect="1"/>
          </p:cNvPicPr>
          <p:nvPr>
            <p:custDataLst>
              <p:tags r:id="rId20"/>
            </p:custDataLst>
          </p:nvPr>
        </p:nvPicPr>
        <p:blipFill>
          <a:blip r:embed="rId89">
            <a:extLst>
              <a:ext uri="{96DAC541-7B7A-43D3-8B79-37D633B846F1}">
                <asvg:svgBlip xmlns:asvg="http://schemas.microsoft.com/office/drawing/2016/SVG/main" r:embed="rId90"/>
              </a:ext>
            </a:extLst>
          </a:blip>
          <a:stretch>
            <a:fillRect/>
          </a:stretch>
        </p:blipFill>
        <p:spPr>
          <a:xfrm flipH="1">
            <a:off x="8222506" y="2543726"/>
            <a:ext cx="571070" cy="1184970"/>
          </a:xfrm>
          <a:prstGeom prst="rect">
            <a:avLst/>
          </a:prstGeom>
        </p:spPr>
      </p:pic>
      <p:pic>
        <p:nvPicPr>
          <p:cNvPr id="36" name="Graphique 35" descr="Fille portant un collier">
            <a:extLst>
              <a:ext uri="{FF2B5EF4-FFF2-40B4-BE49-F238E27FC236}">
                <a16:creationId xmlns:a16="http://schemas.microsoft.com/office/drawing/2014/main" id="{5A993924-2FAA-66ED-D1CA-54C528CBF2FB}"/>
              </a:ext>
            </a:extLst>
          </p:cNvPr>
          <p:cNvPicPr>
            <a:picLocks noChangeAspect="1"/>
          </p:cNvPicPr>
          <p:nvPr>
            <p:custDataLst>
              <p:tags r:id="rId21"/>
            </p:custDataLst>
          </p:nvPr>
        </p:nvPicPr>
        <p:blipFill>
          <a:blip r:embed="rId91">
            <a:extLst>
              <a:ext uri="{96DAC541-7B7A-43D3-8B79-37D633B846F1}">
                <asvg:svgBlip xmlns:asvg="http://schemas.microsoft.com/office/drawing/2016/SVG/main" r:embed="rId92"/>
              </a:ext>
            </a:extLst>
          </a:blip>
          <a:stretch>
            <a:fillRect/>
          </a:stretch>
        </p:blipFill>
        <p:spPr>
          <a:xfrm flipH="1">
            <a:off x="9962791" y="2361720"/>
            <a:ext cx="391183" cy="1307750"/>
          </a:xfrm>
          <a:prstGeom prst="rect">
            <a:avLst/>
          </a:prstGeom>
        </p:spPr>
      </p:pic>
      <p:pic>
        <p:nvPicPr>
          <p:cNvPr id="38" name="Graphique 37" descr="Homme avec barbe">
            <a:extLst>
              <a:ext uri="{FF2B5EF4-FFF2-40B4-BE49-F238E27FC236}">
                <a16:creationId xmlns:a16="http://schemas.microsoft.com/office/drawing/2014/main" id="{78D8875A-B0F4-F8A3-4ECA-932CD48B2788}"/>
              </a:ext>
            </a:extLst>
          </p:cNvPr>
          <p:cNvPicPr>
            <a:picLocks noChangeAspect="1"/>
          </p:cNvPicPr>
          <p:nvPr>
            <p:custDataLst>
              <p:tags r:id="rId22"/>
            </p:custDataLst>
          </p:nvPr>
        </p:nvPicPr>
        <p:blipFill>
          <a:blip r:embed="rId93">
            <a:extLst>
              <a:ext uri="{96DAC541-7B7A-43D3-8B79-37D633B846F1}">
                <asvg:svgBlip xmlns:asvg="http://schemas.microsoft.com/office/drawing/2016/SVG/main" r:embed="rId94"/>
              </a:ext>
            </a:extLst>
          </a:blip>
          <a:stretch>
            <a:fillRect/>
          </a:stretch>
        </p:blipFill>
        <p:spPr>
          <a:xfrm flipH="1">
            <a:off x="9333799" y="2704933"/>
            <a:ext cx="416881" cy="1296329"/>
          </a:xfrm>
          <a:prstGeom prst="rect">
            <a:avLst/>
          </a:prstGeom>
        </p:spPr>
      </p:pic>
      <p:pic>
        <p:nvPicPr>
          <p:cNvPr id="40" name="Graphique 39" descr="Homme non-voyant portant des lunettes de soleil">
            <a:extLst>
              <a:ext uri="{FF2B5EF4-FFF2-40B4-BE49-F238E27FC236}">
                <a16:creationId xmlns:a16="http://schemas.microsoft.com/office/drawing/2014/main" id="{C91E63A2-C1DC-2D6D-FD0B-A0E94E9D1ED5}"/>
              </a:ext>
            </a:extLst>
          </p:cNvPr>
          <p:cNvPicPr>
            <a:picLocks noChangeAspect="1"/>
          </p:cNvPicPr>
          <p:nvPr>
            <p:custDataLst>
              <p:tags r:id="rId23"/>
            </p:custDataLst>
          </p:nvPr>
        </p:nvPicPr>
        <p:blipFill>
          <a:blip r:embed="rId95">
            <a:extLst>
              <a:ext uri="{96DAC541-7B7A-43D3-8B79-37D633B846F1}">
                <asvg:svgBlip xmlns:asvg="http://schemas.microsoft.com/office/drawing/2016/SVG/main" r:embed="rId96"/>
              </a:ext>
            </a:extLst>
          </a:blip>
          <a:stretch>
            <a:fillRect/>
          </a:stretch>
        </p:blipFill>
        <p:spPr>
          <a:xfrm flipH="1">
            <a:off x="9894696" y="3247984"/>
            <a:ext cx="730969" cy="1444807"/>
          </a:xfrm>
          <a:prstGeom prst="rect">
            <a:avLst/>
          </a:prstGeom>
        </p:spPr>
      </p:pic>
      <p:pic>
        <p:nvPicPr>
          <p:cNvPr id="42" name="Graphique 41" descr="Homme tenant une tasse">
            <a:extLst>
              <a:ext uri="{FF2B5EF4-FFF2-40B4-BE49-F238E27FC236}">
                <a16:creationId xmlns:a16="http://schemas.microsoft.com/office/drawing/2014/main" id="{46833537-5E8E-C3A9-D120-30C4CDB21A74}"/>
              </a:ext>
            </a:extLst>
          </p:cNvPr>
          <p:cNvPicPr>
            <a:picLocks noChangeAspect="1"/>
          </p:cNvPicPr>
          <p:nvPr>
            <p:custDataLst>
              <p:tags r:id="rId24"/>
            </p:custDataLst>
          </p:nvPr>
        </p:nvPicPr>
        <p:blipFill>
          <a:blip r:embed="rId97">
            <a:extLst>
              <a:ext uri="{96DAC541-7B7A-43D3-8B79-37D633B846F1}">
                <asvg:svgBlip xmlns:asvg="http://schemas.microsoft.com/office/drawing/2016/SVG/main" r:embed="rId98"/>
              </a:ext>
            </a:extLst>
          </a:blip>
          <a:stretch>
            <a:fillRect/>
          </a:stretch>
        </p:blipFill>
        <p:spPr>
          <a:xfrm flipH="1">
            <a:off x="8853282" y="2838897"/>
            <a:ext cx="571070" cy="1290618"/>
          </a:xfrm>
          <a:prstGeom prst="rect">
            <a:avLst/>
          </a:prstGeom>
        </p:spPr>
      </p:pic>
      <p:pic>
        <p:nvPicPr>
          <p:cNvPr id="44" name="Graphique 43" descr="Homme en smoking">
            <a:extLst>
              <a:ext uri="{FF2B5EF4-FFF2-40B4-BE49-F238E27FC236}">
                <a16:creationId xmlns:a16="http://schemas.microsoft.com/office/drawing/2014/main" id="{CE454678-ECE6-9B45-2DA9-DDBED5EF8866}"/>
              </a:ext>
            </a:extLst>
          </p:cNvPr>
          <p:cNvPicPr>
            <a:picLocks noChangeAspect="1"/>
          </p:cNvPicPr>
          <p:nvPr>
            <p:custDataLst>
              <p:tags r:id="rId25"/>
            </p:custDataLst>
          </p:nvPr>
        </p:nvPicPr>
        <p:blipFill>
          <a:blip r:embed="rId99">
            <a:extLst>
              <a:ext uri="{96DAC541-7B7A-43D3-8B79-37D633B846F1}">
                <asvg:svgBlip xmlns:asvg="http://schemas.microsoft.com/office/drawing/2016/SVG/main" r:embed="rId100"/>
              </a:ext>
            </a:extLst>
          </a:blip>
          <a:stretch>
            <a:fillRect/>
          </a:stretch>
        </p:blipFill>
        <p:spPr>
          <a:xfrm flipH="1">
            <a:off x="9613496" y="4534809"/>
            <a:ext cx="479699" cy="1370568"/>
          </a:xfrm>
          <a:prstGeom prst="rect">
            <a:avLst/>
          </a:prstGeom>
        </p:spPr>
      </p:pic>
      <p:pic>
        <p:nvPicPr>
          <p:cNvPr id="46" name="Graphique 45" descr="Homme avec un Mohawk">
            <a:extLst>
              <a:ext uri="{FF2B5EF4-FFF2-40B4-BE49-F238E27FC236}">
                <a16:creationId xmlns:a16="http://schemas.microsoft.com/office/drawing/2014/main" id="{ADE40D83-F8D0-9672-22CE-A13FA506C28A}"/>
              </a:ext>
            </a:extLst>
          </p:cNvPr>
          <p:cNvPicPr>
            <a:picLocks noChangeAspect="1"/>
          </p:cNvPicPr>
          <p:nvPr>
            <p:custDataLst>
              <p:tags r:id="rId26"/>
            </p:custDataLst>
          </p:nvPr>
        </p:nvPicPr>
        <p:blipFill>
          <a:blip r:embed="rId101">
            <a:extLst>
              <a:ext uri="{96DAC541-7B7A-43D3-8B79-37D633B846F1}">
                <asvg:svgBlip xmlns:asvg="http://schemas.microsoft.com/office/drawing/2016/SVG/main" r:embed="rId102"/>
              </a:ext>
            </a:extLst>
          </a:blip>
          <a:stretch>
            <a:fillRect/>
          </a:stretch>
        </p:blipFill>
        <p:spPr>
          <a:xfrm flipH="1">
            <a:off x="9031005" y="3888240"/>
            <a:ext cx="414026" cy="1322027"/>
          </a:xfrm>
          <a:prstGeom prst="rect">
            <a:avLst/>
          </a:prstGeom>
        </p:spPr>
      </p:pic>
      <p:pic>
        <p:nvPicPr>
          <p:cNvPr id="48" name="Graphique 47" descr="Homme portant un collier">
            <a:extLst>
              <a:ext uri="{FF2B5EF4-FFF2-40B4-BE49-F238E27FC236}">
                <a16:creationId xmlns:a16="http://schemas.microsoft.com/office/drawing/2014/main" id="{CA7DE249-61DA-F0B2-52DB-6A8077A6169D}"/>
              </a:ext>
            </a:extLst>
          </p:cNvPr>
          <p:cNvPicPr>
            <a:picLocks noChangeAspect="1"/>
          </p:cNvPicPr>
          <p:nvPr>
            <p:custDataLst>
              <p:tags r:id="rId27"/>
            </p:custDataLst>
          </p:nvPr>
        </p:nvPicPr>
        <p:blipFill>
          <a:blip r:embed="rId103">
            <a:extLst>
              <a:ext uri="{96DAC541-7B7A-43D3-8B79-37D633B846F1}">
                <asvg:svgBlip xmlns:asvg="http://schemas.microsoft.com/office/drawing/2016/SVG/main" r:embed="rId104"/>
              </a:ext>
            </a:extLst>
          </a:blip>
          <a:stretch>
            <a:fillRect/>
          </a:stretch>
        </p:blipFill>
        <p:spPr>
          <a:xfrm flipH="1">
            <a:off x="8898846" y="4911106"/>
            <a:ext cx="582491" cy="1299184"/>
          </a:xfrm>
          <a:prstGeom prst="rect">
            <a:avLst/>
          </a:prstGeom>
        </p:spPr>
      </p:pic>
      <p:pic>
        <p:nvPicPr>
          <p:cNvPr id="50" name="Graphique 49" descr="Homme avec bras prothétique">
            <a:extLst>
              <a:ext uri="{FF2B5EF4-FFF2-40B4-BE49-F238E27FC236}">
                <a16:creationId xmlns:a16="http://schemas.microsoft.com/office/drawing/2014/main" id="{C6BA4173-03EB-F213-2E1C-42D439ACD34D}"/>
              </a:ext>
            </a:extLst>
          </p:cNvPr>
          <p:cNvPicPr>
            <a:picLocks noChangeAspect="1"/>
          </p:cNvPicPr>
          <p:nvPr>
            <p:custDataLst>
              <p:tags r:id="rId28"/>
            </p:custDataLst>
          </p:nvPr>
        </p:nvPicPr>
        <p:blipFill>
          <a:blip r:embed="rId105">
            <a:extLst>
              <a:ext uri="{96DAC541-7B7A-43D3-8B79-37D633B846F1}">
                <asvg:svgBlip xmlns:asvg="http://schemas.microsoft.com/office/drawing/2016/SVG/main" r:embed="rId106"/>
              </a:ext>
            </a:extLst>
          </a:blip>
          <a:stretch>
            <a:fillRect/>
          </a:stretch>
        </p:blipFill>
        <p:spPr>
          <a:xfrm flipH="1">
            <a:off x="8352308" y="3235480"/>
            <a:ext cx="414026" cy="1384845"/>
          </a:xfrm>
          <a:prstGeom prst="rect">
            <a:avLst/>
          </a:prstGeom>
        </p:spPr>
      </p:pic>
      <p:pic>
        <p:nvPicPr>
          <p:cNvPr id="52" name="Graphique 51" descr="Homme portant une chemise avec motif">
            <a:extLst>
              <a:ext uri="{FF2B5EF4-FFF2-40B4-BE49-F238E27FC236}">
                <a16:creationId xmlns:a16="http://schemas.microsoft.com/office/drawing/2014/main" id="{B19BF500-6354-7712-2D74-F91F5C9E5076}"/>
              </a:ext>
            </a:extLst>
          </p:cNvPr>
          <p:cNvPicPr>
            <a:picLocks noChangeAspect="1"/>
          </p:cNvPicPr>
          <p:nvPr>
            <p:custDataLst>
              <p:tags r:id="rId29"/>
            </p:custDataLst>
          </p:nvPr>
        </p:nvPicPr>
        <p:blipFill>
          <a:blip r:embed="rId107">
            <a:extLst>
              <a:ext uri="{96DAC541-7B7A-43D3-8B79-37D633B846F1}">
                <asvg:svgBlip xmlns:asvg="http://schemas.microsoft.com/office/drawing/2016/SVG/main" r:embed="rId108"/>
              </a:ext>
            </a:extLst>
          </a:blip>
          <a:stretch>
            <a:fillRect/>
          </a:stretch>
        </p:blipFill>
        <p:spPr>
          <a:xfrm flipH="1">
            <a:off x="8009233" y="4240778"/>
            <a:ext cx="559649" cy="1362002"/>
          </a:xfrm>
          <a:prstGeom prst="rect">
            <a:avLst/>
          </a:prstGeom>
        </p:spPr>
      </p:pic>
      <p:pic>
        <p:nvPicPr>
          <p:cNvPr id="54" name="Graphique 53" descr="Homme roulant sur un scooter">
            <a:extLst>
              <a:ext uri="{FF2B5EF4-FFF2-40B4-BE49-F238E27FC236}">
                <a16:creationId xmlns:a16="http://schemas.microsoft.com/office/drawing/2014/main" id="{C122E3A2-0538-4D83-AAEC-5F8A695FBBE8}"/>
              </a:ext>
            </a:extLst>
          </p:cNvPr>
          <p:cNvPicPr>
            <a:picLocks noChangeAspect="1"/>
          </p:cNvPicPr>
          <p:nvPr>
            <p:custDataLst>
              <p:tags r:id="rId30"/>
            </p:custDataLst>
          </p:nvPr>
        </p:nvPicPr>
        <p:blipFill>
          <a:blip r:embed="rId109">
            <a:extLst>
              <a:ext uri="{96DAC541-7B7A-43D3-8B79-37D633B846F1}">
                <asvg:svgBlip xmlns:asvg="http://schemas.microsoft.com/office/drawing/2016/SVG/main" r:embed="rId110"/>
              </a:ext>
            </a:extLst>
          </a:blip>
          <a:stretch>
            <a:fillRect/>
          </a:stretch>
        </p:blipFill>
        <p:spPr>
          <a:xfrm flipH="1">
            <a:off x="7619880" y="4588916"/>
            <a:ext cx="533950" cy="1461939"/>
          </a:xfrm>
          <a:prstGeom prst="rect">
            <a:avLst/>
          </a:prstGeom>
        </p:spPr>
      </p:pic>
      <p:pic>
        <p:nvPicPr>
          <p:cNvPr id="56" name="Graphique 55" descr="Homme âgé portant une veste">
            <a:extLst>
              <a:ext uri="{FF2B5EF4-FFF2-40B4-BE49-F238E27FC236}">
                <a16:creationId xmlns:a16="http://schemas.microsoft.com/office/drawing/2014/main" id="{E872D0B3-C97B-9F1F-958D-0AF71F855B04}"/>
              </a:ext>
            </a:extLst>
          </p:cNvPr>
          <p:cNvPicPr>
            <a:picLocks noChangeAspect="1"/>
          </p:cNvPicPr>
          <p:nvPr>
            <p:custDataLst>
              <p:tags r:id="rId31"/>
            </p:custDataLst>
          </p:nvPr>
        </p:nvPicPr>
        <p:blipFill>
          <a:blip r:embed="rId111">
            <a:extLst>
              <a:ext uri="{96DAC541-7B7A-43D3-8B79-37D633B846F1}">
                <asvg:svgBlip xmlns:asvg="http://schemas.microsoft.com/office/drawing/2016/SVG/main" r:embed="rId112"/>
              </a:ext>
            </a:extLst>
          </a:blip>
          <a:stretch>
            <a:fillRect/>
          </a:stretch>
        </p:blipFill>
        <p:spPr>
          <a:xfrm flipH="1">
            <a:off x="9728226" y="3272708"/>
            <a:ext cx="428302" cy="1333448"/>
          </a:xfrm>
          <a:prstGeom prst="rect">
            <a:avLst/>
          </a:prstGeom>
        </p:spPr>
      </p:pic>
      <p:pic>
        <p:nvPicPr>
          <p:cNvPr id="60" name="Graphique 59" descr="Homme portant une tunique">
            <a:extLst>
              <a:ext uri="{FF2B5EF4-FFF2-40B4-BE49-F238E27FC236}">
                <a16:creationId xmlns:a16="http://schemas.microsoft.com/office/drawing/2014/main" id="{FD59ADE2-9A5D-5C86-8CD5-72292D9EC5F5}"/>
              </a:ext>
            </a:extLst>
          </p:cNvPr>
          <p:cNvPicPr>
            <a:picLocks noChangeAspect="1"/>
          </p:cNvPicPr>
          <p:nvPr>
            <p:custDataLst>
              <p:tags r:id="rId32"/>
            </p:custDataLst>
          </p:nvPr>
        </p:nvPicPr>
        <p:blipFill>
          <a:blip r:embed="rId113">
            <a:extLst>
              <a:ext uri="{96DAC541-7B7A-43D3-8B79-37D633B846F1}">
                <asvg:svgBlip xmlns:asvg="http://schemas.microsoft.com/office/drawing/2016/SVG/main" r:embed="rId114"/>
              </a:ext>
            </a:extLst>
          </a:blip>
          <a:stretch>
            <a:fillRect/>
          </a:stretch>
        </p:blipFill>
        <p:spPr>
          <a:xfrm flipH="1">
            <a:off x="6970249" y="4612491"/>
            <a:ext cx="753812" cy="1362002"/>
          </a:xfrm>
          <a:prstGeom prst="rect">
            <a:avLst/>
          </a:prstGeom>
        </p:spPr>
      </p:pic>
      <p:pic>
        <p:nvPicPr>
          <p:cNvPr id="62" name="Graphique 61" descr="Homme qui salue">
            <a:extLst>
              <a:ext uri="{FF2B5EF4-FFF2-40B4-BE49-F238E27FC236}">
                <a16:creationId xmlns:a16="http://schemas.microsoft.com/office/drawing/2014/main" id="{23EC6007-6FF9-F53F-6735-446A14FE4661}"/>
              </a:ext>
            </a:extLst>
          </p:cNvPr>
          <p:cNvPicPr>
            <a:picLocks noChangeAspect="1"/>
          </p:cNvPicPr>
          <p:nvPr>
            <p:custDataLst>
              <p:tags r:id="rId33"/>
            </p:custDataLst>
          </p:nvPr>
        </p:nvPicPr>
        <p:blipFill>
          <a:blip r:embed="rId115">
            <a:extLst>
              <a:ext uri="{96DAC541-7B7A-43D3-8B79-37D633B846F1}">
                <asvg:svgBlip xmlns:asvg="http://schemas.microsoft.com/office/drawing/2016/SVG/main" r:embed="rId116"/>
              </a:ext>
            </a:extLst>
          </a:blip>
          <a:stretch>
            <a:fillRect/>
          </a:stretch>
        </p:blipFill>
        <p:spPr>
          <a:xfrm flipH="1">
            <a:off x="7910755" y="2917670"/>
            <a:ext cx="448290" cy="1373423"/>
          </a:xfrm>
          <a:prstGeom prst="rect">
            <a:avLst/>
          </a:prstGeom>
        </p:spPr>
      </p:pic>
      <p:pic>
        <p:nvPicPr>
          <p:cNvPr id="1024" name="Graphique 1023" descr="Femme non-voyante utilisant un bâton">
            <a:extLst>
              <a:ext uri="{FF2B5EF4-FFF2-40B4-BE49-F238E27FC236}">
                <a16:creationId xmlns:a16="http://schemas.microsoft.com/office/drawing/2014/main" id="{3FA080DB-6992-54A1-B212-409B927EFC99}"/>
              </a:ext>
            </a:extLst>
          </p:cNvPr>
          <p:cNvPicPr>
            <a:picLocks noChangeAspect="1"/>
          </p:cNvPicPr>
          <p:nvPr>
            <p:custDataLst>
              <p:tags r:id="rId34"/>
            </p:custDataLst>
          </p:nvPr>
        </p:nvPicPr>
        <p:blipFill>
          <a:blip r:embed="rId117">
            <a:extLst>
              <a:ext uri="{96DAC541-7B7A-43D3-8B79-37D633B846F1}">
                <asvg:svgBlip xmlns:asvg="http://schemas.microsoft.com/office/drawing/2016/SVG/main" r:embed="rId118"/>
              </a:ext>
            </a:extLst>
          </a:blip>
          <a:stretch>
            <a:fillRect/>
          </a:stretch>
        </p:blipFill>
        <p:spPr>
          <a:xfrm flipH="1">
            <a:off x="8682842" y="4354331"/>
            <a:ext cx="476843" cy="1441951"/>
          </a:xfrm>
          <a:prstGeom prst="rect">
            <a:avLst/>
          </a:prstGeom>
        </p:spPr>
      </p:pic>
      <p:pic>
        <p:nvPicPr>
          <p:cNvPr id="1027" name="Graphique 1026" descr="Femme levant le doigt">
            <a:extLst>
              <a:ext uri="{FF2B5EF4-FFF2-40B4-BE49-F238E27FC236}">
                <a16:creationId xmlns:a16="http://schemas.microsoft.com/office/drawing/2014/main" id="{A44DB51B-450E-E493-2B6C-FAB1D59E5A83}"/>
              </a:ext>
            </a:extLst>
          </p:cNvPr>
          <p:cNvPicPr>
            <a:picLocks noChangeAspect="1"/>
          </p:cNvPicPr>
          <p:nvPr>
            <p:custDataLst>
              <p:tags r:id="rId35"/>
            </p:custDataLst>
          </p:nvPr>
        </p:nvPicPr>
        <p:blipFill>
          <a:blip r:embed="rId119">
            <a:extLst>
              <a:ext uri="{96DAC541-7B7A-43D3-8B79-37D633B846F1}">
                <asvg:svgBlip xmlns:asvg="http://schemas.microsoft.com/office/drawing/2016/SVG/main" r:embed="rId120"/>
              </a:ext>
            </a:extLst>
          </a:blip>
          <a:stretch>
            <a:fillRect/>
          </a:stretch>
        </p:blipFill>
        <p:spPr>
          <a:xfrm flipH="1">
            <a:off x="9822751" y="4436044"/>
            <a:ext cx="633888" cy="1230656"/>
          </a:xfrm>
          <a:prstGeom prst="rect">
            <a:avLst/>
          </a:prstGeom>
        </p:spPr>
      </p:pic>
      <p:pic>
        <p:nvPicPr>
          <p:cNvPr id="1029" name="Graphique 1028" descr="Femme avec les mains sur la hanche">
            <a:extLst>
              <a:ext uri="{FF2B5EF4-FFF2-40B4-BE49-F238E27FC236}">
                <a16:creationId xmlns:a16="http://schemas.microsoft.com/office/drawing/2014/main" id="{A3341ABA-0C5E-C071-8404-964CEE378A02}"/>
              </a:ext>
            </a:extLst>
          </p:cNvPr>
          <p:cNvPicPr>
            <a:picLocks noChangeAspect="1"/>
          </p:cNvPicPr>
          <p:nvPr>
            <p:custDataLst>
              <p:tags r:id="rId36"/>
            </p:custDataLst>
          </p:nvPr>
        </p:nvPicPr>
        <p:blipFill>
          <a:blip r:embed="rId121">
            <a:extLst>
              <a:ext uri="{96DAC541-7B7A-43D3-8B79-37D633B846F1}">
                <asvg:svgBlip xmlns:asvg="http://schemas.microsoft.com/office/drawing/2016/SVG/main" r:embed="rId122"/>
              </a:ext>
            </a:extLst>
          </a:blip>
          <a:stretch>
            <a:fillRect/>
          </a:stretch>
        </p:blipFill>
        <p:spPr>
          <a:xfrm flipH="1">
            <a:off x="8706535" y="3172601"/>
            <a:ext cx="513963" cy="1259209"/>
          </a:xfrm>
          <a:prstGeom prst="rect">
            <a:avLst/>
          </a:prstGeom>
        </p:spPr>
      </p:pic>
      <p:pic>
        <p:nvPicPr>
          <p:cNvPr id="1031" name="Graphique 1030" descr="Femme portant une robe longue">
            <a:extLst>
              <a:ext uri="{FF2B5EF4-FFF2-40B4-BE49-F238E27FC236}">
                <a16:creationId xmlns:a16="http://schemas.microsoft.com/office/drawing/2014/main" id="{1C376CF2-80B2-A378-C2D1-C6FE525CC081}"/>
              </a:ext>
            </a:extLst>
          </p:cNvPr>
          <p:cNvPicPr>
            <a:picLocks noChangeAspect="1"/>
          </p:cNvPicPr>
          <p:nvPr>
            <p:custDataLst>
              <p:tags r:id="rId37"/>
            </p:custDataLst>
          </p:nvPr>
        </p:nvPicPr>
        <p:blipFill>
          <a:blip r:embed="rId123">
            <a:extLst>
              <a:ext uri="{96DAC541-7B7A-43D3-8B79-37D633B846F1}">
                <asvg:svgBlip xmlns:asvg="http://schemas.microsoft.com/office/drawing/2016/SVG/main" r:embed="rId124"/>
              </a:ext>
            </a:extLst>
          </a:blip>
          <a:stretch>
            <a:fillRect/>
          </a:stretch>
        </p:blipFill>
        <p:spPr>
          <a:xfrm flipH="1">
            <a:off x="7533631" y="2956673"/>
            <a:ext cx="725259" cy="1421964"/>
          </a:xfrm>
          <a:prstGeom prst="rect">
            <a:avLst/>
          </a:prstGeom>
        </p:spPr>
      </p:pic>
      <p:pic>
        <p:nvPicPr>
          <p:cNvPr id="1035" name="Graphique 1034" descr="Femme avec main prothétique">
            <a:extLst>
              <a:ext uri="{FF2B5EF4-FFF2-40B4-BE49-F238E27FC236}">
                <a16:creationId xmlns:a16="http://schemas.microsoft.com/office/drawing/2014/main" id="{E6F27421-B956-2409-BB3E-6AE0FD0C66F4}"/>
              </a:ext>
            </a:extLst>
          </p:cNvPr>
          <p:cNvPicPr>
            <a:picLocks noChangeAspect="1"/>
          </p:cNvPicPr>
          <p:nvPr>
            <p:custDataLst>
              <p:tags r:id="rId38"/>
            </p:custDataLst>
          </p:nvPr>
        </p:nvPicPr>
        <p:blipFill>
          <a:blip r:embed="rId125">
            <a:extLst>
              <a:ext uri="{96DAC541-7B7A-43D3-8B79-37D633B846F1}">
                <asvg:svgBlip xmlns:asvg="http://schemas.microsoft.com/office/drawing/2016/SVG/main" r:embed="rId126"/>
              </a:ext>
            </a:extLst>
          </a:blip>
          <a:stretch>
            <a:fillRect/>
          </a:stretch>
        </p:blipFill>
        <p:spPr>
          <a:xfrm flipH="1">
            <a:off x="7043789" y="5054848"/>
            <a:ext cx="365485" cy="1344870"/>
          </a:xfrm>
          <a:prstGeom prst="rect">
            <a:avLst/>
          </a:prstGeom>
        </p:spPr>
      </p:pic>
      <p:pic>
        <p:nvPicPr>
          <p:cNvPr id="1037" name="Graphique 1036" descr="Femme portant un blazer">
            <a:extLst>
              <a:ext uri="{FF2B5EF4-FFF2-40B4-BE49-F238E27FC236}">
                <a16:creationId xmlns:a16="http://schemas.microsoft.com/office/drawing/2014/main" id="{A42590E8-FC2E-25FD-9892-46878C31788F}"/>
              </a:ext>
            </a:extLst>
          </p:cNvPr>
          <p:cNvPicPr>
            <a:picLocks noChangeAspect="1"/>
          </p:cNvPicPr>
          <p:nvPr>
            <p:custDataLst>
              <p:tags r:id="rId39"/>
            </p:custDataLst>
          </p:nvPr>
        </p:nvPicPr>
        <p:blipFill>
          <a:blip r:embed="rId127">
            <a:extLst>
              <a:ext uri="{96DAC541-7B7A-43D3-8B79-37D633B846F1}">
                <asvg:svgBlip xmlns:asvg="http://schemas.microsoft.com/office/drawing/2016/SVG/main" r:embed="rId128"/>
              </a:ext>
            </a:extLst>
          </a:blip>
          <a:stretch>
            <a:fillRect/>
          </a:stretch>
        </p:blipFill>
        <p:spPr>
          <a:xfrm flipH="1">
            <a:off x="7948420" y="5087726"/>
            <a:ext cx="508253" cy="1324883"/>
          </a:xfrm>
          <a:prstGeom prst="rect">
            <a:avLst/>
          </a:prstGeom>
        </p:spPr>
      </p:pic>
      <p:pic>
        <p:nvPicPr>
          <p:cNvPr id="1039" name="Graphique 1038" descr="Femme portant une chemise avec motif">
            <a:extLst>
              <a:ext uri="{FF2B5EF4-FFF2-40B4-BE49-F238E27FC236}">
                <a16:creationId xmlns:a16="http://schemas.microsoft.com/office/drawing/2014/main" id="{1ED8FEF0-DC36-E613-6F8B-7D7904B6863E}"/>
              </a:ext>
            </a:extLst>
          </p:cNvPr>
          <p:cNvPicPr>
            <a:picLocks noChangeAspect="1"/>
          </p:cNvPicPr>
          <p:nvPr>
            <p:custDataLst>
              <p:tags r:id="rId40"/>
            </p:custDataLst>
          </p:nvPr>
        </p:nvPicPr>
        <p:blipFill>
          <a:blip r:embed="rId129">
            <a:extLst>
              <a:ext uri="{96DAC541-7B7A-43D3-8B79-37D633B846F1}">
                <asvg:svgBlip xmlns:asvg="http://schemas.microsoft.com/office/drawing/2016/SVG/main" r:embed="rId130"/>
              </a:ext>
            </a:extLst>
          </a:blip>
          <a:stretch>
            <a:fillRect/>
          </a:stretch>
        </p:blipFill>
        <p:spPr>
          <a:xfrm flipH="1">
            <a:off x="6997272" y="2797859"/>
            <a:ext cx="591057" cy="1322027"/>
          </a:xfrm>
          <a:prstGeom prst="rect">
            <a:avLst/>
          </a:prstGeom>
        </p:spPr>
      </p:pic>
      <p:pic>
        <p:nvPicPr>
          <p:cNvPr id="1041" name="Graphique 1040" descr="Femme avec chemise à pois">
            <a:extLst>
              <a:ext uri="{FF2B5EF4-FFF2-40B4-BE49-F238E27FC236}">
                <a16:creationId xmlns:a16="http://schemas.microsoft.com/office/drawing/2014/main" id="{6A3347B5-3374-DEEC-CE49-7545D025C53F}"/>
              </a:ext>
            </a:extLst>
          </p:cNvPr>
          <p:cNvPicPr>
            <a:picLocks noChangeAspect="1"/>
          </p:cNvPicPr>
          <p:nvPr>
            <p:custDataLst>
              <p:tags r:id="rId41"/>
            </p:custDataLst>
          </p:nvPr>
        </p:nvPicPr>
        <p:blipFill>
          <a:blip r:embed="rId131">
            <a:extLst>
              <a:ext uri="{96DAC541-7B7A-43D3-8B79-37D633B846F1}">
                <asvg:svgBlip xmlns:asvg="http://schemas.microsoft.com/office/drawing/2016/SVG/main" r:embed="rId132"/>
              </a:ext>
            </a:extLst>
          </a:blip>
          <a:stretch>
            <a:fillRect/>
          </a:stretch>
        </p:blipFill>
        <p:spPr>
          <a:xfrm flipH="1">
            <a:off x="6421702" y="2622578"/>
            <a:ext cx="399749" cy="1290618"/>
          </a:xfrm>
          <a:prstGeom prst="rect">
            <a:avLst/>
          </a:prstGeom>
        </p:spPr>
      </p:pic>
      <p:pic>
        <p:nvPicPr>
          <p:cNvPr id="58" name="Graphique 57" descr="Homme âgé utilisant une cane">
            <a:extLst>
              <a:ext uri="{FF2B5EF4-FFF2-40B4-BE49-F238E27FC236}">
                <a16:creationId xmlns:a16="http://schemas.microsoft.com/office/drawing/2014/main" id="{4A304CDE-7479-C995-A7CA-31B5359B1722}"/>
              </a:ext>
            </a:extLst>
          </p:cNvPr>
          <p:cNvPicPr>
            <a:picLocks noChangeAspect="1"/>
          </p:cNvPicPr>
          <p:nvPr>
            <p:custDataLst>
              <p:tags r:id="rId42"/>
            </p:custDataLst>
          </p:nvPr>
        </p:nvPicPr>
        <p:blipFill>
          <a:blip r:embed="rId133">
            <a:extLst>
              <a:ext uri="{96DAC541-7B7A-43D3-8B79-37D633B846F1}">
                <asvg:svgBlip xmlns:asvg="http://schemas.microsoft.com/office/drawing/2016/SVG/main" r:embed="rId134"/>
              </a:ext>
            </a:extLst>
          </a:blip>
          <a:stretch>
            <a:fillRect/>
          </a:stretch>
        </p:blipFill>
        <p:spPr>
          <a:xfrm flipH="1">
            <a:off x="7641582" y="3906812"/>
            <a:ext cx="651020" cy="1379134"/>
          </a:xfrm>
          <a:prstGeom prst="rect">
            <a:avLst/>
          </a:prstGeom>
        </p:spPr>
      </p:pic>
      <p:pic>
        <p:nvPicPr>
          <p:cNvPr id="30" name="Graphique 29" descr="Garçon dans un fauteuil roulant">
            <a:extLst>
              <a:ext uri="{FF2B5EF4-FFF2-40B4-BE49-F238E27FC236}">
                <a16:creationId xmlns:a16="http://schemas.microsoft.com/office/drawing/2014/main" id="{3C1F4FF0-F4B9-4329-DD77-AF959BC2A00B}"/>
              </a:ext>
            </a:extLst>
          </p:cNvPr>
          <p:cNvPicPr>
            <a:picLocks noChangeAspect="1"/>
          </p:cNvPicPr>
          <p:nvPr>
            <p:custDataLst>
              <p:tags r:id="rId43"/>
            </p:custDataLst>
          </p:nvPr>
        </p:nvPicPr>
        <p:blipFill>
          <a:blip r:embed="rId135">
            <a:extLst>
              <a:ext uri="{96DAC541-7B7A-43D3-8B79-37D633B846F1}">
                <asvg:svgBlip xmlns:asvg="http://schemas.microsoft.com/office/drawing/2016/SVG/main" r:embed="rId136"/>
              </a:ext>
            </a:extLst>
          </a:blip>
          <a:stretch>
            <a:fillRect/>
          </a:stretch>
        </p:blipFill>
        <p:spPr>
          <a:xfrm flipH="1">
            <a:off x="9135530" y="3816857"/>
            <a:ext cx="779510" cy="905146"/>
          </a:xfrm>
          <a:prstGeom prst="rect">
            <a:avLst/>
          </a:prstGeom>
        </p:spPr>
      </p:pic>
      <p:pic>
        <p:nvPicPr>
          <p:cNvPr id="1042" name="Graphique 1041" descr="Un bébé à quatre pattes">
            <a:extLst>
              <a:ext uri="{FF2B5EF4-FFF2-40B4-BE49-F238E27FC236}">
                <a16:creationId xmlns:a16="http://schemas.microsoft.com/office/drawing/2014/main" id="{DED1DB22-740F-8526-A1D1-9E45433EBEA7}"/>
              </a:ext>
            </a:extLst>
          </p:cNvPr>
          <p:cNvPicPr>
            <a:picLocks noChangeAspect="1"/>
          </p:cNvPicPr>
          <p:nvPr>
            <p:custDataLst>
              <p:tags r:id="rId44"/>
            </p:custDataLst>
          </p:nvPr>
        </p:nvPicPr>
        <p:blipFill>
          <a:blip r:embed="rId77">
            <a:extLst>
              <a:ext uri="{96DAC541-7B7A-43D3-8B79-37D633B846F1}">
                <asvg:svgBlip xmlns:asvg="http://schemas.microsoft.com/office/drawing/2016/SVG/main" r:embed="rId78"/>
              </a:ext>
            </a:extLst>
          </a:blip>
          <a:stretch>
            <a:fillRect/>
          </a:stretch>
        </p:blipFill>
        <p:spPr>
          <a:xfrm flipH="1">
            <a:off x="5175144" y="5700699"/>
            <a:ext cx="396893" cy="379761"/>
          </a:xfrm>
          <a:prstGeom prst="rect">
            <a:avLst/>
          </a:prstGeom>
        </p:spPr>
      </p:pic>
      <p:pic>
        <p:nvPicPr>
          <p:cNvPr id="1043" name="Graphique 1042" descr="Bébé rampant en grenouillère">
            <a:extLst>
              <a:ext uri="{FF2B5EF4-FFF2-40B4-BE49-F238E27FC236}">
                <a16:creationId xmlns:a16="http://schemas.microsoft.com/office/drawing/2014/main" id="{A182FEB4-C03C-89A2-F651-25BC4154DAAC}"/>
              </a:ext>
            </a:extLst>
          </p:cNvPr>
          <p:cNvPicPr>
            <a:picLocks noChangeAspect="1"/>
          </p:cNvPicPr>
          <p:nvPr>
            <p:custDataLst>
              <p:tags r:id="rId45"/>
            </p:custDataLst>
          </p:nvPr>
        </p:nvPicPr>
        <p:blipFill>
          <a:blip r:embed="rId79">
            <a:extLst>
              <a:ext uri="{96DAC541-7B7A-43D3-8B79-37D633B846F1}">
                <asvg:svgBlip xmlns:asvg="http://schemas.microsoft.com/office/drawing/2016/SVG/main" r:embed="rId80"/>
              </a:ext>
            </a:extLst>
          </a:blip>
          <a:stretch>
            <a:fillRect/>
          </a:stretch>
        </p:blipFill>
        <p:spPr>
          <a:xfrm flipH="1">
            <a:off x="7093677" y="3685781"/>
            <a:ext cx="436868" cy="379761"/>
          </a:xfrm>
          <a:prstGeom prst="rect">
            <a:avLst/>
          </a:prstGeom>
        </p:spPr>
      </p:pic>
      <p:pic>
        <p:nvPicPr>
          <p:cNvPr id="1044" name="Graphique 1043" descr="Garçon aux cheveux bouclés">
            <a:extLst>
              <a:ext uri="{FF2B5EF4-FFF2-40B4-BE49-F238E27FC236}">
                <a16:creationId xmlns:a16="http://schemas.microsoft.com/office/drawing/2014/main" id="{43811EF9-3682-4D8B-613D-0A26E5B6F6CD}"/>
              </a:ext>
            </a:extLst>
          </p:cNvPr>
          <p:cNvPicPr>
            <a:picLocks noChangeAspect="1"/>
          </p:cNvPicPr>
          <p:nvPr>
            <p:custDataLst>
              <p:tags r:id="rId46"/>
            </p:custDataLst>
          </p:nvPr>
        </p:nvPicPr>
        <p:blipFill>
          <a:blip r:embed="rId81">
            <a:extLst>
              <a:ext uri="{96DAC541-7B7A-43D3-8B79-37D633B846F1}">
                <asvg:svgBlip xmlns:asvg="http://schemas.microsoft.com/office/drawing/2016/SVG/main" r:embed="rId82"/>
              </a:ext>
            </a:extLst>
          </a:blip>
          <a:stretch>
            <a:fillRect/>
          </a:stretch>
        </p:blipFill>
        <p:spPr>
          <a:xfrm flipH="1">
            <a:off x="7011965" y="2611367"/>
            <a:ext cx="379761" cy="1162127"/>
          </a:xfrm>
          <a:prstGeom prst="rect">
            <a:avLst/>
          </a:prstGeom>
        </p:spPr>
      </p:pic>
      <p:pic>
        <p:nvPicPr>
          <p:cNvPr id="1045" name="Graphique 1044" descr="Garçon portant un sac à dos">
            <a:extLst>
              <a:ext uri="{FF2B5EF4-FFF2-40B4-BE49-F238E27FC236}">
                <a16:creationId xmlns:a16="http://schemas.microsoft.com/office/drawing/2014/main" id="{091237AA-5518-6F8A-14CD-2FFE15EF9C58}"/>
              </a:ext>
            </a:extLst>
          </p:cNvPr>
          <p:cNvPicPr>
            <a:picLocks noChangeAspect="1"/>
          </p:cNvPicPr>
          <p:nvPr>
            <p:custDataLst>
              <p:tags r:id="rId47"/>
            </p:custDataLst>
          </p:nvPr>
        </p:nvPicPr>
        <p:blipFill>
          <a:blip r:embed="rId83">
            <a:extLst>
              <a:ext uri="{96DAC541-7B7A-43D3-8B79-37D633B846F1}">
                <asvg:svgBlip xmlns:asvg="http://schemas.microsoft.com/office/drawing/2016/SVG/main" r:embed="rId84"/>
              </a:ext>
            </a:extLst>
          </a:blip>
          <a:stretch>
            <a:fillRect/>
          </a:stretch>
        </p:blipFill>
        <p:spPr>
          <a:xfrm flipH="1">
            <a:off x="6434934" y="5431171"/>
            <a:ext cx="431158" cy="1070756"/>
          </a:xfrm>
          <a:prstGeom prst="rect">
            <a:avLst/>
          </a:prstGeom>
        </p:spPr>
      </p:pic>
      <p:pic>
        <p:nvPicPr>
          <p:cNvPr id="1046" name="Graphique 1045" descr="Garçon portant une cape">
            <a:extLst>
              <a:ext uri="{FF2B5EF4-FFF2-40B4-BE49-F238E27FC236}">
                <a16:creationId xmlns:a16="http://schemas.microsoft.com/office/drawing/2014/main" id="{55663712-DEBE-687E-2981-8B296D5F8FFF}"/>
              </a:ext>
            </a:extLst>
          </p:cNvPr>
          <p:cNvPicPr>
            <a:picLocks noChangeAspect="1"/>
          </p:cNvPicPr>
          <p:nvPr>
            <p:custDataLst>
              <p:tags r:id="rId48"/>
            </p:custDataLst>
          </p:nvPr>
        </p:nvPicPr>
        <p:blipFill>
          <a:blip r:embed="rId85">
            <a:extLst>
              <a:ext uri="{96DAC541-7B7A-43D3-8B79-37D633B846F1}">
                <asvg:svgBlip xmlns:asvg="http://schemas.microsoft.com/office/drawing/2016/SVG/main" r:embed="rId86"/>
              </a:ext>
            </a:extLst>
          </a:blip>
          <a:stretch>
            <a:fillRect/>
          </a:stretch>
        </p:blipFill>
        <p:spPr>
          <a:xfrm flipH="1">
            <a:off x="7056519" y="4193545"/>
            <a:ext cx="571070" cy="1184970"/>
          </a:xfrm>
          <a:prstGeom prst="rect">
            <a:avLst/>
          </a:prstGeom>
        </p:spPr>
      </p:pic>
      <p:pic>
        <p:nvPicPr>
          <p:cNvPr id="1047" name="Graphique 1046" descr="Fille portant un sac à dos">
            <a:extLst>
              <a:ext uri="{FF2B5EF4-FFF2-40B4-BE49-F238E27FC236}">
                <a16:creationId xmlns:a16="http://schemas.microsoft.com/office/drawing/2014/main" id="{702E0685-14AE-38EF-4BD8-9BC1E74674CF}"/>
              </a:ext>
            </a:extLst>
          </p:cNvPr>
          <p:cNvPicPr>
            <a:picLocks noChangeAspect="1"/>
          </p:cNvPicPr>
          <p:nvPr>
            <p:custDataLst>
              <p:tags r:id="rId49"/>
            </p:custDataLst>
          </p:nvPr>
        </p:nvPicPr>
        <p:blipFill>
          <a:blip r:embed="rId87">
            <a:extLst>
              <a:ext uri="{96DAC541-7B7A-43D3-8B79-37D633B846F1}">
                <asvg:svgBlip xmlns:asvg="http://schemas.microsoft.com/office/drawing/2016/SVG/main" r:embed="rId88"/>
              </a:ext>
            </a:extLst>
          </a:blip>
          <a:stretch>
            <a:fillRect/>
          </a:stretch>
        </p:blipFill>
        <p:spPr>
          <a:xfrm flipH="1">
            <a:off x="6881554" y="5288478"/>
            <a:ext cx="431158" cy="1070756"/>
          </a:xfrm>
          <a:prstGeom prst="rect">
            <a:avLst/>
          </a:prstGeom>
        </p:spPr>
      </p:pic>
      <p:pic>
        <p:nvPicPr>
          <p:cNvPr id="1048" name="Graphique 1047" descr="Fille portant une cape">
            <a:extLst>
              <a:ext uri="{FF2B5EF4-FFF2-40B4-BE49-F238E27FC236}">
                <a16:creationId xmlns:a16="http://schemas.microsoft.com/office/drawing/2014/main" id="{6873A713-DA64-6EEB-146B-56EF732AA0F8}"/>
              </a:ext>
            </a:extLst>
          </p:cNvPr>
          <p:cNvPicPr>
            <a:picLocks noChangeAspect="1"/>
          </p:cNvPicPr>
          <p:nvPr>
            <p:custDataLst>
              <p:tags r:id="rId50"/>
            </p:custDataLst>
          </p:nvPr>
        </p:nvPicPr>
        <p:blipFill>
          <a:blip r:embed="rId89">
            <a:extLst>
              <a:ext uri="{96DAC541-7B7A-43D3-8B79-37D633B846F1}">
                <asvg:svgBlip xmlns:asvg="http://schemas.microsoft.com/office/drawing/2016/SVG/main" r:embed="rId90"/>
              </a:ext>
            </a:extLst>
          </a:blip>
          <a:stretch>
            <a:fillRect/>
          </a:stretch>
        </p:blipFill>
        <p:spPr>
          <a:xfrm flipH="1">
            <a:off x="4813681" y="2681366"/>
            <a:ext cx="571070" cy="1184970"/>
          </a:xfrm>
          <a:prstGeom prst="rect">
            <a:avLst/>
          </a:prstGeom>
        </p:spPr>
      </p:pic>
      <p:pic>
        <p:nvPicPr>
          <p:cNvPr id="1049" name="Graphique 1048" descr="Fille portant un collier">
            <a:extLst>
              <a:ext uri="{FF2B5EF4-FFF2-40B4-BE49-F238E27FC236}">
                <a16:creationId xmlns:a16="http://schemas.microsoft.com/office/drawing/2014/main" id="{5B9C6B19-3A07-C667-67CC-4B32CA37CAA0}"/>
              </a:ext>
            </a:extLst>
          </p:cNvPr>
          <p:cNvPicPr>
            <a:picLocks noChangeAspect="1"/>
          </p:cNvPicPr>
          <p:nvPr>
            <p:custDataLst>
              <p:tags r:id="rId51"/>
            </p:custDataLst>
          </p:nvPr>
        </p:nvPicPr>
        <p:blipFill>
          <a:blip r:embed="rId91">
            <a:extLst>
              <a:ext uri="{96DAC541-7B7A-43D3-8B79-37D633B846F1}">
                <asvg:svgBlip xmlns:asvg="http://schemas.microsoft.com/office/drawing/2016/SVG/main" r:embed="rId92"/>
              </a:ext>
            </a:extLst>
          </a:blip>
          <a:stretch>
            <a:fillRect/>
          </a:stretch>
        </p:blipFill>
        <p:spPr>
          <a:xfrm flipH="1">
            <a:off x="6553966" y="2499360"/>
            <a:ext cx="391183" cy="1307750"/>
          </a:xfrm>
          <a:prstGeom prst="rect">
            <a:avLst/>
          </a:prstGeom>
        </p:spPr>
      </p:pic>
      <p:pic>
        <p:nvPicPr>
          <p:cNvPr id="1050" name="Graphique 1049" descr="Homme avec barbe">
            <a:extLst>
              <a:ext uri="{FF2B5EF4-FFF2-40B4-BE49-F238E27FC236}">
                <a16:creationId xmlns:a16="http://schemas.microsoft.com/office/drawing/2014/main" id="{9CE08D0E-434F-2DF5-28EF-B6118D8BE58F}"/>
              </a:ext>
            </a:extLst>
          </p:cNvPr>
          <p:cNvPicPr>
            <a:picLocks noChangeAspect="1"/>
          </p:cNvPicPr>
          <p:nvPr>
            <p:custDataLst>
              <p:tags r:id="rId52"/>
            </p:custDataLst>
          </p:nvPr>
        </p:nvPicPr>
        <p:blipFill>
          <a:blip r:embed="rId93">
            <a:extLst>
              <a:ext uri="{96DAC541-7B7A-43D3-8B79-37D633B846F1}">
                <asvg:svgBlip xmlns:asvg="http://schemas.microsoft.com/office/drawing/2016/SVG/main" r:embed="rId94"/>
              </a:ext>
            </a:extLst>
          </a:blip>
          <a:stretch>
            <a:fillRect/>
          </a:stretch>
        </p:blipFill>
        <p:spPr>
          <a:xfrm flipH="1">
            <a:off x="5924974" y="2842573"/>
            <a:ext cx="416881" cy="1296329"/>
          </a:xfrm>
          <a:prstGeom prst="rect">
            <a:avLst/>
          </a:prstGeom>
        </p:spPr>
      </p:pic>
      <p:pic>
        <p:nvPicPr>
          <p:cNvPr id="1051" name="Graphique 1050" descr="Homme non-voyant portant des lunettes de soleil">
            <a:extLst>
              <a:ext uri="{FF2B5EF4-FFF2-40B4-BE49-F238E27FC236}">
                <a16:creationId xmlns:a16="http://schemas.microsoft.com/office/drawing/2014/main" id="{89503D83-75D4-BD75-F1C1-BDFED98FAE07}"/>
              </a:ext>
            </a:extLst>
          </p:cNvPr>
          <p:cNvPicPr>
            <a:picLocks noChangeAspect="1"/>
          </p:cNvPicPr>
          <p:nvPr>
            <p:custDataLst>
              <p:tags r:id="rId53"/>
            </p:custDataLst>
          </p:nvPr>
        </p:nvPicPr>
        <p:blipFill>
          <a:blip r:embed="rId95">
            <a:extLst>
              <a:ext uri="{96DAC541-7B7A-43D3-8B79-37D633B846F1}">
                <asvg:svgBlip xmlns:asvg="http://schemas.microsoft.com/office/drawing/2016/SVG/main" r:embed="rId96"/>
              </a:ext>
            </a:extLst>
          </a:blip>
          <a:stretch>
            <a:fillRect/>
          </a:stretch>
        </p:blipFill>
        <p:spPr>
          <a:xfrm flipH="1">
            <a:off x="6485871" y="3385624"/>
            <a:ext cx="730969" cy="1444807"/>
          </a:xfrm>
          <a:prstGeom prst="rect">
            <a:avLst/>
          </a:prstGeom>
        </p:spPr>
      </p:pic>
      <p:pic>
        <p:nvPicPr>
          <p:cNvPr id="1052" name="Graphique 1051" descr="Homme tenant une tasse">
            <a:extLst>
              <a:ext uri="{FF2B5EF4-FFF2-40B4-BE49-F238E27FC236}">
                <a16:creationId xmlns:a16="http://schemas.microsoft.com/office/drawing/2014/main" id="{11DA4AA8-6DD6-2CEE-A321-0FF96FA1B86A}"/>
              </a:ext>
            </a:extLst>
          </p:cNvPr>
          <p:cNvPicPr>
            <a:picLocks noChangeAspect="1"/>
          </p:cNvPicPr>
          <p:nvPr>
            <p:custDataLst>
              <p:tags r:id="rId54"/>
            </p:custDataLst>
          </p:nvPr>
        </p:nvPicPr>
        <p:blipFill>
          <a:blip r:embed="rId97">
            <a:extLst>
              <a:ext uri="{96DAC541-7B7A-43D3-8B79-37D633B846F1}">
                <asvg:svgBlip xmlns:asvg="http://schemas.microsoft.com/office/drawing/2016/SVG/main" r:embed="rId98"/>
              </a:ext>
            </a:extLst>
          </a:blip>
          <a:stretch>
            <a:fillRect/>
          </a:stretch>
        </p:blipFill>
        <p:spPr>
          <a:xfrm flipH="1">
            <a:off x="5444457" y="2976537"/>
            <a:ext cx="571070" cy="1290618"/>
          </a:xfrm>
          <a:prstGeom prst="rect">
            <a:avLst/>
          </a:prstGeom>
        </p:spPr>
      </p:pic>
      <p:pic>
        <p:nvPicPr>
          <p:cNvPr id="1053" name="Graphique 1052" descr="Homme en smoking">
            <a:extLst>
              <a:ext uri="{FF2B5EF4-FFF2-40B4-BE49-F238E27FC236}">
                <a16:creationId xmlns:a16="http://schemas.microsoft.com/office/drawing/2014/main" id="{D3A0557F-D2F2-B99E-4142-9659C42FFB46}"/>
              </a:ext>
            </a:extLst>
          </p:cNvPr>
          <p:cNvPicPr>
            <a:picLocks noChangeAspect="1"/>
          </p:cNvPicPr>
          <p:nvPr>
            <p:custDataLst>
              <p:tags r:id="rId55"/>
            </p:custDataLst>
          </p:nvPr>
        </p:nvPicPr>
        <p:blipFill>
          <a:blip r:embed="rId99">
            <a:extLst>
              <a:ext uri="{96DAC541-7B7A-43D3-8B79-37D633B846F1}">
                <asvg:svgBlip xmlns:asvg="http://schemas.microsoft.com/office/drawing/2016/SVG/main" r:embed="rId100"/>
              </a:ext>
            </a:extLst>
          </a:blip>
          <a:stretch>
            <a:fillRect/>
          </a:stretch>
        </p:blipFill>
        <p:spPr>
          <a:xfrm flipH="1">
            <a:off x="6204671" y="4672449"/>
            <a:ext cx="479699" cy="1370568"/>
          </a:xfrm>
          <a:prstGeom prst="rect">
            <a:avLst/>
          </a:prstGeom>
        </p:spPr>
      </p:pic>
      <p:pic>
        <p:nvPicPr>
          <p:cNvPr id="1054" name="Graphique 1053" descr="Homme avec un Mohawk">
            <a:extLst>
              <a:ext uri="{FF2B5EF4-FFF2-40B4-BE49-F238E27FC236}">
                <a16:creationId xmlns:a16="http://schemas.microsoft.com/office/drawing/2014/main" id="{70B258AA-38FE-DAC8-248A-7624A467665A}"/>
              </a:ext>
            </a:extLst>
          </p:cNvPr>
          <p:cNvPicPr>
            <a:picLocks noChangeAspect="1"/>
          </p:cNvPicPr>
          <p:nvPr>
            <p:custDataLst>
              <p:tags r:id="rId56"/>
            </p:custDataLst>
          </p:nvPr>
        </p:nvPicPr>
        <p:blipFill>
          <a:blip r:embed="rId101">
            <a:extLst>
              <a:ext uri="{96DAC541-7B7A-43D3-8B79-37D633B846F1}">
                <asvg:svgBlip xmlns:asvg="http://schemas.microsoft.com/office/drawing/2016/SVG/main" r:embed="rId102"/>
              </a:ext>
            </a:extLst>
          </a:blip>
          <a:stretch>
            <a:fillRect/>
          </a:stretch>
        </p:blipFill>
        <p:spPr>
          <a:xfrm flipH="1">
            <a:off x="5622180" y="4025880"/>
            <a:ext cx="414026" cy="1322027"/>
          </a:xfrm>
          <a:prstGeom prst="rect">
            <a:avLst/>
          </a:prstGeom>
        </p:spPr>
      </p:pic>
      <p:pic>
        <p:nvPicPr>
          <p:cNvPr id="1055" name="Graphique 1054" descr="Homme portant un collier">
            <a:extLst>
              <a:ext uri="{FF2B5EF4-FFF2-40B4-BE49-F238E27FC236}">
                <a16:creationId xmlns:a16="http://schemas.microsoft.com/office/drawing/2014/main" id="{9C4EE4A3-DF7C-6A4F-D5C2-9725A4FCF5CB}"/>
              </a:ext>
            </a:extLst>
          </p:cNvPr>
          <p:cNvPicPr>
            <a:picLocks noChangeAspect="1"/>
          </p:cNvPicPr>
          <p:nvPr>
            <p:custDataLst>
              <p:tags r:id="rId57"/>
            </p:custDataLst>
          </p:nvPr>
        </p:nvPicPr>
        <p:blipFill>
          <a:blip r:embed="rId103">
            <a:extLst>
              <a:ext uri="{96DAC541-7B7A-43D3-8B79-37D633B846F1}">
                <asvg:svgBlip xmlns:asvg="http://schemas.microsoft.com/office/drawing/2016/SVG/main" r:embed="rId104"/>
              </a:ext>
            </a:extLst>
          </a:blip>
          <a:stretch>
            <a:fillRect/>
          </a:stretch>
        </p:blipFill>
        <p:spPr>
          <a:xfrm flipH="1">
            <a:off x="5490021" y="5048746"/>
            <a:ext cx="582491" cy="1299184"/>
          </a:xfrm>
          <a:prstGeom prst="rect">
            <a:avLst/>
          </a:prstGeom>
        </p:spPr>
      </p:pic>
      <p:pic>
        <p:nvPicPr>
          <p:cNvPr id="1056" name="Graphique 1055" descr="Homme avec bras prothétique">
            <a:extLst>
              <a:ext uri="{FF2B5EF4-FFF2-40B4-BE49-F238E27FC236}">
                <a16:creationId xmlns:a16="http://schemas.microsoft.com/office/drawing/2014/main" id="{1715942A-06EC-7DA2-5803-1499C43B2D57}"/>
              </a:ext>
            </a:extLst>
          </p:cNvPr>
          <p:cNvPicPr>
            <a:picLocks noChangeAspect="1"/>
          </p:cNvPicPr>
          <p:nvPr>
            <p:custDataLst>
              <p:tags r:id="rId58"/>
            </p:custDataLst>
          </p:nvPr>
        </p:nvPicPr>
        <p:blipFill>
          <a:blip r:embed="rId105">
            <a:extLst>
              <a:ext uri="{96DAC541-7B7A-43D3-8B79-37D633B846F1}">
                <asvg:svgBlip xmlns:asvg="http://schemas.microsoft.com/office/drawing/2016/SVG/main" r:embed="rId106"/>
              </a:ext>
            </a:extLst>
          </a:blip>
          <a:stretch>
            <a:fillRect/>
          </a:stretch>
        </p:blipFill>
        <p:spPr>
          <a:xfrm flipH="1">
            <a:off x="4943483" y="3373120"/>
            <a:ext cx="414026" cy="1384845"/>
          </a:xfrm>
          <a:prstGeom prst="rect">
            <a:avLst/>
          </a:prstGeom>
        </p:spPr>
      </p:pic>
      <p:pic>
        <p:nvPicPr>
          <p:cNvPr id="1057" name="Graphique 1056" descr="Homme portant une chemise avec motif">
            <a:extLst>
              <a:ext uri="{FF2B5EF4-FFF2-40B4-BE49-F238E27FC236}">
                <a16:creationId xmlns:a16="http://schemas.microsoft.com/office/drawing/2014/main" id="{564DE3D9-8D29-6A60-ABB9-4A82D9D77FDA}"/>
              </a:ext>
            </a:extLst>
          </p:cNvPr>
          <p:cNvPicPr>
            <a:picLocks noChangeAspect="1"/>
          </p:cNvPicPr>
          <p:nvPr>
            <p:custDataLst>
              <p:tags r:id="rId59"/>
            </p:custDataLst>
          </p:nvPr>
        </p:nvPicPr>
        <p:blipFill>
          <a:blip r:embed="rId107">
            <a:extLst>
              <a:ext uri="{96DAC541-7B7A-43D3-8B79-37D633B846F1}">
                <asvg:svgBlip xmlns:asvg="http://schemas.microsoft.com/office/drawing/2016/SVG/main" r:embed="rId108"/>
              </a:ext>
            </a:extLst>
          </a:blip>
          <a:stretch>
            <a:fillRect/>
          </a:stretch>
        </p:blipFill>
        <p:spPr>
          <a:xfrm flipH="1">
            <a:off x="4600408" y="4378418"/>
            <a:ext cx="559649" cy="1362002"/>
          </a:xfrm>
          <a:prstGeom prst="rect">
            <a:avLst/>
          </a:prstGeom>
        </p:spPr>
      </p:pic>
      <p:pic>
        <p:nvPicPr>
          <p:cNvPr id="1058" name="Graphique 1057" descr="Homme roulant sur un scooter">
            <a:extLst>
              <a:ext uri="{FF2B5EF4-FFF2-40B4-BE49-F238E27FC236}">
                <a16:creationId xmlns:a16="http://schemas.microsoft.com/office/drawing/2014/main" id="{069DA74D-AE93-AC69-AC48-7BBF78439704}"/>
              </a:ext>
            </a:extLst>
          </p:cNvPr>
          <p:cNvPicPr>
            <a:picLocks noChangeAspect="1"/>
          </p:cNvPicPr>
          <p:nvPr>
            <p:custDataLst>
              <p:tags r:id="rId60"/>
            </p:custDataLst>
          </p:nvPr>
        </p:nvPicPr>
        <p:blipFill>
          <a:blip r:embed="rId109">
            <a:extLst>
              <a:ext uri="{96DAC541-7B7A-43D3-8B79-37D633B846F1}">
                <asvg:svgBlip xmlns:asvg="http://schemas.microsoft.com/office/drawing/2016/SVG/main" r:embed="rId110"/>
              </a:ext>
            </a:extLst>
          </a:blip>
          <a:stretch>
            <a:fillRect/>
          </a:stretch>
        </p:blipFill>
        <p:spPr>
          <a:xfrm flipH="1">
            <a:off x="4211055" y="4726556"/>
            <a:ext cx="533950" cy="1461939"/>
          </a:xfrm>
          <a:prstGeom prst="rect">
            <a:avLst/>
          </a:prstGeom>
        </p:spPr>
      </p:pic>
      <p:pic>
        <p:nvPicPr>
          <p:cNvPr id="1059" name="Graphique 1058" descr="Homme âgé portant une veste">
            <a:extLst>
              <a:ext uri="{FF2B5EF4-FFF2-40B4-BE49-F238E27FC236}">
                <a16:creationId xmlns:a16="http://schemas.microsoft.com/office/drawing/2014/main" id="{A36C73E6-29C8-04DA-66F5-B6977475FF71}"/>
              </a:ext>
            </a:extLst>
          </p:cNvPr>
          <p:cNvPicPr>
            <a:picLocks noChangeAspect="1"/>
          </p:cNvPicPr>
          <p:nvPr>
            <p:custDataLst>
              <p:tags r:id="rId61"/>
            </p:custDataLst>
          </p:nvPr>
        </p:nvPicPr>
        <p:blipFill>
          <a:blip r:embed="rId111">
            <a:extLst>
              <a:ext uri="{96DAC541-7B7A-43D3-8B79-37D633B846F1}">
                <asvg:svgBlip xmlns:asvg="http://schemas.microsoft.com/office/drawing/2016/SVG/main" r:embed="rId112"/>
              </a:ext>
            </a:extLst>
          </a:blip>
          <a:stretch>
            <a:fillRect/>
          </a:stretch>
        </p:blipFill>
        <p:spPr>
          <a:xfrm flipH="1">
            <a:off x="6319401" y="3410348"/>
            <a:ext cx="428302" cy="1333448"/>
          </a:xfrm>
          <a:prstGeom prst="rect">
            <a:avLst/>
          </a:prstGeom>
        </p:spPr>
      </p:pic>
      <p:pic>
        <p:nvPicPr>
          <p:cNvPr id="1060" name="Graphique 1059" descr="Homme portant une tunique">
            <a:extLst>
              <a:ext uri="{FF2B5EF4-FFF2-40B4-BE49-F238E27FC236}">
                <a16:creationId xmlns:a16="http://schemas.microsoft.com/office/drawing/2014/main" id="{E5C6AAFE-4BD8-EC16-91C1-476DBFE3B5DD}"/>
              </a:ext>
            </a:extLst>
          </p:cNvPr>
          <p:cNvPicPr>
            <a:picLocks noChangeAspect="1"/>
          </p:cNvPicPr>
          <p:nvPr>
            <p:custDataLst>
              <p:tags r:id="rId62"/>
            </p:custDataLst>
          </p:nvPr>
        </p:nvPicPr>
        <p:blipFill>
          <a:blip r:embed="rId113">
            <a:extLst>
              <a:ext uri="{96DAC541-7B7A-43D3-8B79-37D633B846F1}">
                <asvg:svgBlip xmlns:asvg="http://schemas.microsoft.com/office/drawing/2016/SVG/main" r:embed="rId114"/>
              </a:ext>
            </a:extLst>
          </a:blip>
          <a:stretch>
            <a:fillRect/>
          </a:stretch>
        </p:blipFill>
        <p:spPr>
          <a:xfrm flipH="1">
            <a:off x="3561424" y="4750131"/>
            <a:ext cx="753812" cy="1362002"/>
          </a:xfrm>
          <a:prstGeom prst="rect">
            <a:avLst/>
          </a:prstGeom>
        </p:spPr>
      </p:pic>
      <p:pic>
        <p:nvPicPr>
          <p:cNvPr id="1061" name="Graphique 1060" descr="Homme qui salue">
            <a:extLst>
              <a:ext uri="{FF2B5EF4-FFF2-40B4-BE49-F238E27FC236}">
                <a16:creationId xmlns:a16="http://schemas.microsoft.com/office/drawing/2014/main" id="{0875E14A-C7B1-85F1-70A3-3E2B3E00C666}"/>
              </a:ext>
            </a:extLst>
          </p:cNvPr>
          <p:cNvPicPr>
            <a:picLocks noChangeAspect="1"/>
          </p:cNvPicPr>
          <p:nvPr>
            <p:custDataLst>
              <p:tags r:id="rId63"/>
            </p:custDataLst>
          </p:nvPr>
        </p:nvPicPr>
        <p:blipFill>
          <a:blip r:embed="rId115">
            <a:extLst>
              <a:ext uri="{96DAC541-7B7A-43D3-8B79-37D633B846F1}">
                <asvg:svgBlip xmlns:asvg="http://schemas.microsoft.com/office/drawing/2016/SVG/main" r:embed="rId116"/>
              </a:ext>
            </a:extLst>
          </a:blip>
          <a:stretch>
            <a:fillRect/>
          </a:stretch>
        </p:blipFill>
        <p:spPr>
          <a:xfrm flipH="1">
            <a:off x="4501930" y="3055310"/>
            <a:ext cx="448290" cy="1373423"/>
          </a:xfrm>
          <a:prstGeom prst="rect">
            <a:avLst/>
          </a:prstGeom>
        </p:spPr>
      </p:pic>
      <p:pic>
        <p:nvPicPr>
          <p:cNvPr id="1062" name="Graphique 1061" descr="Femme non-voyante utilisant un bâton">
            <a:extLst>
              <a:ext uri="{FF2B5EF4-FFF2-40B4-BE49-F238E27FC236}">
                <a16:creationId xmlns:a16="http://schemas.microsoft.com/office/drawing/2014/main" id="{4839DEE3-8428-16CB-0E3D-B3A517D6C023}"/>
              </a:ext>
            </a:extLst>
          </p:cNvPr>
          <p:cNvPicPr>
            <a:picLocks noChangeAspect="1"/>
          </p:cNvPicPr>
          <p:nvPr>
            <p:custDataLst>
              <p:tags r:id="rId64"/>
            </p:custDataLst>
          </p:nvPr>
        </p:nvPicPr>
        <p:blipFill>
          <a:blip r:embed="rId117">
            <a:extLst>
              <a:ext uri="{96DAC541-7B7A-43D3-8B79-37D633B846F1}">
                <asvg:svgBlip xmlns:asvg="http://schemas.microsoft.com/office/drawing/2016/SVG/main" r:embed="rId118"/>
              </a:ext>
            </a:extLst>
          </a:blip>
          <a:stretch>
            <a:fillRect/>
          </a:stretch>
        </p:blipFill>
        <p:spPr>
          <a:xfrm flipH="1">
            <a:off x="5274017" y="4491971"/>
            <a:ext cx="476843" cy="1441951"/>
          </a:xfrm>
          <a:prstGeom prst="rect">
            <a:avLst/>
          </a:prstGeom>
        </p:spPr>
      </p:pic>
      <p:pic>
        <p:nvPicPr>
          <p:cNvPr id="1063" name="Graphique 1062" descr="Femme levant le doigt">
            <a:extLst>
              <a:ext uri="{FF2B5EF4-FFF2-40B4-BE49-F238E27FC236}">
                <a16:creationId xmlns:a16="http://schemas.microsoft.com/office/drawing/2014/main" id="{DD82B7BE-20DB-0D5C-681A-4D96E01C1583}"/>
              </a:ext>
            </a:extLst>
          </p:cNvPr>
          <p:cNvPicPr>
            <a:picLocks noChangeAspect="1"/>
          </p:cNvPicPr>
          <p:nvPr>
            <p:custDataLst>
              <p:tags r:id="rId65"/>
            </p:custDataLst>
          </p:nvPr>
        </p:nvPicPr>
        <p:blipFill>
          <a:blip r:embed="rId119">
            <a:extLst>
              <a:ext uri="{96DAC541-7B7A-43D3-8B79-37D633B846F1}">
                <asvg:svgBlip xmlns:asvg="http://schemas.microsoft.com/office/drawing/2016/SVG/main" r:embed="rId120"/>
              </a:ext>
            </a:extLst>
          </a:blip>
          <a:stretch>
            <a:fillRect/>
          </a:stretch>
        </p:blipFill>
        <p:spPr>
          <a:xfrm flipH="1">
            <a:off x="6413926" y="4573684"/>
            <a:ext cx="633888" cy="1230656"/>
          </a:xfrm>
          <a:prstGeom prst="rect">
            <a:avLst/>
          </a:prstGeom>
        </p:spPr>
      </p:pic>
      <p:pic>
        <p:nvPicPr>
          <p:cNvPr id="1064" name="Graphique 1063" descr="Femme avec les mains sur la hanche">
            <a:extLst>
              <a:ext uri="{FF2B5EF4-FFF2-40B4-BE49-F238E27FC236}">
                <a16:creationId xmlns:a16="http://schemas.microsoft.com/office/drawing/2014/main" id="{340D2CFF-1A1A-86DE-A144-008DD07B98D9}"/>
              </a:ext>
            </a:extLst>
          </p:cNvPr>
          <p:cNvPicPr>
            <a:picLocks noChangeAspect="1"/>
          </p:cNvPicPr>
          <p:nvPr>
            <p:custDataLst>
              <p:tags r:id="rId66"/>
            </p:custDataLst>
          </p:nvPr>
        </p:nvPicPr>
        <p:blipFill>
          <a:blip r:embed="rId121">
            <a:extLst>
              <a:ext uri="{96DAC541-7B7A-43D3-8B79-37D633B846F1}">
                <asvg:svgBlip xmlns:asvg="http://schemas.microsoft.com/office/drawing/2016/SVG/main" r:embed="rId122"/>
              </a:ext>
            </a:extLst>
          </a:blip>
          <a:stretch>
            <a:fillRect/>
          </a:stretch>
        </p:blipFill>
        <p:spPr>
          <a:xfrm flipH="1">
            <a:off x="5297710" y="3310241"/>
            <a:ext cx="513963" cy="1259209"/>
          </a:xfrm>
          <a:prstGeom prst="rect">
            <a:avLst/>
          </a:prstGeom>
        </p:spPr>
      </p:pic>
      <p:pic>
        <p:nvPicPr>
          <p:cNvPr id="1065" name="Graphique 1064" descr="Femme portant une robe longue">
            <a:extLst>
              <a:ext uri="{FF2B5EF4-FFF2-40B4-BE49-F238E27FC236}">
                <a16:creationId xmlns:a16="http://schemas.microsoft.com/office/drawing/2014/main" id="{09CEA2CB-F163-F468-BFE4-70F71791E247}"/>
              </a:ext>
            </a:extLst>
          </p:cNvPr>
          <p:cNvPicPr>
            <a:picLocks noChangeAspect="1"/>
          </p:cNvPicPr>
          <p:nvPr>
            <p:custDataLst>
              <p:tags r:id="rId67"/>
            </p:custDataLst>
          </p:nvPr>
        </p:nvPicPr>
        <p:blipFill>
          <a:blip r:embed="rId123">
            <a:extLst>
              <a:ext uri="{96DAC541-7B7A-43D3-8B79-37D633B846F1}">
                <asvg:svgBlip xmlns:asvg="http://schemas.microsoft.com/office/drawing/2016/SVG/main" r:embed="rId124"/>
              </a:ext>
            </a:extLst>
          </a:blip>
          <a:stretch>
            <a:fillRect/>
          </a:stretch>
        </p:blipFill>
        <p:spPr>
          <a:xfrm flipH="1">
            <a:off x="4124806" y="3094313"/>
            <a:ext cx="725259" cy="1421964"/>
          </a:xfrm>
          <a:prstGeom prst="rect">
            <a:avLst/>
          </a:prstGeom>
        </p:spPr>
      </p:pic>
      <p:pic>
        <p:nvPicPr>
          <p:cNvPr id="1066" name="Graphique 1065" descr="Femme avec main prothétique">
            <a:extLst>
              <a:ext uri="{FF2B5EF4-FFF2-40B4-BE49-F238E27FC236}">
                <a16:creationId xmlns:a16="http://schemas.microsoft.com/office/drawing/2014/main" id="{3B13372E-539E-E246-987C-E3FB7BF188AF}"/>
              </a:ext>
            </a:extLst>
          </p:cNvPr>
          <p:cNvPicPr>
            <a:picLocks noChangeAspect="1"/>
          </p:cNvPicPr>
          <p:nvPr>
            <p:custDataLst>
              <p:tags r:id="rId68"/>
            </p:custDataLst>
          </p:nvPr>
        </p:nvPicPr>
        <p:blipFill>
          <a:blip r:embed="rId125">
            <a:extLst>
              <a:ext uri="{96DAC541-7B7A-43D3-8B79-37D633B846F1}">
                <asvg:svgBlip xmlns:asvg="http://schemas.microsoft.com/office/drawing/2016/SVG/main" r:embed="rId126"/>
              </a:ext>
            </a:extLst>
          </a:blip>
          <a:stretch>
            <a:fillRect/>
          </a:stretch>
        </p:blipFill>
        <p:spPr>
          <a:xfrm flipH="1">
            <a:off x="3634964" y="5192488"/>
            <a:ext cx="365485" cy="1344870"/>
          </a:xfrm>
          <a:prstGeom prst="rect">
            <a:avLst/>
          </a:prstGeom>
        </p:spPr>
      </p:pic>
      <p:pic>
        <p:nvPicPr>
          <p:cNvPr id="1067" name="Graphique 1066" descr="Femme portant un blazer">
            <a:extLst>
              <a:ext uri="{FF2B5EF4-FFF2-40B4-BE49-F238E27FC236}">
                <a16:creationId xmlns:a16="http://schemas.microsoft.com/office/drawing/2014/main" id="{9492AAE4-65D7-F407-295A-2B440922EE7B}"/>
              </a:ext>
            </a:extLst>
          </p:cNvPr>
          <p:cNvPicPr>
            <a:picLocks noChangeAspect="1"/>
          </p:cNvPicPr>
          <p:nvPr>
            <p:custDataLst>
              <p:tags r:id="rId69"/>
            </p:custDataLst>
          </p:nvPr>
        </p:nvPicPr>
        <p:blipFill>
          <a:blip r:embed="rId127">
            <a:extLst>
              <a:ext uri="{96DAC541-7B7A-43D3-8B79-37D633B846F1}">
                <asvg:svgBlip xmlns:asvg="http://schemas.microsoft.com/office/drawing/2016/SVG/main" r:embed="rId128"/>
              </a:ext>
            </a:extLst>
          </a:blip>
          <a:stretch>
            <a:fillRect/>
          </a:stretch>
        </p:blipFill>
        <p:spPr>
          <a:xfrm flipH="1">
            <a:off x="4539595" y="5225366"/>
            <a:ext cx="508253" cy="1324883"/>
          </a:xfrm>
          <a:prstGeom prst="rect">
            <a:avLst/>
          </a:prstGeom>
        </p:spPr>
      </p:pic>
      <p:pic>
        <p:nvPicPr>
          <p:cNvPr id="1068" name="Graphique 1067" descr="Femme portant une chemise avec motif">
            <a:extLst>
              <a:ext uri="{FF2B5EF4-FFF2-40B4-BE49-F238E27FC236}">
                <a16:creationId xmlns:a16="http://schemas.microsoft.com/office/drawing/2014/main" id="{F1A43752-FC46-2BF4-7397-7D2736A44955}"/>
              </a:ext>
            </a:extLst>
          </p:cNvPr>
          <p:cNvPicPr>
            <a:picLocks noChangeAspect="1"/>
          </p:cNvPicPr>
          <p:nvPr>
            <p:custDataLst>
              <p:tags r:id="rId70"/>
            </p:custDataLst>
          </p:nvPr>
        </p:nvPicPr>
        <p:blipFill>
          <a:blip r:embed="rId129">
            <a:extLst>
              <a:ext uri="{96DAC541-7B7A-43D3-8B79-37D633B846F1}">
                <asvg:svgBlip xmlns:asvg="http://schemas.microsoft.com/office/drawing/2016/SVG/main" r:embed="rId130"/>
              </a:ext>
            </a:extLst>
          </a:blip>
          <a:stretch>
            <a:fillRect/>
          </a:stretch>
        </p:blipFill>
        <p:spPr>
          <a:xfrm flipH="1">
            <a:off x="3588447" y="2935499"/>
            <a:ext cx="591057" cy="1322027"/>
          </a:xfrm>
          <a:prstGeom prst="rect">
            <a:avLst/>
          </a:prstGeom>
        </p:spPr>
      </p:pic>
      <p:pic>
        <p:nvPicPr>
          <p:cNvPr id="1069" name="Graphique 1068" descr="Femme avec chemise à pois">
            <a:extLst>
              <a:ext uri="{FF2B5EF4-FFF2-40B4-BE49-F238E27FC236}">
                <a16:creationId xmlns:a16="http://schemas.microsoft.com/office/drawing/2014/main" id="{D092E04C-532D-94E5-C1C9-3822E3F36E31}"/>
              </a:ext>
            </a:extLst>
          </p:cNvPr>
          <p:cNvPicPr>
            <a:picLocks noChangeAspect="1"/>
          </p:cNvPicPr>
          <p:nvPr>
            <p:custDataLst>
              <p:tags r:id="rId71"/>
            </p:custDataLst>
          </p:nvPr>
        </p:nvPicPr>
        <p:blipFill>
          <a:blip r:embed="rId131">
            <a:extLst>
              <a:ext uri="{96DAC541-7B7A-43D3-8B79-37D633B846F1}">
                <asvg:svgBlip xmlns:asvg="http://schemas.microsoft.com/office/drawing/2016/SVG/main" r:embed="rId132"/>
              </a:ext>
            </a:extLst>
          </a:blip>
          <a:stretch>
            <a:fillRect/>
          </a:stretch>
        </p:blipFill>
        <p:spPr>
          <a:xfrm flipH="1">
            <a:off x="3012877" y="2760218"/>
            <a:ext cx="399749" cy="1290618"/>
          </a:xfrm>
          <a:prstGeom prst="rect">
            <a:avLst/>
          </a:prstGeom>
        </p:spPr>
      </p:pic>
      <p:pic>
        <p:nvPicPr>
          <p:cNvPr id="1070" name="Graphique 1069" descr="Homme âgé utilisant une cane">
            <a:extLst>
              <a:ext uri="{FF2B5EF4-FFF2-40B4-BE49-F238E27FC236}">
                <a16:creationId xmlns:a16="http://schemas.microsoft.com/office/drawing/2014/main" id="{2ECD137D-4704-D157-B1ED-F3DF7C76C601}"/>
              </a:ext>
            </a:extLst>
          </p:cNvPr>
          <p:cNvPicPr>
            <a:picLocks noChangeAspect="1"/>
          </p:cNvPicPr>
          <p:nvPr>
            <p:custDataLst>
              <p:tags r:id="rId72"/>
            </p:custDataLst>
          </p:nvPr>
        </p:nvPicPr>
        <p:blipFill>
          <a:blip r:embed="rId133">
            <a:extLst>
              <a:ext uri="{96DAC541-7B7A-43D3-8B79-37D633B846F1}">
                <asvg:svgBlip xmlns:asvg="http://schemas.microsoft.com/office/drawing/2016/SVG/main" r:embed="rId134"/>
              </a:ext>
            </a:extLst>
          </a:blip>
          <a:stretch>
            <a:fillRect/>
          </a:stretch>
        </p:blipFill>
        <p:spPr>
          <a:xfrm flipH="1">
            <a:off x="4232757" y="4044452"/>
            <a:ext cx="651020" cy="1379134"/>
          </a:xfrm>
          <a:prstGeom prst="rect">
            <a:avLst/>
          </a:prstGeom>
        </p:spPr>
      </p:pic>
      <p:pic>
        <p:nvPicPr>
          <p:cNvPr id="1071" name="Graphique 1070" descr="Garçon dans un fauteuil roulant">
            <a:extLst>
              <a:ext uri="{FF2B5EF4-FFF2-40B4-BE49-F238E27FC236}">
                <a16:creationId xmlns:a16="http://schemas.microsoft.com/office/drawing/2014/main" id="{F80D00C4-3066-CA68-A24F-4135112C2B09}"/>
              </a:ext>
            </a:extLst>
          </p:cNvPr>
          <p:cNvPicPr>
            <a:picLocks noChangeAspect="1"/>
          </p:cNvPicPr>
          <p:nvPr>
            <p:custDataLst>
              <p:tags r:id="rId73"/>
            </p:custDataLst>
          </p:nvPr>
        </p:nvPicPr>
        <p:blipFill>
          <a:blip r:embed="rId135">
            <a:extLst>
              <a:ext uri="{96DAC541-7B7A-43D3-8B79-37D633B846F1}">
                <asvg:svgBlip xmlns:asvg="http://schemas.microsoft.com/office/drawing/2016/SVG/main" r:embed="rId136"/>
              </a:ext>
            </a:extLst>
          </a:blip>
          <a:stretch>
            <a:fillRect/>
          </a:stretch>
        </p:blipFill>
        <p:spPr>
          <a:xfrm flipH="1">
            <a:off x="5726705" y="3954497"/>
            <a:ext cx="779510" cy="905146"/>
          </a:xfrm>
          <a:prstGeom prst="rect">
            <a:avLst/>
          </a:prstGeom>
        </p:spPr>
      </p:pic>
      <p:sp>
        <p:nvSpPr>
          <p:cNvPr id="18" name="ZoneTexte 17">
            <a:extLst>
              <a:ext uri="{FF2B5EF4-FFF2-40B4-BE49-F238E27FC236}">
                <a16:creationId xmlns:a16="http://schemas.microsoft.com/office/drawing/2014/main" id="{BA5B75AD-E062-01E1-405D-EC2B838BF350}"/>
              </a:ext>
            </a:extLst>
          </p:cNvPr>
          <p:cNvSpPr txBox="1"/>
          <p:nvPr>
            <p:custDataLst>
              <p:tags r:id="rId74"/>
            </p:custDataLst>
          </p:nvPr>
        </p:nvSpPr>
        <p:spPr>
          <a:xfrm>
            <a:off x="4963366" y="3365193"/>
            <a:ext cx="4210425" cy="1938992"/>
          </a:xfrm>
          <a:prstGeom prst="rect">
            <a:avLst/>
          </a:prstGeom>
          <a:solidFill>
            <a:schemeClr val="bg1">
              <a:alpha val="80000"/>
            </a:schemeClr>
          </a:solidFill>
        </p:spPr>
        <p:txBody>
          <a:bodyPr wrap="square" rtlCol="0">
            <a:spAutoFit/>
          </a:bodyPr>
          <a:lstStyle/>
          <a:p>
            <a:r>
              <a:rPr lang="fr-CA" sz="2400"/>
              <a:t>+ Prises en charge pour :</a:t>
            </a:r>
          </a:p>
          <a:p>
            <a:pPr marL="285750" indent="-285750">
              <a:buFont typeface="Arial" panose="020B0604020202020204" pitchFamily="34" charset="0"/>
              <a:buChar char="•"/>
            </a:pPr>
            <a:r>
              <a:rPr lang="fr-CA" sz="2400" err="1"/>
              <a:t>Déprescription</a:t>
            </a:r>
            <a:r>
              <a:rPr lang="fr-CA" sz="2400"/>
              <a:t> R33</a:t>
            </a:r>
          </a:p>
          <a:p>
            <a:pPr marL="285750" indent="-285750">
              <a:buFont typeface="Arial" panose="020B0604020202020204" pitchFamily="34" charset="0"/>
              <a:buChar char="•"/>
            </a:pPr>
            <a:r>
              <a:rPr lang="fr-CA" sz="2400" err="1"/>
              <a:t>Anticogulothérapie</a:t>
            </a:r>
            <a:r>
              <a:rPr lang="fr-CA" sz="2400"/>
              <a:t> R34</a:t>
            </a:r>
          </a:p>
          <a:p>
            <a:pPr marL="285750" indent="-285750">
              <a:buFont typeface="Arial" panose="020B0604020202020204" pitchFamily="34" charset="0"/>
              <a:buChar char="•"/>
            </a:pPr>
            <a:r>
              <a:rPr lang="fr-CA" sz="2400"/>
              <a:t>Soins palliatifs R39 </a:t>
            </a:r>
          </a:p>
          <a:p>
            <a:pPr marL="285750" indent="-285750">
              <a:buFont typeface="Arial" panose="020B0604020202020204" pitchFamily="34" charset="0"/>
              <a:buChar char="•"/>
            </a:pPr>
            <a:r>
              <a:rPr lang="fr-CA" sz="2400" err="1"/>
              <a:t>Posthospitalisation</a:t>
            </a:r>
            <a:r>
              <a:rPr lang="fr-CA" sz="2400"/>
              <a:t> R40</a:t>
            </a:r>
          </a:p>
        </p:txBody>
      </p:sp>
    </p:spTree>
    <p:extLst>
      <p:ext uri="{BB962C8B-B14F-4D97-AF65-F5344CB8AC3E}">
        <p14:creationId xmlns:p14="http://schemas.microsoft.com/office/powerpoint/2010/main" val="39724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4"/>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024"/>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02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29"/>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35"/>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037"/>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3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1"/>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8"/>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042"/>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043"/>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04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104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046"/>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047"/>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048"/>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049"/>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1050"/>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051"/>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052"/>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053"/>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1054"/>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1055"/>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1056"/>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05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1058"/>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1059"/>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1070"/>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1060"/>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1061"/>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1062"/>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1063"/>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1064"/>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1065"/>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1066"/>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1067"/>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1068"/>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1069"/>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10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3" grpId="0"/>
      <p:bldP spid="14" grpId="0"/>
      <p:bldP spid="16" grpId="0"/>
      <p:bldP spid="1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320C6-C1B8-31D1-3913-E94268E38E7A}"/>
            </a:ext>
          </a:extLst>
        </p:cNvPr>
        <p:cNvGrpSpPr/>
        <p:nvPr/>
      </p:nvGrpSpPr>
      <p:grpSpPr>
        <a:xfrm>
          <a:off x="0" y="0"/>
          <a:ext cx="0" cy="0"/>
          <a:chOff x="0" y="0"/>
          <a:chExt cx="0" cy="0"/>
        </a:xfrm>
      </p:grpSpPr>
      <p:grpSp>
        <p:nvGrpSpPr>
          <p:cNvPr id="1674" name="Groupe 1673">
            <a:extLst>
              <a:ext uri="{FF2B5EF4-FFF2-40B4-BE49-F238E27FC236}">
                <a16:creationId xmlns:a16="http://schemas.microsoft.com/office/drawing/2014/main" id="{EAAB92EF-49D0-06BA-B151-6C33BC587FCF}"/>
              </a:ext>
            </a:extLst>
          </p:cNvPr>
          <p:cNvGrpSpPr/>
          <p:nvPr>
            <p:custDataLst>
              <p:tags r:id="rId1"/>
            </p:custDataLst>
          </p:nvPr>
        </p:nvGrpSpPr>
        <p:grpSpPr>
          <a:xfrm>
            <a:off x="6456040" y="2792151"/>
            <a:ext cx="4554890" cy="3715011"/>
            <a:chOff x="3501504" y="2643317"/>
            <a:chExt cx="4554890" cy="3715011"/>
          </a:xfrm>
          <a:solidFill>
            <a:srgbClr val="000000">
              <a:alpha val="30000"/>
            </a:srgbClr>
          </a:solidFill>
        </p:grpSpPr>
        <p:pic>
          <p:nvPicPr>
            <p:cNvPr id="1675" name="Graphique 1674" descr="Homme non-voyant portant des lunettes de soleil">
              <a:extLst>
                <a:ext uri="{FF2B5EF4-FFF2-40B4-BE49-F238E27FC236}">
                  <a16:creationId xmlns:a16="http://schemas.microsoft.com/office/drawing/2014/main" id="{E6487DB3-4C76-B202-648B-B03E789A62B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H="1">
              <a:off x="4305733" y="2926313"/>
              <a:ext cx="730969" cy="1444807"/>
            </a:xfrm>
            <a:prstGeom prst="rect">
              <a:avLst/>
            </a:prstGeom>
          </p:spPr>
        </p:pic>
        <p:pic>
          <p:nvPicPr>
            <p:cNvPr id="1676" name="Graphique 1675" descr="Un bébé à quatre pattes">
              <a:extLst>
                <a:ext uri="{FF2B5EF4-FFF2-40B4-BE49-F238E27FC236}">
                  <a16:creationId xmlns:a16="http://schemas.microsoft.com/office/drawing/2014/main" id="{C70907BF-F096-2A21-E536-B1C7338C683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flipH="1">
              <a:off x="5745541" y="4718082"/>
              <a:ext cx="396893" cy="379761"/>
            </a:xfrm>
            <a:prstGeom prst="rect">
              <a:avLst/>
            </a:prstGeom>
          </p:spPr>
        </p:pic>
        <p:pic>
          <p:nvPicPr>
            <p:cNvPr id="1677" name="Graphique 1676" descr="Garçon portant un sac à dos">
              <a:extLst>
                <a:ext uri="{FF2B5EF4-FFF2-40B4-BE49-F238E27FC236}">
                  <a16:creationId xmlns:a16="http://schemas.microsoft.com/office/drawing/2014/main" id="{EFDCE72E-13A0-26E7-8BD3-282ED24240B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7225782" y="5163816"/>
              <a:ext cx="431158" cy="1070756"/>
            </a:xfrm>
            <a:prstGeom prst="rect">
              <a:avLst/>
            </a:prstGeom>
          </p:spPr>
        </p:pic>
        <p:pic>
          <p:nvPicPr>
            <p:cNvPr id="1678" name="Graphique 1677" descr="Garçon portant une cape">
              <a:extLst>
                <a:ext uri="{FF2B5EF4-FFF2-40B4-BE49-F238E27FC236}">
                  <a16:creationId xmlns:a16="http://schemas.microsoft.com/office/drawing/2014/main" id="{5AAAC449-CBD8-FD4C-AEC1-FB4E619A211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flipH="1">
              <a:off x="7401478" y="4190813"/>
              <a:ext cx="571070" cy="1184970"/>
            </a:xfrm>
            <a:prstGeom prst="rect">
              <a:avLst/>
            </a:prstGeom>
          </p:spPr>
        </p:pic>
        <p:pic>
          <p:nvPicPr>
            <p:cNvPr id="1679" name="Graphique 1678" descr="Fille portant un sac à dos">
              <a:extLst>
                <a:ext uri="{FF2B5EF4-FFF2-40B4-BE49-F238E27FC236}">
                  <a16:creationId xmlns:a16="http://schemas.microsoft.com/office/drawing/2014/main" id="{4E9313CD-84BB-538B-E32F-BE6AB422C61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flipH="1">
              <a:off x="7625236" y="4837482"/>
              <a:ext cx="431158" cy="1070756"/>
            </a:xfrm>
            <a:prstGeom prst="rect">
              <a:avLst/>
            </a:prstGeom>
          </p:spPr>
        </p:pic>
        <p:pic>
          <p:nvPicPr>
            <p:cNvPr id="1680" name="Graphique 1679" descr="Homme non-voyant portant des lunettes de soleil">
              <a:extLst>
                <a:ext uri="{FF2B5EF4-FFF2-40B4-BE49-F238E27FC236}">
                  <a16:creationId xmlns:a16="http://schemas.microsoft.com/office/drawing/2014/main" id="{57B327FD-9FFD-8FA6-D4E4-E872E3B93FF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H="1">
              <a:off x="7229553" y="2934628"/>
              <a:ext cx="730969" cy="1444807"/>
            </a:xfrm>
            <a:prstGeom prst="rect">
              <a:avLst/>
            </a:prstGeom>
          </p:spPr>
        </p:pic>
        <p:pic>
          <p:nvPicPr>
            <p:cNvPr id="1681" name="Graphique 1680" descr="Homme en smoking">
              <a:extLst>
                <a:ext uri="{FF2B5EF4-FFF2-40B4-BE49-F238E27FC236}">
                  <a16:creationId xmlns:a16="http://schemas.microsoft.com/office/drawing/2014/main" id="{0BB0BDB5-A17F-30E2-3CD0-4132DB0A16E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flipH="1">
              <a:off x="6890458" y="4259181"/>
              <a:ext cx="479699" cy="1370568"/>
            </a:xfrm>
            <a:prstGeom prst="rect">
              <a:avLst/>
            </a:prstGeom>
          </p:spPr>
        </p:pic>
        <p:pic>
          <p:nvPicPr>
            <p:cNvPr id="1682" name="Graphique 1681" descr="Homme avec un Mohawk">
              <a:extLst>
                <a:ext uri="{FF2B5EF4-FFF2-40B4-BE49-F238E27FC236}">
                  <a16:creationId xmlns:a16="http://schemas.microsoft.com/office/drawing/2014/main" id="{7E67D4EC-ADAD-01A5-9765-1B81BF8F5EF0}"/>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flipH="1">
              <a:off x="6365862" y="3574884"/>
              <a:ext cx="414026" cy="1322027"/>
            </a:xfrm>
            <a:prstGeom prst="rect">
              <a:avLst/>
            </a:prstGeom>
          </p:spPr>
        </p:pic>
        <p:pic>
          <p:nvPicPr>
            <p:cNvPr id="1683" name="Graphique 1682" descr="Homme portant un collier">
              <a:extLst>
                <a:ext uri="{FF2B5EF4-FFF2-40B4-BE49-F238E27FC236}">
                  <a16:creationId xmlns:a16="http://schemas.microsoft.com/office/drawing/2014/main" id="{8E2F200C-393F-2761-B372-0DC8BB9176D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flipH="1">
              <a:off x="6233703" y="4597750"/>
              <a:ext cx="582491" cy="1299184"/>
            </a:xfrm>
            <a:prstGeom prst="rect">
              <a:avLst/>
            </a:prstGeom>
          </p:spPr>
        </p:pic>
        <p:pic>
          <p:nvPicPr>
            <p:cNvPr id="1684" name="Graphique 1683" descr="Homme avec bras prothétique">
              <a:extLst>
                <a:ext uri="{FF2B5EF4-FFF2-40B4-BE49-F238E27FC236}">
                  <a16:creationId xmlns:a16="http://schemas.microsoft.com/office/drawing/2014/main" id="{FAAAF046-EC3A-D2C2-C2F1-62FBE3B0C546}"/>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flipH="1">
              <a:off x="5687165" y="2922124"/>
              <a:ext cx="414026" cy="1384845"/>
            </a:xfrm>
            <a:prstGeom prst="rect">
              <a:avLst/>
            </a:prstGeom>
          </p:spPr>
        </p:pic>
        <p:pic>
          <p:nvPicPr>
            <p:cNvPr id="1685" name="Graphique 1684" descr="Homme portant une chemise avec motif">
              <a:extLst>
                <a:ext uri="{FF2B5EF4-FFF2-40B4-BE49-F238E27FC236}">
                  <a16:creationId xmlns:a16="http://schemas.microsoft.com/office/drawing/2014/main" id="{4361108A-1F3C-91D1-3A02-80333B2FA67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flipH="1">
              <a:off x="5344090" y="3927422"/>
              <a:ext cx="559649" cy="1362002"/>
            </a:xfrm>
            <a:prstGeom prst="rect">
              <a:avLst/>
            </a:prstGeom>
          </p:spPr>
        </p:pic>
        <p:pic>
          <p:nvPicPr>
            <p:cNvPr id="1686" name="Graphique 1685" descr="Homme roulant sur un scooter">
              <a:extLst>
                <a:ext uri="{FF2B5EF4-FFF2-40B4-BE49-F238E27FC236}">
                  <a16:creationId xmlns:a16="http://schemas.microsoft.com/office/drawing/2014/main" id="{D4F323F9-2ECD-EE6E-64C5-CEB3AAF5A4C4}"/>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flipH="1">
              <a:off x="4849169" y="4750256"/>
              <a:ext cx="533950" cy="1461939"/>
            </a:xfrm>
            <a:prstGeom prst="rect">
              <a:avLst/>
            </a:prstGeom>
          </p:spPr>
        </p:pic>
        <p:pic>
          <p:nvPicPr>
            <p:cNvPr id="1687" name="Graphique 1686" descr="Homme âgé portant une veste">
              <a:extLst>
                <a:ext uri="{FF2B5EF4-FFF2-40B4-BE49-F238E27FC236}">
                  <a16:creationId xmlns:a16="http://schemas.microsoft.com/office/drawing/2014/main" id="{67ED6964-C347-DE2F-D7C3-D6C86DEF577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flipH="1">
              <a:off x="6964465" y="2975647"/>
              <a:ext cx="428302" cy="1333448"/>
            </a:xfrm>
            <a:prstGeom prst="rect">
              <a:avLst/>
            </a:prstGeom>
          </p:spPr>
        </p:pic>
        <p:pic>
          <p:nvPicPr>
            <p:cNvPr id="1688" name="Graphique 1687" descr="Homme portant une tunique">
              <a:extLst>
                <a:ext uri="{FF2B5EF4-FFF2-40B4-BE49-F238E27FC236}">
                  <a16:creationId xmlns:a16="http://schemas.microsoft.com/office/drawing/2014/main" id="{86F6CD7A-7422-DA32-2535-9DC8C01A9D0E}"/>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flipH="1">
              <a:off x="4258678" y="4089671"/>
              <a:ext cx="753812" cy="1362002"/>
            </a:xfrm>
            <a:prstGeom prst="rect">
              <a:avLst/>
            </a:prstGeom>
          </p:spPr>
        </p:pic>
        <p:pic>
          <p:nvPicPr>
            <p:cNvPr id="1689" name="Graphique 1688" descr="Femme non-voyante utilisant un bâton">
              <a:extLst>
                <a:ext uri="{FF2B5EF4-FFF2-40B4-BE49-F238E27FC236}">
                  <a16:creationId xmlns:a16="http://schemas.microsoft.com/office/drawing/2014/main" id="{5EFBA511-C78C-9E10-4090-2E11FB0AA742}"/>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flipH="1">
              <a:off x="6017699" y="4075281"/>
              <a:ext cx="476843" cy="1441951"/>
            </a:xfrm>
            <a:prstGeom prst="rect">
              <a:avLst/>
            </a:prstGeom>
          </p:spPr>
        </p:pic>
        <p:pic>
          <p:nvPicPr>
            <p:cNvPr id="1690" name="Graphique 1689" descr="Femme avec les mains sur la hanche">
              <a:extLst>
                <a:ext uri="{FF2B5EF4-FFF2-40B4-BE49-F238E27FC236}">
                  <a16:creationId xmlns:a16="http://schemas.microsoft.com/office/drawing/2014/main" id="{B5A7451A-10CF-C5D5-C495-793D982B539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flipH="1">
              <a:off x="6041392" y="2780928"/>
              <a:ext cx="513963" cy="1259209"/>
            </a:xfrm>
            <a:prstGeom prst="rect">
              <a:avLst/>
            </a:prstGeom>
          </p:spPr>
        </p:pic>
        <p:pic>
          <p:nvPicPr>
            <p:cNvPr id="1691" name="Graphique 1690" descr="Femme portant une robe longue">
              <a:extLst>
                <a:ext uri="{FF2B5EF4-FFF2-40B4-BE49-F238E27FC236}">
                  <a16:creationId xmlns:a16="http://schemas.microsoft.com/office/drawing/2014/main" id="{F66DF47E-FA5C-E39D-D94E-4BA37BAFCCD7}"/>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flipH="1">
              <a:off x="4868488" y="2643317"/>
              <a:ext cx="725259" cy="1421964"/>
            </a:xfrm>
            <a:prstGeom prst="rect">
              <a:avLst/>
            </a:prstGeom>
          </p:spPr>
        </p:pic>
        <p:pic>
          <p:nvPicPr>
            <p:cNvPr id="1692" name="Graphique 1691" descr="Femme avec main prothétique">
              <a:extLst>
                <a:ext uri="{FF2B5EF4-FFF2-40B4-BE49-F238E27FC236}">
                  <a16:creationId xmlns:a16="http://schemas.microsoft.com/office/drawing/2014/main" id="{772623AA-9C19-0EF6-6EFE-AD5F5DDC87AF}"/>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flipH="1">
              <a:off x="4378646" y="4741492"/>
              <a:ext cx="365485" cy="1344870"/>
            </a:xfrm>
            <a:prstGeom prst="rect">
              <a:avLst/>
            </a:prstGeom>
          </p:spPr>
        </p:pic>
        <p:pic>
          <p:nvPicPr>
            <p:cNvPr id="1693" name="Graphique 1692" descr="Femme portant un blazer">
              <a:extLst>
                <a:ext uri="{FF2B5EF4-FFF2-40B4-BE49-F238E27FC236}">
                  <a16:creationId xmlns:a16="http://schemas.microsoft.com/office/drawing/2014/main" id="{D00B5A68-CDBA-6700-4CFB-7606EC959937}"/>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flipH="1">
              <a:off x="5367734" y="4812568"/>
              <a:ext cx="508253" cy="1324883"/>
            </a:xfrm>
            <a:prstGeom prst="rect">
              <a:avLst/>
            </a:prstGeom>
          </p:spPr>
        </p:pic>
        <p:pic>
          <p:nvPicPr>
            <p:cNvPr id="1694" name="Graphique 1693" descr="Homme âgé utilisant une cane">
              <a:extLst>
                <a:ext uri="{FF2B5EF4-FFF2-40B4-BE49-F238E27FC236}">
                  <a16:creationId xmlns:a16="http://schemas.microsoft.com/office/drawing/2014/main" id="{29CAC4E1-EB3C-6F7E-2332-6DB1571DA9C9}"/>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flipH="1">
              <a:off x="4900482" y="3507428"/>
              <a:ext cx="651020" cy="1379134"/>
            </a:xfrm>
            <a:prstGeom prst="rect">
              <a:avLst/>
            </a:prstGeom>
          </p:spPr>
        </p:pic>
        <p:grpSp>
          <p:nvGrpSpPr>
            <p:cNvPr id="1695" name="Graphique 35" descr="Garçon dans un fauteuil roulant">
              <a:extLst>
                <a:ext uri="{FF2B5EF4-FFF2-40B4-BE49-F238E27FC236}">
                  <a16:creationId xmlns:a16="http://schemas.microsoft.com/office/drawing/2014/main" id="{42FFECE3-812B-85D5-67A5-0DF6B09B4F48}"/>
                </a:ext>
              </a:extLst>
            </p:cNvPr>
            <p:cNvGrpSpPr/>
            <p:nvPr/>
          </p:nvGrpSpPr>
          <p:grpSpPr>
            <a:xfrm>
              <a:off x="6596747" y="5481226"/>
              <a:ext cx="751062" cy="877102"/>
              <a:chOff x="9153323" y="3832116"/>
              <a:chExt cx="751062" cy="877102"/>
            </a:xfrm>
            <a:grpFill/>
          </p:grpSpPr>
          <p:grpSp>
            <p:nvGrpSpPr>
              <p:cNvPr id="1701" name="Graphique 35" descr="Garçon dans un fauteuil roulant">
                <a:extLst>
                  <a:ext uri="{FF2B5EF4-FFF2-40B4-BE49-F238E27FC236}">
                    <a16:creationId xmlns:a16="http://schemas.microsoft.com/office/drawing/2014/main" id="{A25050AC-AB23-2033-66C2-4296CA20C005}"/>
                  </a:ext>
                </a:extLst>
              </p:cNvPr>
              <p:cNvGrpSpPr/>
              <p:nvPr/>
            </p:nvGrpSpPr>
            <p:grpSpPr>
              <a:xfrm>
                <a:off x="9153323" y="3985440"/>
                <a:ext cx="751062" cy="723778"/>
                <a:chOff x="9153323" y="3985440"/>
                <a:chExt cx="751062" cy="723778"/>
              </a:xfrm>
              <a:grpFill/>
            </p:grpSpPr>
            <p:sp>
              <p:nvSpPr>
                <p:cNvPr id="1714" name="Forme libre : forme 1713">
                  <a:extLst>
                    <a:ext uri="{FF2B5EF4-FFF2-40B4-BE49-F238E27FC236}">
                      <a16:creationId xmlns:a16="http://schemas.microsoft.com/office/drawing/2014/main" id="{D4B8556E-BC02-B16F-DD32-6F936D5EB1E1}"/>
                    </a:ext>
                  </a:extLst>
                </p:cNvPr>
                <p:cNvSpPr/>
                <p:nvPr/>
              </p:nvSpPr>
              <p:spPr>
                <a:xfrm>
                  <a:off x="9156791" y="3985719"/>
                  <a:ext cx="746079" cy="721501"/>
                </a:xfrm>
                <a:custGeom>
                  <a:avLst/>
                  <a:gdLst>
                    <a:gd name="connsiteX0" fmla="*/ 725289 w 746079"/>
                    <a:gd name="connsiteY0" fmla="*/ 643256 h 721501"/>
                    <a:gd name="connsiteX1" fmla="*/ 726086 w 746079"/>
                    <a:gd name="connsiteY1" fmla="*/ 638168 h 721501"/>
                    <a:gd name="connsiteX2" fmla="*/ 744217 w 746079"/>
                    <a:gd name="connsiteY2" fmla="*/ 637691 h 721501"/>
                    <a:gd name="connsiteX3" fmla="*/ 744694 w 746079"/>
                    <a:gd name="connsiteY3" fmla="*/ 626398 h 721501"/>
                    <a:gd name="connsiteX4" fmla="*/ 726403 w 746079"/>
                    <a:gd name="connsiteY4" fmla="*/ 626238 h 721501"/>
                    <a:gd name="connsiteX5" fmla="*/ 723222 w 746079"/>
                    <a:gd name="connsiteY5" fmla="*/ 622581 h 721501"/>
                    <a:gd name="connsiteX6" fmla="*/ 690936 w 746079"/>
                    <a:gd name="connsiteY6" fmla="*/ 624648 h 721501"/>
                    <a:gd name="connsiteX7" fmla="*/ 679963 w 746079"/>
                    <a:gd name="connsiteY7" fmla="*/ 611764 h 721501"/>
                    <a:gd name="connsiteX8" fmla="*/ 622308 w 746079"/>
                    <a:gd name="connsiteY8" fmla="*/ 388228 h 721501"/>
                    <a:gd name="connsiteX9" fmla="*/ 602109 w 746079"/>
                    <a:gd name="connsiteY9" fmla="*/ 375187 h 721501"/>
                    <a:gd name="connsiteX10" fmla="*/ 604893 w 746079"/>
                    <a:gd name="connsiteY10" fmla="*/ 342982 h 721501"/>
                    <a:gd name="connsiteX11" fmla="*/ 576203 w 746079"/>
                    <a:gd name="connsiteY11" fmla="*/ 293430 h 721501"/>
                    <a:gd name="connsiteX12" fmla="*/ 573976 w 746079"/>
                    <a:gd name="connsiteY12" fmla="*/ 250965 h 721501"/>
                    <a:gd name="connsiteX13" fmla="*/ 557594 w 746079"/>
                    <a:gd name="connsiteY13" fmla="*/ 248261 h 721501"/>
                    <a:gd name="connsiteX14" fmla="*/ 440060 w 746079"/>
                    <a:gd name="connsiteY14" fmla="*/ 214542 h 721501"/>
                    <a:gd name="connsiteX15" fmla="*/ 396321 w 746079"/>
                    <a:gd name="connsiteY15" fmla="*/ 127226 h 721501"/>
                    <a:gd name="connsiteX16" fmla="*/ 367200 w 746079"/>
                    <a:gd name="connsiteY16" fmla="*/ 65764 h 721501"/>
                    <a:gd name="connsiteX17" fmla="*/ 314239 w 746079"/>
                    <a:gd name="connsiteY17" fmla="*/ 42545 h 721501"/>
                    <a:gd name="connsiteX18" fmla="*/ 302064 w 746079"/>
                    <a:gd name="connsiteY18" fmla="*/ 24747 h 721501"/>
                    <a:gd name="connsiteX19" fmla="*/ 231933 w 746079"/>
                    <a:gd name="connsiteY19" fmla="*/ 0 h 721501"/>
                    <a:gd name="connsiteX20" fmla="*/ 231536 w 746079"/>
                    <a:gd name="connsiteY20" fmla="*/ 17812 h 721501"/>
                    <a:gd name="connsiteX21" fmla="*/ 214995 w 746079"/>
                    <a:gd name="connsiteY21" fmla="*/ 45883 h 721501"/>
                    <a:gd name="connsiteX22" fmla="*/ 190422 w 746079"/>
                    <a:gd name="connsiteY22" fmla="*/ 59720 h 721501"/>
                    <a:gd name="connsiteX23" fmla="*/ 167203 w 746079"/>
                    <a:gd name="connsiteY23" fmla="*/ 83896 h 721501"/>
                    <a:gd name="connsiteX24" fmla="*/ 124101 w 746079"/>
                    <a:gd name="connsiteY24" fmla="*/ 78965 h 721501"/>
                    <a:gd name="connsiteX25" fmla="*/ 65255 w 746079"/>
                    <a:gd name="connsiteY25" fmla="*/ 58766 h 721501"/>
                    <a:gd name="connsiteX26" fmla="*/ 63665 w 746079"/>
                    <a:gd name="connsiteY26" fmla="*/ 73557 h 721501"/>
                    <a:gd name="connsiteX27" fmla="*/ 96427 w 746079"/>
                    <a:gd name="connsiteY27" fmla="*/ 77214 h 721501"/>
                    <a:gd name="connsiteX28" fmla="*/ 111209 w 746079"/>
                    <a:gd name="connsiteY28" fmla="*/ 101882 h 721501"/>
                    <a:gd name="connsiteX29" fmla="*/ 121237 w 746079"/>
                    <a:gd name="connsiteY29" fmla="*/ 259640 h 721501"/>
                    <a:gd name="connsiteX30" fmla="*/ 117103 w 746079"/>
                    <a:gd name="connsiteY30" fmla="*/ 268865 h 721501"/>
                    <a:gd name="connsiteX31" fmla="*/ 75911 w 746079"/>
                    <a:gd name="connsiteY31" fmla="*/ 271093 h 721501"/>
                    <a:gd name="connsiteX32" fmla="*/ 14362 w 746079"/>
                    <a:gd name="connsiteY32" fmla="*/ 360157 h 721501"/>
                    <a:gd name="connsiteX33" fmla="*/ 365 w 746079"/>
                    <a:gd name="connsiteY33" fmla="*/ 435544 h 721501"/>
                    <a:gd name="connsiteX34" fmla="*/ 4659 w 746079"/>
                    <a:gd name="connsiteY34" fmla="*/ 511250 h 721501"/>
                    <a:gd name="connsiteX35" fmla="*/ 90385 w 746079"/>
                    <a:gd name="connsiteY35" fmla="*/ 647394 h 721501"/>
                    <a:gd name="connsiteX36" fmla="*/ 130623 w 746079"/>
                    <a:gd name="connsiteY36" fmla="*/ 663775 h 721501"/>
                    <a:gd name="connsiteX37" fmla="*/ 196150 w 746079"/>
                    <a:gd name="connsiteY37" fmla="*/ 625445 h 721501"/>
                    <a:gd name="connsiteX38" fmla="*/ 234480 w 746079"/>
                    <a:gd name="connsiteY38" fmla="*/ 631806 h 721501"/>
                    <a:gd name="connsiteX39" fmla="*/ 241159 w 746079"/>
                    <a:gd name="connsiteY39" fmla="*/ 631170 h 721501"/>
                    <a:gd name="connsiteX40" fmla="*/ 224938 w 746079"/>
                    <a:gd name="connsiteY40" fmla="*/ 689062 h 721501"/>
                    <a:gd name="connsiteX41" fmla="*/ 260724 w 746079"/>
                    <a:gd name="connsiteY41" fmla="*/ 720234 h 721501"/>
                    <a:gd name="connsiteX42" fmla="*/ 314798 w 746079"/>
                    <a:gd name="connsiteY42" fmla="*/ 700352 h 721501"/>
                    <a:gd name="connsiteX43" fmla="*/ 301758 w 746079"/>
                    <a:gd name="connsiteY43" fmla="*/ 627669 h 721501"/>
                    <a:gd name="connsiteX44" fmla="*/ 310415 w 746079"/>
                    <a:gd name="connsiteY44" fmla="*/ 606848 h 721501"/>
                    <a:gd name="connsiteX45" fmla="*/ 315595 w 746079"/>
                    <a:gd name="connsiteY45" fmla="*/ 580590 h 721501"/>
                    <a:gd name="connsiteX46" fmla="*/ 377782 w 746079"/>
                    <a:gd name="connsiteY46" fmla="*/ 594587 h 721501"/>
                    <a:gd name="connsiteX47" fmla="*/ 384620 w 746079"/>
                    <a:gd name="connsiteY47" fmla="*/ 652796 h 721501"/>
                    <a:gd name="connsiteX48" fmla="*/ 400208 w 746079"/>
                    <a:gd name="connsiteY48" fmla="*/ 661545 h 721501"/>
                    <a:gd name="connsiteX49" fmla="*/ 403388 w 746079"/>
                    <a:gd name="connsiteY49" fmla="*/ 678880 h 721501"/>
                    <a:gd name="connsiteX50" fmla="*/ 407523 w 746079"/>
                    <a:gd name="connsiteY50" fmla="*/ 678880 h 721501"/>
                    <a:gd name="connsiteX51" fmla="*/ 411500 w 746079"/>
                    <a:gd name="connsiteY51" fmla="*/ 686195 h 721501"/>
                    <a:gd name="connsiteX52" fmla="*/ 415635 w 746079"/>
                    <a:gd name="connsiteY52" fmla="*/ 672835 h 721501"/>
                    <a:gd name="connsiteX53" fmla="*/ 454125 w 746079"/>
                    <a:gd name="connsiteY53" fmla="*/ 665359 h 721501"/>
                    <a:gd name="connsiteX54" fmla="*/ 457783 w 746079"/>
                    <a:gd name="connsiteY54" fmla="*/ 660748 h 721501"/>
                    <a:gd name="connsiteX55" fmla="*/ 471303 w 746079"/>
                    <a:gd name="connsiteY55" fmla="*/ 662498 h 721501"/>
                    <a:gd name="connsiteX56" fmla="*/ 501681 w 746079"/>
                    <a:gd name="connsiteY56" fmla="*/ 654546 h 721501"/>
                    <a:gd name="connsiteX57" fmla="*/ 496901 w 746079"/>
                    <a:gd name="connsiteY57" fmla="*/ 668477 h 721501"/>
                    <a:gd name="connsiteX58" fmla="*/ 509625 w 746079"/>
                    <a:gd name="connsiteY58" fmla="*/ 676033 h 721501"/>
                    <a:gd name="connsiteX59" fmla="*/ 561164 w 746079"/>
                    <a:gd name="connsiteY59" fmla="*/ 674111 h 721501"/>
                    <a:gd name="connsiteX60" fmla="*/ 582636 w 746079"/>
                    <a:gd name="connsiteY60" fmla="*/ 666476 h 721501"/>
                    <a:gd name="connsiteX61" fmla="*/ 581839 w 746079"/>
                    <a:gd name="connsiteY61" fmla="*/ 675542 h 721501"/>
                    <a:gd name="connsiteX62" fmla="*/ 662951 w 746079"/>
                    <a:gd name="connsiteY62" fmla="*/ 665839 h 721501"/>
                    <a:gd name="connsiteX63" fmla="*/ 724501 w 746079"/>
                    <a:gd name="connsiteY63" fmla="*/ 650729 h 721501"/>
                    <a:gd name="connsiteX64" fmla="*/ 737541 w 746079"/>
                    <a:gd name="connsiteY64" fmla="*/ 644684 h 721501"/>
                    <a:gd name="connsiteX65" fmla="*/ 725289 w 746079"/>
                    <a:gd name="connsiteY65" fmla="*/ 643256 h 721501"/>
                    <a:gd name="connsiteX66" fmla="*/ 305730 w 746079"/>
                    <a:gd name="connsiteY66" fmla="*/ 403415 h 721501"/>
                    <a:gd name="connsiteX67" fmla="*/ 306047 w 746079"/>
                    <a:gd name="connsiteY67" fmla="*/ 411051 h 721501"/>
                    <a:gd name="connsiteX68" fmla="*/ 285531 w 746079"/>
                    <a:gd name="connsiteY68" fmla="*/ 409143 h 721501"/>
                    <a:gd name="connsiteX69" fmla="*/ 282510 w 746079"/>
                    <a:gd name="connsiteY69" fmla="*/ 399917 h 721501"/>
                    <a:gd name="connsiteX70" fmla="*/ 305730 w 746079"/>
                    <a:gd name="connsiteY70" fmla="*/ 403415 h 721501"/>
                    <a:gd name="connsiteX71" fmla="*/ 191376 w 746079"/>
                    <a:gd name="connsiteY71" fmla="*/ 604132 h 721501"/>
                    <a:gd name="connsiteX72" fmla="*/ 107240 w 746079"/>
                    <a:gd name="connsiteY72" fmla="*/ 586478 h 721501"/>
                    <a:gd name="connsiteX73" fmla="*/ 98492 w 746079"/>
                    <a:gd name="connsiteY73" fmla="*/ 601268 h 721501"/>
                    <a:gd name="connsiteX74" fmla="*/ 150570 w 746079"/>
                    <a:gd name="connsiteY74" fmla="*/ 616393 h 721501"/>
                    <a:gd name="connsiteX75" fmla="*/ 180083 w 746079"/>
                    <a:gd name="connsiteY75" fmla="*/ 620833 h 721501"/>
                    <a:gd name="connsiteX76" fmla="*/ 147161 w 746079"/>
                    <a:gd name="connsiteY76" fmla="*/ 644053 h 721501"/>
                    <a:gd name="connsiteX77" fmla="*/ 100473 w 746079"/>
                    <a:gd name="connsiteY77" fmla="*/ 637468 h 721501"/>
                    <a:gd name="connsiteX78" fmla="*/ 28039 w 746079"/>
                    <a:gd name="connsiteY78" fmla="*/ 525884 h 721501"/>
                    <a:gd name="connsiteX79" fmla="*/ 15315 w 746079"/>
                    <a:gd name="connsiteY79" fmla="*/ 459720 h 721501"/>
                    <a:gd name="connsiteX80" fmla="*/ 14601 w 746079"/>
                    <a:gd name="connsiteY80" fmla="*/ 432206 h 721501"/>
                    <a:gd name="connsiteX81" fmla="*/ 35834 w 746079"/>
                    <a:gd name="connsiteY81" fmla="*/ 334236 h 721501"/>
                    <a:gd name="connsiteX82" fmla="*/ 51570 w 746079"/>
                    <a:gd name="connsiteY82" fmla="*/ 310634 h 721501"/>
                    <a:gd name="connsiteX83" fmla="*/ 54442 w 746079"/>
                    <a:gd name="connsiteY83" fmla="*/ 305237 h 721501"/>
                    <a:gd name="connsiteX84" fmla="*/ 117637 w 746079"/>
                    <a:gd name="connsiteY84" fmla="*/ 287000 h 721501"/>
                    <a:gd name="connsiteX85" fmla="*/ 121243 w 746079"/>
                    <a:gd name="connsiteY85" fmla="*/ 351254 h 721501"/>
                    <a:gd name="connsiteX86" fmla="*/ 123998 w 746079"/>
                    <a:gd name="connsiteY86" fmla="*/ 352950 h 721501"/>
                    <a:gd name="connsiteX87" fmla="*/ 125483 w 746079"/>
                    <a:gd name="connsiteY87" fmla="*/ 375005 h 721501"/>
                    <a:gd name="connsiteX88" fmla="*/ 124264 w 746079"/>
                    <a:gd name="connsiteY88" fmla="*/ 443978 h 721501"/>
                    <a:gd name="connsiteX89" fmla="*/ 115995 w 746079"/>
                    <a:gd name="connsiteY89" fmla="*/ 457498 h 721501"/>
                    <a:gd name="connsiteX90" fmla="*/ 103271 w 746079"/>
                    <a:gd name="connsiteY90" fmla="*/ 454158 h 721501"/>
                    <a:gd name="connsiteX91" fmla="*/ 86730 w 746079"/>
                    <a:gd name="connsiteY91" fmla="*/ 466564 h 721501"/>
                    <a:gd name="connsiteX92" fmla="*/ 101204 w 746079"/>
                    <a:gd name="connsiteY92" fmla="*/ 482785 h 721501"/>
                    <a:gd name="connsiteX93" fmla="*/ 106612 w 746079"/>
                    <a:gd name="connsiteY93" fmla="*/ 473560 h 721501"/>
                    <a:gd name="connsiteX94" fmla="*/ 117428 w 746079"/>
                    <a:gd name="connsiteY94" fmla="*/ 471016 h 721501"/>
                    <a:gd name="connsiteX95" fmla="*/ 127924 w 746079"/>
                    <a:gd name="connsiteY95" fmla="*/ 481512 h 721501"/>
                    <a:gd name="connsiteX96" fmla="*/ 138264 w 746079"/>
                    <a:gd name="connsiteY96" fmla="*/ 456065 h 721501"/>
                    <a:gd name="connsiteX97" fmla="*/ 142241 w 746079"/>
                    <a:gd name="connsiteY97" fmla="*/ 377177 h 721501"/>
                    <a:gd name="connsiteX98" fmla="*/ 199497 w 746079"/>
                    <a:gd name="connsiteY98" fmla="*/ 387674 h 721501"/>
                    <a:gd name="connsiteX99" fmla="*/ 214607 w 746079"/>
                    <a:gd name="connsiteY99" fmla="*/ 457972 h 721501"/>
                    <a:gd name="connsiteX100" fmla="*/ 191376 w 746079"/>
                    <a:gd name="connsiteY100" fmla="*/ 604132 h 721501"/>
                    <a:gd name="connsiteX101" fmla="*/ 240519 w 746079"/>
                    <a:gd name="connsiteY101" fmla="*/ 667589 h 721501"/>
                    <a:gd name="connsiteX102" fmla="*/ 261992 w 746079"/>
                    <a:gd name="connsiteY102" fmla="*/ 669657 h 721501"/>
                    <a:gd name="connsiteX103" fmla="*/ 257697 w 746079"/>
                    <a:gd name="connsiteY103" fmla="*/ 681107 h 721501"/>
                    <a:gd name="connsiteX104" fmla="*/ 264059 w 746079"/>
                    <a:gd name="connsiteY104" fmla="*/ 682857 h 721501"/>
                    <a:gd name="connsiteX105" fmla="*/ 255541 w 746079"/>
                    <a:gd name="connsiteY105" fmla="*/ 695118 h 721501"/>
                    <a:gd name="connsiteX106" fmla="*/ 240519 w 746079"/>
                    <a:gd name="connsiteY106" fmla="*/ 667589 h 721501"/>
                    <a:gd name="connsiteX107" fmla="*/ 266923 w 746079"/>
                    <a:gd name="connsiteY107" fmla="*/ 638645 h 721501"/>
                    <a:gd name="connsiteX108" fmla="*/ 268673 w 746079"/>
                    <a:gd name="connsiteY108" fmla="*/ 653435 h 721501"/>
                    <a:gd name="connsiteX109" fmla="*/ 263265 w 746079"/>
                    <a:gd name="connsiteY109" fmla="*/ 668066 h 721501"/>
                    <a:gd name="connsiteX110" fmla="*/ 241624 w 746079"/>
                    <a:gd name="connsiteY110" fmla="*/ 661322 h 721501"/>
                    <a:gd name="connsiteX111" fmla="*/ 266923 w 746079"/>
                    <a:gd name="connsiteY111" fmla="*/ 638645 h 721501"/>
                    <a:gd name="connsiteX112" fmla="*/ 250699 w 746079"/>
                    <a:gd name="connsiteY112" fmla="*/ 624968 h 721501"/>
                    <a:gd name="connsiteX113" fmla="*/ 263739 w 746079"/>
                    <a:gd name="connsiteY113" fmla="*/ 591092 h 721501"/>
                    <a:gd name="connsiteX114" fmla="*/ 290616 w 746079"/>
                    <a:gd name="connsiteY114" fmla="*/ 575187 h 721501"/>
                    <a:gd name="connsiteX115" fmla="*/ 291413 w 746079"/>
                    <a:gd name="connsiteY115" fmla="*/ 588228 h 721501"/>
                    <a:gd name="connsiteX116" fmla="*/ 295231 w 746079"/>
                    <a:gd name="connsiteY116" fmla="*/ 589978 h 721501"/>
                    <a:gd name="connsiteX117" fmla="*/ 282824 w 746079"/>
                    <a:gd name="connsiteY117" fmla="*/ 620196 h 721501"/>
                    <a:gd name="connsiteX118" fmla="*/ 250699 w 746079"/>
                    <a:gd name="connsiteY118" fmla="*/ 624968 h 721501"/>
                    <a:gd name="connsiteX119" fmla="*/ 261038 w 746079"/>
                    <a:gd name="connsiteY119" fmla="*/ 697174 h 721501"/>
                    <a:gd name="connsiteX120" fmla="*/ 271057 w 746079"/>
                    <a:gd name="connsiteY120" fmla="*/ 681746 h 721501"/>
                    <a:gd name="connsiteX121" fmla="*/ 282350 w 746079"/>
                    <a:gd name="connsiteY121" fmla="*/ 678565 h 721501"/>
                    <a:gd name="connsiteX122" fmla="*/ 292210 w 746079"/>
                    <a:gd name="connsiteY122" fmla="*/ 696060 h 721501"/>
                    <a:gd name="connsiteX123" fmla="*/ 261038 w 746079"/>
                    <a:gd name="connsiteY123" fmla="*/ 697174 h 721501"/>
                    <a:gd name="connsiteX124" fmla="*/ 305253 w 746079"/>
                    <a:gd name="connsiteY124" fmla="*/ 659003 h 721501"/>
                    <a:gd name="connsiteX125" fmla="*/ 302072 w 746079"/>
                    <a:gd name="connsiteY125" fmla="*/ 687471 h 721501"/>
                    <a:gd name="connsiteX126" fmla="*/ 296496 w 746079"/>
                    <a:gd name="connsiteY126" fmla="*/ 689950 h 721501"/>
                    <a:gd name="connsiteX127" fmla="*/ 283304 w 746079"/>
                    <a:gd name="connsiteY127" fmla="*/ 675542 h 721501"/>
                    <a:gd name="connsiteX128" fmla="*/ 286708 w 746079"/>
                    <a:gd name="connsiteY128" fmla="*/ 667264 h 721501"/>
                    <a:gd name="connsiteX129" fmla="*/ 305253 w 746079"/>
                    <a:gd name="connsiteY129" fmla="*/ 659003 h 721501"/>
                    <a:gd name="connsiteX130" fmla="*/ 288552 w 746079"/>
                    <a:gd name="connsiteY130" fmla="*/ 557053 h 721501"/>
                    <a:gd name="connsiteX131" fmla="*/ 271534 w 746079"/>
                    <a:gd name="connsiteY131" fmla="*/ 554189 h 721501"/>
                    <a:gd name="connsiteX132" fmla="*/ 250539 w 746079"/>
                    <a:gd name="connsiteY132" fmla="*/ 582817 h 721501"/>
                    <a:gd name="connsiteX133" fmla="*/ 241633 w 746079"/>
                    <a:gd name="connsiteY133" fmla="*/ 604129 h 721501"/>
                    <a:gd name="connsiteX134" fmla="*/ 220321 w 746079"/>
                    <a:gd name="connsiteY134" fmla="*/ 609537 h 721501"/>
                    <a:gd name="connsiteX135" fmla="*/ 207914 w 746079"/>
                    <a:gd name="connsiteY135" fmla="*/ 607150 h 721501"/>
                    <a:gd name="connsiteX136" fmla="*/ 219524 w 746079"/>
                    <a:gd name="connsiteY136" fmla="*/ 579316 h 721501"/>
                    <a:gd name="connsiteX137" fmla="*/ 229067 w 746079"/>
                    <a:gd name="connsiteY137" fmla="*/ 540032 h 721501"/>
                    <a:gd name="connsiteX138" fmla="*/ 232724 w 746079"/>
                    <a:gd name="connsiteY138" fmla="*/ 476572 h 721501"/>
                    <a:gd name="connsiteX139" fmla="*/ 224455 w 746079"/>
                    <a:gd name="connsiteY139" fmla="*/ 421861 h 721501"/>
                    <a:gd name="connsiteX140" fmla="*/ 223890 w 746079"/>
                    <a:gd name="connsiteY140" fmla="*/ 415619 h 721501"/>
                    <a:gd name="connsiteX141" fmla="*/ 288232 w 746079"/>
                    <a:gd name="connsiteY141" fmla="*/ 422498 h 721501"/>
                    <a:gd name="connsiteX142" fmla="*/ 306681 w 746079"/>
                    <a:gd name="connsiteY142" fmla="*/ 424088 h 721501"/>
                    <a:gd name="connsiteX143" fmla="*/ 309702 w 746079"/>
                    <a:gd name="connsiteY143" fmla="*/ 546394 h 721501"/>
                    <a:gd name="connsiteX144" fmla="*/ 288552 w 746079"/>
                    <a:gd name="connsiteY144" fmla="*/ 557053 h 721501"/>
                    <a:gd name="connsiteX145" fmla="*/ 323065 w 746079"/>
                    <a:gd name="connsiteY145" fmla="*/ 394352 h 721501"/>
                    <a:gd name="connsiteX146" fmla="*/ 340399 w 746079"/>
                    <a:gd name="connsiteY146" fmla="*/ 390535 h 721501"/>
                    <a:gd name="connsiteX147" fmla="*/ 341990 w 746079"/>
                    <a:gd name="connsiteY147" fmla="*/ 411210 h 721501"/>
                    <a:gd name="connsiteX148" fmla="*/ 341673 w 746079"/>
                    <a:gd name="connsiteY148" fmla="*/ 415028 h 721501"/>
                    <a:gd name="connsiteX149" fmla="*/ 323701 w 746079"/>
                    <a:gd name="connsiteY149" fmla="*/ 412324 h 721501"/>
                    <a:gd name="connsiteX150" fmla="*/ 323065 w 746079"/>
                    <a:gd name="connsiteY150" fmla="*/ 394352 h 721501"/>
                    <a:gd name="connsiteX151" fmla="*/ 328313 w 746079"/>
                    <a:gd name="connsiteY151" fmla="*/ 566756 h 721501"/>
                    <a:gd name="connsiteX152" fmla="*/ 324858 w 746079"/>
                    <a:gd name="connsiteY152" fmla="*/ 510668 h 721501"/>
                    <a:gd name="connsiteX153" fmla="*/ 324495 w 746079"/>
                    <a:gd name="connsiteY153" fmla="*/ 425841 h 721501"/>
                    <a:gd name="connsiteX154" fmla="*/ 334355 w 746079"/>
                    <a:gd name="connsiteY154" fmla="*/ 427272 h 721501"/>
                    <a:gd name="connsiteX155" fmla="*/ 343420 w 746079"/>
                    <a:gd name="connsiteY155" fmla="*/ 433157 h 721501"/>
                    <a:gd name="connsiteX156" fmla="*/ 353280 w 746079"/>
                    <a:gd name="connsiteY156" fmla="*/ 483893 h 721501"/>
                    <a:gd name="connsiteX157" fmla="*/ 366320 w 746079"/>
                    <a:gd name="connsiteY157" fmla="*/ 515065 h 721501"/>
                    <a:gd name="connsiteX158" fmla="*/ 363139 w 746079"/>
                    <a:gd name="connsiteY158" fmla="*/ 535741 h 721501"/>
                    <a:gd name="connsiteX159" fmla="*/ 371568 w 746079"/>
                    <a:gd name="connsiteY159" fmla="*/ 556257 h 721501"/>
                    <a:gd name="connsiteX160" fmla="*/ 381428 w 746079"/>
                    <a:gd name="connsiteY160" fmla="*/ 561188 h 721501"/>
                    <a:gd name="connsiteX161" fmla="*/ 384292 w 746079"/>
                    <a:gd name="connsiteY161" fmla="*/ 578046 h 721501"/>
                    <a:gd name="connsiteX162" fmla="*/ 328313 w 746079"/>
                    <a:gd name="connsiteY162" fmla="*/ 566756 h 721501"/>
                    <a:gd name="connsiteX163" fmla="*/ 517737 w 746079"/>
                    <a:gd name="connsiteY163" fmla="*/ 605723 h 721501"/>
                    <a:gd name="connsiteX164" fmla="*/ 503106 w 746079"/>
                    <a:gd name="connsiteY164" fmla="*/ 599521 h 721501"/>
                    <a:gd name="connsiteX165" fmla="*/ 506447 w 746079"/>
                    <a:gd name="connsiteY165" fmla="*/ 616539 h 721501"/>
                    <a:gd name="connsiteX166" fmla="*/ 506923 w 746079"/>
                    <a:gd name="connsiteY166" fmla="*/ 633240 h 721501"/>
                    <a:gd name="connsiteX167" fmla="*/ 487042 w 746079"/>
                    <a:gd name="connsiteY167" fmla="*/ 639441 h 721501"/>
                    <a:gd name="connsiteX168" fmla="*/ 468116 w 746079"/>
                    <a:gd name="connsiteY168" fmla="*/ 609860 h 721501"/>
                    <a:gd name="connsiteX169" fmla="*/ 437261 w 746079"/>
                    <a:gd name="connsiteY169" fmla="*/ 573280 h 721501"/>
                    <a:gd name="connsiteX170" fmla="*/ 433444 w 746079"/>
                    <a:gd name="connsiteY170" fmla="*/ 558966 h 721501"/>
                    <a:gd name="connsiteX171" fmla="*/ 431853 w 746079"/>
                    <a:gd name="connsiteY171" fmla="*/ 551651 h 721501"/>
                    <a:gd name="connsiteX172" fmla="*/ 442510 w 746079"/>
                    <a:gd name="connsiteY172" fmla="*/ 533679 h 721501"/>
                    <a:gd name="connsiteX173" fmla="*/ 432082 w 746079"/>
                    <a:gd name="connsiteY173" fmla="*/ 512221 h 721501"/>
                    <a:gd name="connsiteX174" fmla="*/ 434238 w 746079"/>
                    <a:gd name="connsiteY174" fmla="*/ 377337 h 721501"/>
                    <a:gd name="connsiteX175" fmla="*/ 488949 w 746079"/>
                    <a:gd name="connsiteY175" fmla="*/ 371136 h 721501"/>
                    <a:gd name="connsiteX176" fmla="*/ 512805 w 746079"/>
                    <a:gd name="connsiteY176" fmla="*/ 378294 h 721501"/>
                    <a:gd name="connsiteX177" fmla="*/ 517260 w 746079"/>
                    <a:gd name="connsiteY177" fmla="*/ 442071 h 721501"/>
                    <a:gd name="connsiteX178" fmla="*/ 511535 w 746079"/>
                    <a:gd name="connsiteY178" fmla="*/ 524297 h 721501"/>
                    <a:gd name="connsiteX179" fmla="*/ 518365 w 746079"/>
                    <a:gd name="connsiteY179" fmla="*/ 555166 h 721501"/>
                    <a:gd name="connsiteX180" fmla="*/ 519327 w 746079"/>
                    <a:gd name="connsiteY180" fmla="*/ 577101 h 721501"/>
                    <a:gd name="connsiteX181" fmla="*/ 522031 w 746079"/>
                    <a:gd name="connsiteY181" fmla="*/ 585370 h 721501"/>
                    <a:gd name="connsiteX182" fmla="*/ 517737 w 746079"/>
                    <a:gd name="connsiteY182" fmla="*/ 605723 h 721501"/>
                    <a:gd name="connsiteX183" fmla="*/ 596621 w 746079"/>
                    <a:gd name="connsiteY183" fmla="*/ 575981 h 721501"/>
                    <a:gd name="connsiteX184" fmla="*/ 587079 w 746079"/>
                    <a:gd name="connsiteY184" fmla="*/ 563258 h 721501"/>
                    <a:gd name="connsiteX185" fmla="*/ 588032 w 746079"/>
                    <a:gd name="connsiteY185" fmla="*/ 552919 h 721501"/>
                    <a:gd name="connsiteX186" fmla="*/ 597735 w 746079"/>
                    <a:gd name="connsiteY186" fmla="*/ 544650 h 721501"/>
                    <a:gd name="connsiteX187" fmla="*/ 596621 w 746079"/>
                    <a:gd name="connsiteY187" fmla="*/ 575981 h 721501"/>
                    <a:gd name="connsiteX188" fmla="*/ 604097 w 746079"/>
                    <a:gd name="connsiteY188" fmla="*/ 497254 h 721501"/>
                    <a:gd name="connsiteX189" fmla="*/ 593123 w 746079"/>
                    <a:gd name="connsiteY189" fmla="*/ 488665 h 721501"/>
                    <a:gd name="connsiteX190" fmla="*/ 601236 w 746079"/>
                    <a:gd name="connsiteY190" fmla="*/ 393239 h 721501"/>
                    <a:gd name="connsiteX191" fmla="*/ 621274 w 746079"/>
                    <a:gd name="connsiteY191" fmla="*/ 430296 h 721501"/>
                    <a:gd name="connsiteX192" fmla="*/ 645131 w 746079"/>
                    <a:gd name="connsiteY192" fmla="*/ 523974 h 721501"/>
                    <a:gd name="connsiteX193" fmla="*/ 605530 w 746079"/>
                    <a:gd name="connsiteY193" fmla="*/ 520316 h 721501"/>
                    <a:gd name="connsiteX194" fmla="*/ 607437 w 746079"/>
                    <a:gd name="connsiteY194" fmla="*/ 503775 h 721501"/>
                    <a:gd name="connsiteX195" fmla="*/ 604097 w 746079"/>
                    <a:gd name="connsiteY195" fmla="*/ 497254 h 721501"/>
                    <a:gd name="connsiteX196" fmla="*/ 639566 w 746079"/>
                    <a:gd name="connsiteY196" fmla="*/ 612721 h 721501"/>
                    <a:gd name="connsiteX197" fmla="*/ 614279 w 746079"/>
                    <a:gd name="connsiteY197" fmla="*/ 601588 h 721501"/>
                    <a:gd name="connsiteX198" fmla="*/ 612052 w 746079"/>
                    <a:gd name="connsiteY198" fmla="*/ 536697 h 721501"/>
                    <a:gd name="connsiteX199" fmla="*/ 648951 w 746079"/>
                    <a:gd name="connsiteY199" fmla="*/ 540832 h 721501"/>
                    <a:gd name="connsiteX200" fmla="*/ 666446 w 746079"/>
                    <a:gd name="connsiteY200" fmla="*/ 610177 h 721501"/>
                    <a:gd name="connsiteX201" fmla="*/ 639566 w 746079"/>
                    <a:gd name="connsiteY201" fmla="*/ 612721 h 72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746079" h="721501">
                      <a:moveTo>
                        <a:pt x="725289" y="643256"/>
                      </a:moveTo>
                      <a:lnTo>
                        <a:pt x="726086" y="638168"/>
                      </a:lnTo>
                      <a:cubicBezTo>
                        <a:pt x="726086" y="638168"/>
                        <a:pt x="740876" y="639441"/>
                        <a:pt x="744217" y="637691"/>
                      </a:cubicBezTo>
                      <a:cubicBezTo>
                        <a:pt x="746444" y="636526"/>
                        <a:pt x="746761" y="628308"/>
                        <a:pt x="744694" y="626398"/>
                      </a:cubicBezTo>
                      <a:cubicBezTo>
                        <a:pt x="742627" y="624491"/>
                        <a:pt x="726403" y="626238"/>
                        <a:pt x="726403" y="626238"/>
                      </a:cubicBezTo>
                      <a:lnTo>
                        <a:pt x="723222" y="622581"/>
                      </a:lnTo>
                      <a:lnTo>
                        <a:pt x="690936" y="624648"/>
                      </a:lnTo>
                      <a:cubicBezTo>
                        <a:pt x="689983" y="614309"/>
                        <a:pt x="682225" y="610608"/>
                        <a:pt x="679963" y="611764"/>
                      </a:cubicBezTo>
                      <a:cubicBezTo>
                        <a:pt x="672417" y="583953"/>
                        <a:pt x="631454" y="401665"/>
                        <a:pt x="622308" y="388228"/>
                      </a:cubicBezTo>
                      <a:cubicBezTo>
                        <a:pt x="617434" y="381064"/>
                        <a:pt x="602109" y="375187"/>
                        <a:pt x="602109" y="375187"/>
                      </a:cubicBezTo>
                      <a:lnTo>
                        <a:pt x="604893" y="342982"/>
                      </a:lnTo>
                      <a:cubicBezTo>
                        <a:pt x="601315" y="308786"/>
                        <a:pt x="576203" y="293430"/>
                        <a:pt x="576203" y="293430"/>
                      </a:cubicBezTo>
                      <a:cubicBezTo>
                        <a:pt x="576203" y="293430"/>
                        <a:pt x="575660" y="265002"/>
                        <a:pt x="573976" y="250965"/>
                      </a:cubicBezTo>
                      <a:cubicBezTo>
                        <a:pt x="573499" y="246988"/>
                        <a:pt x="557594" y="248261"/>
                        <a:pt x="557594" y="248261"/>
                      </a:cubicBezTo>
                      <a:cubicBezTo>
                        <a:pt x="560444" y="222200"/>
                        <a:pt x="440060" y="214542"/>
                        <a:pt x="440060" y="214542"/>
                      </a:cubicBezTo>
                      <a:lnTo>
                        <a:pt x="396321" y="127226"/>
                      </a:lnTo>
                      <a:cubicBezTo>
                        <a:pt x="396321" y="127226"/>
                        <a:pt x="387079" y="99163"/>
                        <a:pt x="367200" y="65764"/>
                      </a:cubicBezTo>
                      <a:cubicBezTo>
                        <a:pt x="347318" y="32365"/>
                        <a:pt x="314239" y="42545"/>
                        <a:pt x="314239" y="42545"/>
                      </a:cubicBezTo>
                      <a:lnTo>
                        <a:pt x="302064" y="24747"/>
                      </a:lnTo>
                      <a:cubicBezTo>
                        <a:pt x="288147" y="2481"/>
                        <a:pt x="231933" y="0"/>
                        <a:pt x="231933" y="0"/>
                      </a:cubicBezTo>
                      <a:lnTo>
                        <a:pt x="231536" y="17812"/>
                      </a:lnTo>
                      <a:cubicBezTo>
                        <a:pt x="231536" y="17812"/>
                        <a:pt x="218176" y="19642"/>
                        <a:pt x="214995" y="45883"/>
                      </a:cubicBezTo>
                      <a:cubicBezTo>
                        <a:pt x="214995" y="45883"/>
                        <a:pt x="202749" y="49223"/>
                        <a:pt x="190422" y="59720"/>
                      </a:cubicBezTo>
                      <a:lnTo>
                        <a:pt x="167203" y="83896"/>
                      </a:lnTo>
                      <a:lnTo>
                        <a:pt x="124101" y="78965"/>
                      </a:lnTo>
                      <a:cubicBezTo>
                        <a:pt x="124101" y="78965"/>
                        <a:pt x="114876" y="49383"/>
                        <a:pt x="65255" y="58766"/>
                      </a:cubicBezTo>
                      <a:cubicBezTo>
                        <a:pt x="65255" y="58766"/>
                        <a:pt x="54294" y="67506"/>
                        <a:pt x="63665" y="73557"/>
                      </a:cubicBezTo>
                      <a:cubicBezTo>
                        <a:pt x="68690" y="76803"/>
                        <a:pt x="79409" y="75464"/>
                        <a:pt x="96427" y="77214"/>
                      </a:cubicBezTo>
                      <a:cubicBezTo>
                        <a:pt x="96427" y="77214"/>
                        <a:pt x="109151" y="76738"/>
                        <a:pt x="111209" y="101882"/>
                      </a:cubicBezTo>
                      <a:cubicBezTo>
                        <a:pt x="113716" y="132488"/>
                        <a:pt x="121237" y="259640"/>
                        <a:pt x="121237" y="259640"/>
                      </a:cubicBezTo>
                      <a:lnTo>
                        <a:pt x="117103" y="268865"/>
                      </a:lnTo>
                      <a:cubicBezTo>
                        <a:pt x="100890" y="266201"/>
                        <a:pt x="87250" y="266473"/>
                        <a:pt x="75911" y="271093"/>
                      </a:cubicBezTo>
                      <a:cubicBezTo>
                        <a:pt x="36813" y="287017"/>
                        <a:pt x="21360" y="336460"/>
                        <a:pt x="14362" y="360157"/>
                      </a:cubicBezTo>
                      <a:cubicBezTo>
                        <a:pt x="7486" y="383439"/>
                        <a:pt x="2069" y="405009"/>
                        <a:pt x="365" y="435544"/>
                      </a:cubicBezTo>
                      <a:cubicBezTo>
                        <a:pt x="-1543" y="469739"/>
                        <a:pt x="4653" y="511213"/>
                        <a:pt x="4659" y="511250"/>
                      </a:cubicBezTo>
                      <a:cubicBezTo>
                        <a:pt x="20837" y="588628"/>
                        <a:pt x="59530" y="625921"/>
                        <a:pt x="90385" y="647394"/>
                      </a:cubicBezTo>
                      <a:cubicBezTo>
                        <a:pt x="111086" y="661799"/>
                        <a:pt x="130623" y="663775"/>
                        <a:pt x="130623" y="663775"/>
                      </a:cubicBezTo>
                      <a:cubicBezTo>
                        <a:pt x="162157" y="663058"/>
                        <a:pt x="181017" y="646882"/>
                        <a:pt x="196150" y="625445"/>
                      </a:cubicBezTo>
                      <a:lnTo>
                        <a:pt x="234480" y="631806"/>
                      </a:lnTo>
                      <a:lnTo>
                        <a:pt x="241159" y="631170"/>
                      </a:lnTo>
                      <a:cubicBezTo>
                        <a:pt x="215712" y="649061"/>
                        <a:pt x="221597" y="679996"/>
                        <a:pt x="224938" y="689062"/>
                      </a:cubicBezTo>
                      <a:cubicBezTo>
                        <a:pt x="226605" y="693587"/>
                        <a:pt x="236039" y="714840"/>
                        <a:pt x="260724" y="720234"/>
                      </a:cubicBezTo>
                      <a:cubicBezTo>
                        <a:pt x="284740" y="725482"/>
                        <a:pt x="305676" y="713583"/>
                        <a:pt x="314798" y="700352"/>
                      </a:cubicBezTo>
                      <a:cubicBezTo>
                        <a:pt x="328207" y="680913"/>
                        <a:pt x="328119" y="648818"/>
                        <a:pt x="301758" y="627669"/>
                      </a:cubicBezTo>
                      <a:lnTo>
                        <a:pt x="310415" y="606848"/>
                      </a:lnTo>
                      <a:cubicBezTo>
                        <a:pt x="314162" y="598244"/>
                        <a:pt x="315301" y="584307"/>
                        <a:pt x="315595" y="580590"/>
                      </a:cubicBezTo>
                      <a:lnTo>
                        <a:pt x="377782" y="594587"/>
                      </a:lnTo>
                      <a:cubicBezTo>
                        <a:pt x="374124" y="616376"/>
                        <a:pt x="382236" y="643653"/>
                        <a:pt x="384620" y="652796"/>
                      </a:cubicBezTo>
                      <a:cubicBezTo>
                        <a:pt x="387004" y="661939"/>
                        <a:pt x="400208" y="661545"/>
                        <a:pt x="400208" y="661545"/>
                      </a:cubicBezTo>
                      <a:lnTo>
                        <a:pt x="403388" y="678880"/>
                      </a:lnTo>
                      <a:lnTo>
                        <a:pt x="407523" y="678880"/>
                      </a:lnTo>
                      <a:cubicBezTo>
                        <a:pt x="407523" y="678880"/>
                        <a:pt x="406726" y="686355"/>
                        <a:pt x="411500" y="686195"/>
                      </a:cubicBezTo>
                      <a:cubicBezTo>
                        <a:pt x="417303" y="686001"/>
                        <a:pt x="415013" y="675567"/>
                        <a:pt x="415635" y="672835"/>
                      </a:cubicBezTo>
                      <a:cubicBezTo>
                        <a:pt x="415635" y="672835"/>
                        <a:pt x="450308" y="667267"/>
                        <a:pt x="454125" y="665359"/>
                      </a:cubicBezTo>
                      <a:cubicBezTo>
                        <a:pt x="457943" y="663452"/>
                        <a:pt x="457783" y="660748"/>
                        <a:pt x="457783" y="660748"/>
                      </a:cubicBezTo>
                      <a:cubicBezTo>
                        <a:pt x="457783" y="660748"/>
                        <a:pt x="461917" y="664089"/>
                        <a:pt x="471303" y="662498"/>
                      </a:cubicBezTo>
                      <a:cubicBezTo>
                        <a:pt x="480688" y="660908"/>
                        <a:pt x="501681" y="654546"/>
                        <a:pt x="501681" y="654546"/>
                      </a:cubicBezTo>
                      <a:lnTo>
                        <a:pt x="496901" y="668477"/>
                      </a:lnTo>
                      <a:cubicBezTo>
                        <a:pt x="496901" y="668477"/>
                        <a:pt x="495779" y="674774"/>
                        <a:pt x="509625" y="676033"/>
                      </a:cubicBezTo>
                      <a:cubicBezTo>
                        <a:pt x="523470" y="677292"/>
                        <a:pt x="561164" y="674111"/>
                        <a:pt x="561164" y="674111"/>
                      </a:cubicBezTo>
                      <a:lnTo>
                        <a:pt x="582636" y="666476"/>
                      </a:lnTo>
                      <a:cubicBezTo>
                        <a:pt x="582636" y="666476"/>
                        <a:pt x="580092" y="673474"/>
                        <a:pt x="581839" y="675542"/>
                      </a:cubicBezTo>
                      <a:cubicBezTo>
                        <a:pt x="583589" y="677609"/>
                        <a:pt x="662951" y="665839"/>
                        <a:pt x="662951" y="665839"/>
                      </a:cubicBezTo>
                      <a:cubicBezTo>
                        <a:pt x="662951" y="665839"/>
                        <a:pt x="711777" y="653909"/>
                        <a:pt x="724501" y="650729"/>
                      </a:cubicBezTo>
                      <a:cubicBezTo>
                        <a:pt x="737224" y="647548"/>
                        <a:pt x="737541" y="644684"/>
                        <a:pt x="737541" y="644684"/>
                      </a:cubicBezTo>
                      <a:lnTo>
                        <a:pt x="725289" y="643256"/>
                      </a:lnTo>
                      <a:close/>
                      <a:moveTo>
                        <a:pt x="305730" y="403415"/>
                      </a:moveTo>
                      <a:cubicBezTo>
                        <a:pt x="307480" y="404689"/>
                        <a:pt x="307480" y="410254"/>
                        <a:pt x="306047" y="411051"/>
                      </a:cubicBezTo>
                      <a:cubicBezTo>
                        <a:pt x="304613" y="411847"/>
                        <a:pt x="293163" y="408663"/>
                        <a:pt x="285531" y="409143"/>
                      </a:cubicBezTo>
                      <a:cubicBezTo>
                        <a:pt x="283461" y="409272"/>
                        <a:pt x="282510" y="399917"/>
                        <a:pt x="282510" y="399917"/>
                      </a:cubicBezTo>
                      <a:cubicBezTo>
                        <a:pt x="282510" y="399917"/>
                        <a:pt x="303980" y="402145"/>
                        <a:pt x="305730" y="403415"/>
                      </a:cubicBezTo>
                      <a:close/>
                      <a:moveTo>
                        <a:pt x="191376" y="604132"/>
                      </a:moveTo>
                      <a:cubicBezTo>
                        <a:pt x="160310" y="597488"/>
                        <a:pt x="117888" y="588211"/>
                        <a:pt x="107240" y="586478"/>
                      </a:cubicBezTo>
                      <a:cubicBezTo>
                        <a:pt x="90142" y="583694"/>
                        <a:pt x="98492" y="601268"/>
                        <a:pt x="98492" y="601268"/>
                      </a:cubicBezTo>
                      <a:lnTo>
                        <a:pt x="150570" y="616393"/>
                      </a:lnTo>
                      <a:lnTo>
                        <a:pt x="180083" y="620833"/>
                      </a:lnTo>
                      <a:cubicBezTo>
                        <a:pt x="169196" y="632483"/>
                        <a:pt x="158191" y="641406"/>
                        <a:pt x="147161" y="644053"/>
                      </a:cubicBezTo>
                      <a:cubicBezTo>
                        <a:pt x="122896" y="649881"/>
                        <a:pt x="100473" y="637468"/>
                        <a:pt x="100473" y="637468"/>
                      </a:cubicBezTo>
                      <a:cubicBezTo>
                        <a:pt x="46487" y="590932"/>
                        <a:pt x="41079" y="558487"/>
                        <a:pt x="28039" y="525884"/>
                      </a:cubicBezTo>
                      <a:cubicBezTo>
                        <a:pt x="21006" y="508304"/>
                        <a:pt x="17223" y="485170"/>
                        <a:pt x="15315" y="459720"/>
                      </a:cubicBezTo>
                      <a:cubicBezTo>
                        <a:pt x="14681" y="451271"/>
                        <a:pt x="14676" y="441331"/>
                        <a:pt x="14601" y="432206"/>
                      </a:cubicBezTo>
                      <a:cubicBezTo>
                        <a:pt x="14316" y="397756"/>
                        <a:pt x="23639" y="359757"/>
                        <a:pt x="35834" y="334236"/>
                      </a:cubicBezTo>
                      <a:lnTo>
                        <a:pt x="51570" y="310634"/>
                      </a:lnTo>
                      <a:lnTo>
                        <a:pt x="54442" y="305237"/>
                      </a:lnTo>
                      <a:cubicBezTo>
                        <a:pt x="81745" y="277009"/>
                        <a:pt x="109242" y="283853"/>
                        <a:pt x="117637" y="287000"/>
                      </a:cubicBezTo>
                      <a:lnTo>
                        <a:pt x="121243" y="351254"/>
                      </a:lnTo>
                      <a:lnTo>
                        <a:pt x="123998" y="352950"/>
                      </a:lnTo>
                      <a:cubicBezTo>
                        <a:pt x="123998" y="352950"/>
                        <a:pt x="121109" y="369437"/>
                        <a:pt x="125483" y="375005"/>
                      </a:cubicBezTo>
                      <a:lnTo>
                        <a:pt x="124264" y="443978"/>
                      </a:lnTo>
                      <a:cubicBezTo>
                        <a:pt x="121243" y="443342"/>
                        <a:pt x="115995" y="457498"/>
                        <a:pt x="115995" y="457498"/>
                      </a:cubicBezTo>
                      <a:cubicBezTo>
                        <a:pt x="115995" y="457498"/>
                        <a:pt x="111383" y="450183"/>
                        <a:pt x="103271" y="454158"/>
                      </a:cubicBezTo>
                      <a:cubicBezTo>
                        <a:pt x="103271" y="454158"/>
                        <a:pt x="92695" y="433165"/>
                        <a:pt x="86730" y="466564"/>
                      </a:cubicBezTo>
                      <a:cubicBezTo>
                        <a:pt x="86730" y="466564"/>
                        <a:pt x="93252" y="489547"/>
                        <a:pt x="101204" y="482785"/>
                      </a:cubicBezTo>
                      <a:lnTo>
                        <a:pt x="106612" y="473560"/>
                      </a:lnTo>
                      <a:cubicBezTo>
                        <a:pt x="106612" y="473560"/>
                        <a:pt x="112337" y="475310"/>
                        <a:pt x="117428" y="471016"/>
                      </a:cubicBezTo>
                      <a:lnTo>
                        <a:pt x="127924" y="481512"/>
                      </a:lnTo>
                      <a:cubicBezTo>
                        <a:pt x="137627" y="481672"/>
                        <a:pt x="141761" y="469425"/>
                        <a:pt x="138264" y="456065"/>
                      </a:cubicBezTo>
                      <a:lnTo>
                        <a:pt x="142241" y="377177"/>
                      </a:lnTo>
                      <a:lnTo>
                        <a:pt x="199497" y="387674"/>
                      </a:lnTo>
                      <a:cubicBezTo>
                        <a:pt x="206609" y="413223"/>
                        <a:pt x="212163" y="436626"/>
                        <a:pt x="214607" y="457972"/>
                      </a:cubicBezTo>
                      <a:cubicBezTo>
                        <a:pt x="222476" y="526795"/>
                        <a:pt x="207900" y="574311"/>
                        <a:pt x="191376" y="604132"/>
                      </a:cubicBezTo>
                      <a:close/>
                      <a:moveTo>
                        <a:pt x="240519" y="667589"/>
                      </a:moveTo>
                      <a:cubicBezTo>
                        <a:pt x="241642" y="663997"/>
                        <a:pt x="261992" y="669657"/>
                        <a:pt x="261992" y="669657"/>
                      </a:cubicBezTo>
                      <a:lnTo>
                        <a:pt x="257697" y="681107"/>
                      </a:lnTo>
                      <a:lnTo>
                        <a:pt x="264059" y="682857"/>
                      </a:lnTo>
                      <a:cubicBezTo>
                        <a:pt x="264059" y="682857"/>
                        <a:pt x="259747" y="695929"/>
                        <a:pt x="255541" y="695118"/>
                      </a:cubicBezTo>
                      <a:cubicBezTo>
                        <a:pt x="251335" y="694310"/>
                        <a:pt x="239397" y="671184"/>
                        <a:pt x="240519" y="667589"/>
                      </a:cubicBezTo>
                      <a:close/>
                      <a:moveTo>
                        <a:pt x="266923" y="638645"/>
                      </a:moveTo>
                      <a:cubicBezTo>
                        <a:pt x="269475" y="640381"/>
                        <a:pt x="268673" y="653435"/>
                        <a:pt x="268673" y="653435"/>
                      </a:cubicBezTo>
                      <a:lnTo>
                        <a:pt x="263265" y="668066"/>
                      </a:lnTo>
                      <a:cubicBezTo>
                        <a:pt x="263265" y="668066"/>
                        <a:pt x="243049" y="666028"/>
                        <a:pt x="241624" y="661322"/>
                      </a:cubicBezTo>
                      <a:cubicBezTo>
                        <a:pt x="240202" y="656616"/>
                        <a:pt x="264367" y="636909"/>
                        <a:pt x="266923" y="638645"/>
                      </a:cubicBezTo>
                      <a:close/>
                      <a:moveTo>
                        <a:pt x="250699" y="624968"/>
                      </a:moveTo>
                      <a:cubicBezTo>
                        <a:pt x="250699" y="624968"/>
                        <a:pt x="254197" y="617332"/>
                        <a:pt x="263739" y="591092"/>
                      </a:cubicBezTo>
                      <a:cubicBezTo>
                        <a:pt x="273282" y="564848"/>
                        <a:pt x="290616" y="575187"/>
                        <a:pt x="290616" y="575187"/>
                      </a:cubicBezTo>
                      <a:lnTo>
                        <a:pt x="291413" y="588228"/>
                      </a:lnTo>
                      <a:lnTo>
                        <a:pt x="295231" y="589978"/>
                      </a:lnTo>
                      <a:lnTo>
                        <a:pt x="282824" y="620196"/>
                      </a:lnTo>
                      <a:cubicBezTo>
                        <a:pt x="272808" y="615742"/>
                        <a:pt x="250699" y="624968"/>
                        <a:pt x="250699" y="624968"/>
                      </a:cubicBezTo>
                      <a:close/>
                      <a:moveTo>
                        <a:pt x="261038" y="697174"/>
                      </a:moveTo>
                      <a:cubicBezTo>
                        <a:pt x="259607" y="693356"/>
                        <a:pt x="271057" y="681746"/>
                        <a:pt x="271057" y="681746"/>
                      </a:cubicBezTo>
                      <a:cubicBezTo>
                        <a:pt x="278655" y="681746"/>
                        <a:pt x="282216" y="679796"/>
                        <a:pt x="282350" y="678565"/>
                      </a:cubicBezTo>
                      <a:cubicBezTo>
                        <a:pt x="282350" y="678565"/>
                        <a:pt x="295702" y="691223"/>
                        <a:pt x="292210" y="696060"/>
                      </a:cubicBezTo>
                      <a:cubicBezTo>
                        <a:pt x="288718" y="700897"/>
                        <a:pt x="262468" y="700991"/>
                        <a:pt x="261038" y="697174"/>
                      </a:cubicBezTo>
                      <a:close/>
                      <a:moveTo>
                        <a:pt x="305253" y="659003"/>
                      </a:moveTo>
                      <a:lnTo>
                        <a:pt x="302072" y="687471"/>
                      </a:lnTo>
                      <a:lnTo>
                        <a:pt x="296496" y="689950"/>
                      </a:lnTo>
                      <a:lnTo>
                        <a:pt x="283304" y="675542"/>
                      </a:lnTo>
                      <a:cubicBezTo>
                        <a:pt x="284043" y="672195"/>
                        <a:pt x="285251" y="669474"/>
                        <a:pt x="286708" y="667264"/>
                      </a:cubicBezTo>
                      <a:cubicBezTo>
                        <a:pt x="292452" y="658544"/>
                        <a:pt x="305253" y="659003"/>
                        <a:pt x="305253" y="659003"/>
                      </a:cubicBezTo>
                      <a:close/>
                      <a:moveTo>
                        <a:pt x="288552" y="557053"/>
                      </a:moveTo>
                      <a:cubicBezTo>
                        <a:pt x="288552" y="557056"/>
                        <a:pt x="281899" y="553867"/>
                        <a:pt x="271534" y="554189"/>
                      </a:cubicBezTo>
                      <a:cubicBezTo>
                        <a:pt x="261355" y="554506"/>
                        <a:pt x="254982" y="571081"/>
                        <a:pt x="250539" y="582817"/>
                      </a:cubicBezTo>
                      <a:cubicBezTo>
                        <a:pt x="248215" y="590681"/>
                        <a:pt x="245479" y="599546"/>
                        <a:pt x="241633" y="604129"/>
                      </a:cubicBezTo>
                      <a:cubicBezTo>
                        <a:pt x="234660" y="612433"/>
                        <a:pt x="226682" y="610651"/>
                        <a:pt x="220321" y="609537"/>
                      </a:cubicBezTo>
                      <a:cubicBezTo>
                        <a:pt x="217582" y="609058"/>
                        <a:pt x="211540" y="607930"/>
                        <a:pt x="207914" y="607150"/>
                      </a:cubicBezTo>
                      <a:cubicBezTo>
                        <a:pt x="210638" y="601554"/>
                        <a:pt x="219524" y="579316"/>
                        <a:pt x="219524" y="579316"/>
                      </a:cubicBezTo>
                      <a:cubicBezTo>
                        <a:pt x="223073" y="567704"/>
                        <a:pt x="227445" y="552445"/>
                        <a:pt x="229067" y="540032"/>
                      </a:cubicBezTo>
                      <a:cubicBezTo>
                        <a:pt x="229067" y="540032"/>
                        <a:pt x="233287" y="500018"/>
                        <a:pt x="232724" y="476572"/>
                      </a:cubicBezTo>
                      <a:cubicBezTo>
                        <a:pt x="231733" y="458275"/>
                        <a:pt x="227533" y="438025"/>
                        <a:pt x="224455" y="421861"/>
                      </a:cubicBezTo>
                      <a:lnTo>
                        <a:pt x="223890" y="415619"/>
                      </a:lnTo>
                      <a:cubicBezTo>
                        <a:pt x="223890" y="415619"/>
                        <a:pt x="253751" y="421133"/>
                        <a:pt x="288232" y="422498"/>
                      </a:cubicBezTo>
                      <a:cubicBezTo>
                        <a:pt x="288178" y="422560"/>
                        <a:pt x="306735" y="424022"/>
                        <a:pt x="306681" y="424088"/>
                      </a:cubicBezTo>
                      <a:lnTo>
                        <a:pt x="309702" y="546394"/>
                      </a:lnTo>
                      <a:cubicBezTo>
                        <a:pt x="295551" y="543696"/>
                        <a:pt x="288618" y="556870"/>
                        <a:pt x="288552" y="557053"/>
                      </a:cubicBezTo>
                      <a:close/>
                      <a:moveTo>
                        <a:pt x="323065" y="394352"/>
                      </a:moveTo>
                      <a:lnTo>
                        <a:pt x="340399" y="390535"/>
                      </a:lnTo>
                      <a:lnTo>
                        <a:pt x="341990" y="411210"/>
                      </a:lnTo>
                      <a:lnTo>
                        <a:pt x="341673" y="415028"/>
                      </a:lnTo>
                      <a:lnTo>
                        <a:pt x="323701" y="412324"/>
                      </a:lnTo>
                      <a:lnTo>
                        <a:pt x="323065" y="394352"/>
                      </a:lnTo>
                      <a:close/>
                      <a:moveTo>
                        <a:pt x="328313" y="566756"/>
                      </a:moveTo>
                      <a:cubicBezTo>
                        <a:pt x="328321" y="562370"/>
                        <a:pt x="323259" y="513218"/>
                        <a:pt x="324858" y="510668"/>
                      </a:cubicBezTo>
                      <a:cubicBezTo>
                        <a:pt x="323450" y="490064"/>
                        <a:pt x="323673" y="446762"/>
                        <a:pt x="324495" y="425841"/>
                      </a:cubicBezTo>
                      <a:cubicBezTo>
                        <a:pt x="329335" y="426369"/>
                        <a:pt x="333175" y="426649"/>
                        <a:pt x="334355" y="427272"/>
                      </a:cubicBezTo>
                      <a:lnTo>
                        <a:pt x="343420" y="433157"/>
                      </a:lnTo>
                      <a:cubicBezTo>
                        <a:pt x="347324" y="452265"/>
                        <a:pt x="348266" y="464942"/>
                        <a:pt x="353280" y="483893"/>
                      </a:cubicBezTo>
                      <a:lnTo>
                        <a:pt x="366320" y="515065"/>
                      </a:lnTo>
                      <a:cubicBezTo>
                        <a:pt x="366320" y="515065"/>
                        <a:pt x="363368" y="525736"/>
                        <a:pt x="363139" y="535741"/>
                      </a:cubicBezTo>
                      <a:cubicBezTo>
                        <a:pt x="362911" y="545746"/>
                        <a:pt x="371568" y="556257"/>
                        <a:pt x="371568" y="556257"/>
                      </a:cubicBezTo>
                      <a:lnTo>
                        <a:pt x="381428" y="561188"/>
                      </a:lnTo>
                      <a:lnTo>
                        <a:pt x="384292" y="578046"/>
                      </a:lnTo>
                      <a:lnTo>
                        <a:pt x="328313" y="566756"/>
                      </a:lnTo>
                      <a:close/>
                      <a:moveTo>
                        <a:pt x="517737" y="605723"/>
                      </a:moveTo>
                      <a:cubicBezTo>
                        <a:pt x="517737" y="605723"/>
                        <a:pt x="506921" y="594750"/>
                        <a:pt x="503106" y="599521"/>
                      </a:cubicBezTo>
                      <a:cubicBezTo>
                        <a:pt x="499291" y="604292"/>
                        <a:pt x="505173" y="609700"/>
                        <a:pt x="506447" y="616539"/>
                      </a:cubicBezTo>
                      <a:cubicBezTo>
                        <a:pt x="507720" y="623377"/>
                        <a:pt x="506923" y="633240"/>
                        <a:pt x="506923" y="633240"/>
                      </a:cubicBezTo>
                      <a:lnTo>
                        <a:pt x="487042" y="639441"/>
                      </a:lnTo>
                      <a:cubicBezTo>
                        <a:pt x="484632" y="628788"/>
                        <a:pt x="487610" y="615274"/>
                        <a:pt x="468116" y="609860"/>
                      </a:cubicBezTo>
                      <a:cubicBezTo>
                        <a:pt x="453802" y="605882"/>
                        <a:pt x="437261" y="573280"/>
                        <a:pt x="437261" y="573280"/>
                      </a:cubicBezTo>
                      <a:cubicBezTo>
                        <a:pt x="432173" y="567078"/>
                        <a:pt x="433444" y="558966"/>
                        <a:pt x="433444" y="558966"/>
                      </a:cubicBezTo>
                      <a:lnTo>
                        <a:pt x="431853" y="551651"/>
                      </a:lnTo>
                      <a:cubicBezTo>
                        <a:pt x="431853" y="551651"/>
                        <a:pt x="444100" y="548787"/>
                        <a:pt x="442510" y="533679"/>
                      </a:cubicBezTo>
                      <a:cubicBezTo>
                        <a:pt x="442510" y="533679"/>
                        <a:pt x="433584" y="520191"/>
                        <a:pt x="432082" y="512221"/>
                      </a:cubicBezTo>
                      <a:cubicBezTo>
                        <a:pt x="430580" y="504255"/>
                        <a:pt x="437102" y="416938"/>
                        <a:pt x="434238" y="377337"/>
                      </a:cubicBezTo>
                      <a:cubicBezTo>
                        <a:pt x="434238" y="377337"/>
                        <a:pt x="468670" y="369942"/>
                        <a:pt x="488949" y="371136"/>
                      </a:cubicBezTo>
                      <a:lnTo>
                        <a:pt x="512805" y="378294"/>
                      </a:lnTo>
                      <a:cubicBezTo>
                        <a:pt x="512805" y="378294"/>
                        <a:pt x="517188" y="409152"/>
                        <a:pt x="517260" y="442071"/>
                      </a:cubicBezTo>
                      <a:cubicBezTo>
                        <a:pt x="517337" y="477980"/>
                        <a:pt x="511124" y="516830"/>
                        <a:pt x="511535" y="524297"/>
                      </a:cubicBezTo>
                      <a:cubicBezTo>
                        <a:pt x="512320" y="538610"/>
                        <a:pt x="518365" y="555166"/>
                        <a:pt x="518365" y="555166"/>
                      </a:cubicBezTo>
                      <a:lnTo>
                        <a:pt x="519327" y="577101"/>
                      </a:lnTo>
                      <a:cubicBezTo>
                        <a:pt x="519327" y="577101"/>
                        <a:pt x="521714" y="580758"/>
                        <a:pt x="522031" y="585370"/>
                      </a:cubicBezTo>
                      <a:cubicBezTo>
                        <a:pt x="522348" y="589981"/>
                        <a:pt x="517737" y="605723"/>
                        <a:pt x="517737" y="605723"/>
                      </a:cubicBezTo>
                      <a:close/>
                      <a:moveTo>
                        <a:pt x="596621" y="575981"/>
                      </a:moveTo>
                      <a:lnTo>
                        <a:pt x="587079" y="563258"/>
                      </a:lnTo>
                      <a:lnTo>
                        <a:pt x="588032" y="552919"/>
                      </a:lnTo>
                      <a:lnTo>
                        <a:pt x="597735" y="544650"/>
                      </a:lnTo>
                      <a:lnTo>
                        <a:pt x="596621" y="575981"/>
                      </a:lnTo>
                      <a:close/>
                      <a:moveTo>
                        <a:pt x="604097" y="497254"/>
                      </a:moveTo>
                      <a:cubicBezTo>
                        <a:pt x="602823" y="485804"/>
                        <a:pt x="593123" y="488665"/>
                        <a:pt x="593123" y="488665"/>
                      </a:cubicBezTo>
                      <a:lnTo>
                        <a:pt x="601236" y="393239"/>
                      </a:lnTo>
                      <a:cubicBezTo>
                        <a:pt x="608728" y="396000"/>
                        <a:pt x="614813" y="411156"/>
                        <a:pt x="621274" y="430296"/>
                      </a:cubicBezTo>
                      <a:cubicBezTo>
                        <a:pt x="634366" y="469063"/>
                        <a:pt x="645131" y="523974"/>
                        <a:pt x="645131" y="523974"/>
                      </a:cubicBezTo>
                      <a:lnTo>
                        <a:pt x="605530" y="520316"/>
                      </a:lnTo>
                      <a:lnTo>
                        <a:pt x="607437" y="503775"/>
                      </a:lnTo>
                      <a:lnTo>
                        <a:pt x="604097" y="497254"/>
                      </a:lnTo>
                      <a:close/>
                      <a:moveTo>
                        <a:pt x="639566" y="612721"/>
                      </a:moveTo>
                      <a:cubicBezTo>
                        <a:pt x="625729" y="610814"/>
                        <a:pt x="614279" y="601588"/>
                        <a:pt x="614279" y="601588"/>
                      </a:cubicBezTo>
                      <a:cubicBezTo>
                        <a:pt x="608077" y="567392"/>
                        <a:pt x="614439" y="543696"/>
                        <a:pt x="612052" y="536697"/>
                      </a:cubicBezTo>
                      <a:lnTo>
                        <a:pt x="648951" y="540832"/>
                      </a:lnTo>
                      <a:lnTo>
                        <a:pt x="666446" y="610177"/>
                      </a:lnTo>
                      <a:cubicBezTo>
                        <a:pt x="666443" y="610174"/>
                        <a:pt x="653403" y="614628"/>
                        <a:pt x="639566" y="612721"/>
                      </a:cubicBezTo>
                      <a:close/>
                    </a:path>
                  </a:pathLst>
                </a:custGeom>
                <a:grpFill/>
                <a:ln w="2826" cap="flat">
                  <a:noFill/>
                  <a:prstDash val="solid"/>
                  <a:miter/>
                </a:ln>
              </p:spPr>
              <p:txBody>
                <a:bodyPr rtlCol="0" anchor="ctr"/>
                <a:lstStyle/>
                <a:p>
                  <a:endParaRPr lang="fr-CA"/>
                </a:p>
              </p:txBody>
            </p:sp>
            <p:grpSp>
              <p:nvGrpSpPr>
                <p:cNvPr id="1715" name="Graphique 35" descr="Garçon dans un fauteuil roulant">
                  <a:extLst>
                    <a:ext uri="{FF2B5EF4-FFF2-40B4-BE49-F238E27FC236}">
                      <a16:creationId xmlns:a16="http://schemas.microsoft.com/office/drawing/2014/main" id="{D2157C78-DF65-8CCC-E20F-3E7317F6DF3B}"/>
                    </a:ext>
                  </a:extLst>
                </p:cNvPr>
                <p:cNvGrpSpPr/>
                <p:nvPr/>
              </p:nvGrpSpPr>
              <p:grpSpPr>
                <a:xfrm>
                  <a:off x="9291701" y="4005701"/>
                  <a:ext cx="288140" cy="253089"/>
                  <a:chOff x="9291701" y="4005701"/>
                  <a:chExt cx="288140" cy="253089"/>
                </a:xfrm>
                <a:grpFill/>
              </p:grpSpPr>
              <p:sp>
                <p:nvSpPr>
                  <p:cNvPr id="1762" name="Forme libre : forme 1761">
                    <a:extLst>
                      <a:ext uri="{FF2B5EF4-FFF2-40B4-BE49-F238E27FC236}">
                        <a16:creationId xmlns:a16="http://schemas.microsoft.com/office/drawing/2014/main" id="{F0B83D39-7E32-DAF9-B49B-ABD832D3F383}"/>
                      </a:ext>
                    </a:extLst>
                  </p:cNvPr>
                  <p:cNvSpPr/>
                  <p:nvPr/>
                </p:nvSpPr>
                <p:spPr>
                  <a:xfrm>
                    <a:off x="9291701" y="4005701"/>
                    <a:ext cx="288140" cy="238713"/>
                  </a:xfrm>
                  <a:custGeom>
                    <a:avLst/>
                    <a:gdLst>
                      <a:gd name="connsiteX0" fmla="*/ 259505 w 288140"/>
                      <a:gd name="connsiteY0" fmla="*/ 102633 h 238713"/>
                      <a:gd name="connsiteX1" fmla="*/ 179983 w 288140"/>
                      <a:gd name="connsiteY1" fmla="*/ 21838 h 238713"/>
                      <a:gd name="connsiteX2" fmla="*/ 167308 w 288140"/>
                      <a:gd name="connsiteY2" fmla="*/ 9334 h 238713"/>
                      <a:gd name="connsiteX3" fmla="*/ 165852 w 288140"/>
                      <a:gd name="connsiteY3" fmla="*/ 8926 h 238713"/>
                      <a:gd name="connsiteX4" fmla="*/ 163965 w 288140"/>
                      <a:gd name="connsiteY4" fmla="*/ 10788 h 238713"/>
                      <a:gd name="connsiteX5" fmla="*/ 162917 w 288140"/>
                      <a:gd name="connsiteY5" fmla="*/ 14922 h 238713"/>
                      <a:gd name="connsiteX6" fmla="*/ 165869 w 288140"/>
                      <a:gd name="connsiteY6" fmla="*/ 58344 h 238713"/>
                      <a:gd name="connsiteX7" fmla="*/ 163417 w 288140"/>
                      <a:gd name="connsiteY7" fmla="*/ 71067 h 238713"/>
                      <a:gd name="connsiteX8" fmla="*/ 93763 w 288140"/>
                      <a:gd name="connsiteY8" fmla="*/ 10711 h 238713"/>
                      <a:gd name="connsiteX9" fmla="*/ 96373 w 288140"/>
                      <a:gd name="connsiteY9" fmla="*/ 1833 h 238713"/>
                      <a:gd name="connsiteX10" fmla="*/ 93772 w 288140"/>
                      <a:gd name="connsiteY10" fmla="*/ 97 h 238713"/>
                      <a:gd name="connsiteX11" fmla="*/ 78193 w 288140"/>
                      <a:gd name="connsiteY11" fmla="*/ 25656 h 238713"/>
                      <a:gd name="connsiteX12" fmla="*/ 7577 w 288140"/>
                      <a:gd name="connsiteY12" fmla="*/ 110905 h 238713"/>
                      <a:gd name="connsiteX13" fmla="*/ 927 w 288140"/>
                      <a:gd name="connsiteY13" fmla="*/ 219408 h 238713"/>
                      <a:gd name="connsiteX14" fmla="*/ 5590 w 288140"/>
                      <a:gd name="connsiteY14" fmla="*/ 220422 h 238713"/>
                      <a:gd name="connsiteX15" fmla="*/ 73482 w 288140"/>
                      <a:gd name="connsiteY15" fmla="*/ 208407 h 238713"/>
                      <a:gd name="connsiteX16" fmla="*/ 165512 w 288140"/>
                      <a:gd name="connsiteY16" fmla="*/ 215082 h 238713"/>
                      <a:gd name="connsiteX17" fmla="*/ 221020 w 288140"/>
                      <a:gd name="connsiteY17" fmla="*/ 215322 h 238713"/>
                      <a:gd name="connsiteX18" fmla="*/ 238595 w 288140"/>
                      <a:gd name="connsiteY18" fmla="*/ 235361 h 238713"/>
                      <a:gd name="connsiteX19" fmla="*/ 240531 w 288140"/>
                      <a:gd name="connsiteY19" fmla="*/ 237083 h 238713"/>
                      <a:gd name="connsiteX20" fmla="*/ 286548 w 288140"/>
                      <a:gd name="connsiteY20" fmla="*/ 228705 h 238713"/>
                      <a:gd name="connsiteX21" fmla="*/ 263328 w 288140"/>
                      <a:gd name="connsiteY21" fmla="*/ 170707 h 238713"/>
                      <a:gd name="connsiteX22" fmla="*/ 288138 w 288140"/>
                      <a:gd name="connsiteY22" fmla="*/ 160848 h 238713"/>
                      <a:gd name="connsiteX23" fmla="*/ 259505 w 288140"/>
                      <a:gd name="connsiteY23" fmla="*/ 102633 h 23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140" h="238713">
                        <a:moveTo>
                          <a:pt x="259505" y="102633"/>
                        </a:moveTo>
                        <a:cubicBezTo>
                          <a:pt x="245131" y="68926"/>
                          <a:pt x="227453" y="13292"/>
                          <a:pt x="179983" y="21838"/>
                        </a:cubicBezTo>
                        <a:cubicBezTo>
                          <a:pt x="175458" y="16356"/>
                          <a:pt x="171312" y="12769"/>
                          <a:pt x="167308" y="9334"/>
                        </a:cubicBezTo>
                        <a:cubicBezTo>
                          <a:pt x="166909" y="8989"/>
                          <a:pt x="166375" y="8840"/>
                          <a:pt x="165852" y="8926"/>
                        </a:cubicBezTo>
                        <a:cubicBezTo>
                          <a:pt x="164841" y="9060"/>
                          <a:pt x="164484" y="10040"/>
                          <a:pt x="163965" y="10788"/>
                        </a:cubicBezTo>
                        <a:cubicBezTo>
                          <a:pt x="163297" y="11916"/>
                          <a:pt x="161815" y="13577"/>
                          <a:pt x="162917" y="14922"/>
                        </a:cubicBezTo>
                        <a:cubicBezTo>
                          <a:pt x="172371" y="26461"/>
                          <a:pt x="170646" y="44906"/>
                          <a:pt x="165869" y="58344"/>
                        </a:cubicBezTo>
                        <a:cubicBezTo>
                          <a:pt x="163891" y="62875"/>
                          <a:pt x="164213" y="63749"/>
                          <a:pt x="163417" y="71067"/>
                        </a:cubicBezTo>
                        <a:cubicBezTo>
                          <a:pt x="148323" y="47028"/>
                          <a:pt x="104157" y="37245"/>
                          <a:pt x="93763" y="10711"/>
                        </a:cubicBezTo>
                        <a:cubicBezTo>
                          <a:pt x="96661" y="10240"/>
                          <a:pt x="95739" y="4443"/>
                          <a:pt x="96373" y="1833"/>
                        </a:cubicBezTo>
                        <a:cubicBezTo>
                          <a:pt x="96524" y="508"/>
                          <a:pt x="95085" y="-288"/>
                          <a:pt x="93772" y="97"/>
                        </a:cubicBezTo>
                        <a:cubicBezTo>
                          <a:pt x="79900" y="4166"/>
                          <a:pt x="78781" y="26055"/>
                          <a:pt x="78193" y="25656"/>
                        </a:cubicBezTo>
                        <a:cubicBezTo>
                          <a:pt x="40522" y="42631"/>
                          <a:pt x="17857" y="75256"/>
                          <a:pt x="7577" y="110905"/>
                        </a:cubicBezTo>
                        <a:cubicBezTo>
                          <a:pt x="-2499" y="145846"/>
                          <a:pt x="82" y="185050"/>
                          <a:pt x="927" y="219408"/>
                        </a:cubicBezTo>
                        <a:cubicBezTo>
                          <a:pt x="1273" y="222212"/>
                          <a:pt x="3817" y="220973"/>
                          <a:pt x="5590" y="220422"/>
                        </a:cubicBezTo>
                        <a:cubicBezTo>
                          <a:pt x="36533" y="210822"/>
                          <a:pt x="55053" y="207133"/>
                          <a:pt x="73482" y="208407"/>
                        </a:cubicBezTo>
                        <a:cubicBezTo>
                          <a:pt x="119239" y="211565"/>
                          <a:pt x="131222" y="225601"/>
                          <a:pt x="165512" y="215082"/>
                        </a:cubicBezTo>
                        <a:cubicBezTo>
                          <a:pt x="186145" y="208752"/>
                          <a:pt x="202315" y="206445"/>
                          <a:pt x="221020" y="215322"/>
                        </a:cubicBezTo>
                        <a:cubicBezTo>
                          <a:pt x="230697" y="219914"/>
                          <a:pt x="236765" y="228046"/>
                          <a:pt x="238595" y="235361"/>
                        </a:cubicBezTo>
                        <a:cubicBezTo>
                          <a:pt x="238695" y="235758"/>
                          <a:pt x="240111" y="236954"/>
                          <a:pt x="240531" y="237083"/>
                        </a:cubicBezTo>
                        <a:cubicBezTo>
                          <a:pt x="260513" y="243336"/>
                          <a:pt x="287184" y="229662"/>
                          <a:pt x="286548" y="228705"/>
                        </a:cubicBezTo>
                        <a:cubicBezTo>
                          <a:pt x="284175" y="225145"/>
                          <a:pt x="262494" y="176075"/>
                          <a:pt x="263328" y="170707"/>
                        </a:cubicBezTo>
                        <a:cubicBezTo>
                          <a:pt x="263354" y="170196"/>
                          <a:pt x="287835" y="161353"/>
                          <a:pt x="288138" y="160848"/>
                        </a:cubicBezTo>
                        <a:cubicBezTo>
                          <a:pt x="288438" y="160334"/>
                          <a:pt x="259753" y="103170"/>
                          <a:pt x="259505" y="102633"/>
                        </a:cubicBezTo>
                        <a:close/>
                      </a:path>
                    </a:pathLst>
                  </a:custGeom>
                  <a:grpFill/>
                  <a:ln w="2826" cap="flat">
                    <a:noFill/>
                    <a:prstDash val="solid"/>
                    <a:miter/>
                  </a:ln>
                </p:spPr>
                <p:txBody>
                  <a:bodyPr rtlCol="0" anchor="ctr"/>
                  <a:lstStyle/>
                  <a:p>
                    <a:endParaRPr lang="fr-CA"/>
                  </a:p>
                </p:txBody>
              </p:sp>
              <p:sp>
                <p:nvSpPr>
                  <p:cNvPr id="1763" name="Forme libre : forme 1762">
                    <a:extLst>
                      <a:ext uri="{FF2B5EF4-FFF2-40B4-BE49-F238E27FC236}">
                        <a16:creationId xmlns:a16="http://schemas.microsoft.com/office/drawing/2014/main" id="{4994C966-C0D5-FE15-AE6D-FBCCEBD12AF3}"/>
                      </a:ext>
                    </a:extLst>
                  </p:cNvPr>
                  <p:cNvSpPr/>
                  <p:nvPr/>
                </p:nvSpPr>
                <p:spPr>
                  <a:xfrm>
                    <a:off x="9435421" y="4249248"/>
                    <a:ext cx="26083" cy="9542"/>
                  </a:xfrm>
                  <a:custGeom>
                    <a:avLst/>
                    <a:gdLst>
                      <a:gd name="connsiteX0" fmla="*/ 26084 w 26083"/>
                      <a:gd name="connsiteY0" fmla="*/ 9543 h 9542"/>
                      <a:gd name="connsiteX1" fmla="*/ 26084 w 26083"/>
                      <a:gd name="connsiteY1" fmla="*/ 0 h 9542"/>
                      <a:gd name="connsiteX2" fmla="*/ 0 w 26083"/>
                      <a:gd name="connsiteY2" fmla="*/ 3181 h 9542"/>
                    </a:gdLst>
                    <a:ahLst/>
                    <a:cxnLst>
                      <a:cxn ang="0">
                        <a:pos x="connsiteX0" y="connsiteY0"/>
                      </a:cxn>
                      <a:cxn ang="0">
                        <a:pos x="connsiteX1" y="connsiteY1"/>
                      </a:cxn>
                      <a:cxn ang="0">
                        <a:pos x="connsiteX2" y="connsiteY2"/>
                      </a:cxn>
                    </a:cxnLst>
                    <a:rect l="l" t="t" r="r" b="b"/>
                    <a:pathLst>
                      <a:path w="26083" h="9542">
                        <a:moveTo>
                          <a:pt x="26084" y="9543"/>
                        </a:moveTo>
                        <a:lnTo>
                          <a:pt x="26084" y="0"/>
                        </a:lnTo>
                        <a:lnTo>
                          <a:pt x="0" y="3181"/>
                        </a:lnTo>
                        <a:close/>
                      </a:path>
                    </a:pathLst>
                  </a:custGeom>
                  <a:grpFill/>
                  <a:ln w="2826" cap="flat">
                    <a:noFill/>
                    <a:prstDash val="solid"/>
                    <a:miter/>
                  </a:ln>
                </p:spPr>
                <p:txBody>
                  <a:bodyPr rtlCol="0" anchor="ctr"/>
                  <a:lstStyle/>
                  <a:p>
                    <a:endParaRPr lang="fr-CA"/>
                  </a:p>
                </p:txBody>
              </p:sp>
            </p:grpSp>
            <p:grpSp>
              <p:nvGrpSpPr>
                <p:cNvPr id="1716" name="Graphique 35" descr="Garçon dans un fauteuil roulant">
                  <a:extLst>
                    <a:ext uri="{FF2B5EF4-FFF2-40B4-BE49-F238E27FC236}">
                      <a16:creationId xmlns:a16="http://schemas.microsoft.com/office/drawing/2014/main" id="{66AA07E2-7E68-47E3-68E9-3B80FE67A0CF}"/>
                    </a:ext>
                  </a:extLst>
                </p:cNvPr>
                <p:cNvGrpSpPr/>
                <p:nvPr/>
              </p:nvGrpSpPr>
              <p:grpSpPr>
                <a:xfrm>
                  <a:off x="9539751" y="4603234"/>
                  <a:ext cx="304846" cy="57173"/>
                  <a:chOff x="9539751" y="4603234"/>
                  <a:chExt cx="304846" cy="57173"/>
                </a:xfrm>
                <a:grpFill/>
              </p:grpSpPr>
              <p:sp>
                <p:nvSpPr>
                  <p:cNvPr id="1759" name="Forme libre : forme 1758">
                    <a:extLst>
                      <a:ext uri="{FF2B5EF4-FFF2-40B4-BE49-F238E27FC236}">
                        <a16:creationId xmlns:a16="http://schemas.microsoft.com/office/drawing/2014/main" id="{F514175A-DF95-95C5-BBBD-8C845C529B01}"/>
                      </a:ext>
                    </a:extLst>
                  </p:cNvPr>
                  <p:cNvSpPr/>
                  <p:nvPr/>
                </p:nvSpPr>
                <p:spPr>
                  <a:xfrm>
                    <a:off x="9655750" y="4603234"/>
                    <a:ext cx="188847" cy="57173"/>
                  </a:xfrm>
                  <a:custGeom>
                    <a:avLst/>
                    <a:gdLst>
                      <a:gd name="connsiteX0" fmla="*/ 188620 w 188847"/>
                      <a:gd name="connsiteY0" fmla="*/ 2704 h 57173"/>
                      <a:gd name="connsiteX1" fmla="*/ 185065 w 188847"/>
                      <a:gd name="connsiteY1" fmla="*/ 140 h 57173"/>
                      <a:gd name="connsiteX2" fmla="*/ 121040 w 188847"/>
                      <a:gd name="connsiteY2" fmla="*/ 24873 h 57173"/>
                      <a:gd name="connsiteX3" fmla="*/ 26453 w 188847"/>
                      <a:gd name="connsiteY3" fmla="*/ 33865 h 57173"/>
                      <a:gd name="connsiteX4" fmla="*/ 24146 w 188847"/>
                      <a:gd name="connsiteY4" fmla="*/ 31803 h 57173"/>
                      <a:gd name="connsiteX5" fmla="*/ 7254 w 188847"/>
                      <a:gd name="connsiteY5" fmla="*/ 36295 h 57173"/>
                      <a:gd name="connsiteX6" fmla="*/ 1720 w 188847"/>
                      <a:gd name="connsiteY6" fmla="*/ 45209 h 57173"/>
                      <a:gd name="connsiteX7" fmla="*/ 5090 w 188847"/>
                      <a:gd name="connsiteY7" fmla="*/ 55594 h 57173"/>
                      <a:gd name="connsiteX8" fmla="*/ 71885 w 188847"/>
                      <a:gd name="connsiteY8" fmla="*/ 51282 h 57173"/>
                      <a:gd name="connsiteX9" fmla="*/ 169578 w 188847"/>
                      <a:gd name="connsiteY9" fmla="*/ 15782 h 57173"/>
                      <a:gd name="connsiteX10" fmla="*/ 187829 w 188847"/>
                      <a:gd name="connsiteY10" fmla="*/ 5186 h 57173"/>
                      <a:gd name="connsiteX11" fmla="*/ 188620 w 188847"/>
                      <a:gd name="connsiteY11" fmla="*/ 2704 h 5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847" h="57173">
                        <a:moveTo>
                          <a:pt x="188620" y="2704"/>
                        </a:moveTo>
                        <a:cubicBezTo>
                          <a:pt x="187818" y="1371"/>
                          <a:pt x="186815" y="-534"/>
                          <a:pt x="185065" y="140"/>
                        </a:cubicBezTo>
                        <a:cubicBezTo>
                          <a:pt x="163790" y="9220"/>
                          <a:pt x="142249" y="17541"/>
                          <a:pt x="121040" y="24873"/>
                        </a:cubicBezTo>
                        <a:cubicBezTo>
                          <a:pt x="88703" y="37285"/>
                          <a:pt x="62491" y="26189"/>
                          <a:pt x="26453" y="33865"/>
                        </a:cubicBezTo>
                        <a:cubicBezTo>
                          <a:pt x="26590" y="32608"/>
                          <a:pt x="25417" y="31420"/>
                          <a:pt x="24146" y="31803"/>
                        </a:cubicBezTo>
                        <a:cubicBezTo>
                          <a:pt x="17102" y="33753"/>
                          <a:pt x="10937" y="35344"/>
                          <a:pt x="7254" y="36295"/>
                        </a:cubicBezTo>
                        <a:cubicBezTo>
                          <a:pt x="-887" y="38005"/>
                          <a:pt x="5786" y="38747"/>
                          <a:pt x="1720" y="45209"/>
                        </a:cubicBezTo>
                        <a:cubicBezTo>
                          <a:pt x="-875" y="49669"/>
                          <a:pt x="-1107" y="54863"/>
                          <a:pt x="5090" y="55594"/>
                        </a:cubicBezTo>
                        <a:cubicBezTo>
                          <a:pt x="26519" y="57935"/>
                          <a:pt x="50010" y="58523"/>
                          <a:pt x="71885" y="51282"/>
                        </a:cubicBezTo>
                        <a:cubicBezTo>
                          <a:pt x="104590" y="40181"/>
                          <a:pt x="140379" y="35558"/>
                          <a:pt x="169578" y="15782"/>
                        </a:cubicBezTo>
                        <a:cubicBezTo>
                          <a:pt x="175443" y="12067"/>
                          <a:pt x="181510" y="8229"/>
                          <a:pt x="187829" y="5186"/>
                        </a:cubicBezTo>
                        <a:cubicBezTo>
                          <a:pt x="188737" y="4774"/>
                          <a:pt x="189134" y="3567"/>
                          <a:pt x="188620" y="2704"/>
                        </a:cubicBezTo>
                        <a:close/>
                      </a:path>
                    </a:pathLst>
                  </a:custGeom>
                  <a:grpFill/>
                  <a:ln w="2826" cap="flat">
                    <a:noFill/>
                    <a:prstDash val="solid"/>
                    <a:miter/>
                  </a:ln>
                </p:spPr>
                <p:txBody>
                  <a:bodyPr rtlCol="0" anchor="ctr"/>
                  <a:lstStyle/>
                  <a:p>
                    <a:endParaRPr lang="fr-CA"/>
                  </a:p>
                </p:txBody>
              </p:sp>
              <p:sp>
                <p:nvSpPr>
                  <p:cNvPr id="1760" name="Forme libre : forme 1759">
                    <a:extLst>
                      <a:ext uri="{FF2B5EF4-FFF2-40B4-BE49-F238E27FC236}">
                        <a16:creationId xmlns:a16="http://schemas.microsoft.com/office/drawing/2014/main" id="{4CE8821B-90A5-CE7F-4168-E50621B916A8}"/>
                      </a:ext>
                    </a:extLst>
                  </p:cNvPr>
                  <p:cNvSpPr/>
                  <p:nvPr/>
                </p:nvSpPr>
                <p:spPr>
                  <a:xfrm>
                    <a:off x="9585773" y="4608277"/>
                    <a:ext cx="56215" cy="21346"/>
                  </a:xfrm>
                  <a:custGeom>
                    <a:avLst/>
                    <a:gdLst>
                      <a:gd name="connsiteX0" fmla="*/ 55536 w 56215"/>
                      <a:gd name="connsiteY0" fmla="*/ 7652 h 21346"/>
                      <a:gd name="connsiteX1" fmla="*/ 13965 w 56215"/>
                      <a:gd name="connsiteY1" fmla="*/ 8563 h 21346"/>
                      <a:gd name="connsiteX2" fmla="*/ 1261 w 56215"/>
                      <a:gd name="connsiteY2" fmla="*/ 15290 h 21346"/>
                      <a:gd name="connsiteX3" fmla="*/ 16 w 56215"/>
                      <a:gd name="connsiteY3" fmla="*/ 17240 h 21346"/>
                      <a:gd name="connsiteX4" fmla="*/ 9519 w 56215"/>
                      <a:gd name="connsiteY4" fmla="*/ 17680 h 21346"/>
                      <a:gd name="connsiteX5" fmla="*/ 23136 w 56215"/>
                      <a:gd name="connsiteY5" fmla="*/ 17714 h 21346"/>
                      <a:gd name="connsiteX6" fmla="*/ 24826 w 56215"/>
                      <a:gd name="connsiteY6" fmla="*/ 18625 h 21346"/>
                      <a:gd name="connsiteX7" fmla="*/ 38935 w 56215"/>
                      <a:gd name="connsiteY7" fmla="*/ 18500 h 21346"/>
                      <a:gd name="connsiteX8" fmla="*/ 44768 w 56215"/>
                      <a:gd name="connsiteY8" fmla="*/ 21346 h 21346"/>
                      <a:gd name="connsiteX9" fmla="*/ 53680 w 56215"/>
                      <a:gd name="connsiteY9" fmla="*/ 17460 h 21346"/>
                      <a:gd name="connsiteX10" fmla="*/ 54739 w 56215"/>
                      <a:gd name="connsiteY10" fmla="*/ 16344 h 21346"/>
                      <a:gd name="connsiteX11" fmla="*/ 55536 w 56215"/>
                      <a:gd name="connsiteY11" fmla="*/ 7652 h 2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5" h="21346">
                        <a:moveTo>
                          <a:pt x="55536" y="7652"/>
                        </a:moveTo>
                        <a:cubicBezTo>
                          <a:pt x="45962" y="-4797"/>
                          <a:pt x="25015" y="-269"/>
                          <a:pt x="13965" y="8563"/>
                        </a:cubicBezTo>
                        <a:cubicBezTo>
                          <a:pt x="9750" y="11304"/>
                          <a:pt x="5773" y="13894"/>
                          <a:pt x="1261" y="15290"/>
                        </a:cubicBezTo>
                        <a:cubicBezTo>
                          <a:pt x="425" y="15547"/>
                          <a:pt x="-101" y="16372"/>
                          <a:pt x="16" y="17240"/>
                        </a:cubicBezTo>
                        <a:cubicBezTo>
                          <a:pt x="967" y="20441"/>
                          <a:pt x="6130" y="17989"/>
                          <a:pt x="9519" y="17680"/>
                        </a:cubicBezTo>
                        <a:cubicBezTo>
                          <a:pt x="14381" y="16695"/>
                          <a:pt x="21731" y="15207"/>
                          <a:pt x="23136" y="17714"/>
                        </a:cubicBezTo>
                        <a:cubicBezTo>
                          <a:pt x="23476" y="18320"/>
                          <a:pt x="24130" y="18671"/>
                          <a:pt x="24826" y="18625"/>
                        </a:cubicBezTo>
                        <a:cubicBezTo>
                          <a:pt x="29655" y="18640"/>
                          <a:pt x="34586" y="17380"/>
                          <a:pt x="38935" y="18500"/>
                        </a:cubicBezTo>
                        <a:cubicBezTo>
                          <a:pt x="43252" y="18580"/>
                          <a:pt x="42096" y="20667"/>
                          <a:pt x="44768" y="21346"/>
                        </a:cubicBezTo>
                        <a:cubicBezTo>
                          <a:pt x="47723" y="20353"/>
                          <a:pt x="50330" y="18568"/>
                          <a:pt x="53680" y="17460"/>
                        </a:cubicBezTo>
                        <a:cubicBezTo>
                          <a:pt x="54182" y="17266"/>
                          <a:pt x="54571" y="16855"/>
                          <a:pt x="54739" y="16344"/>
                        </a:cubicBezTo>
                        <a:cubicBezTo>
                          <a:pt x="55633" y="13668"/>
                          <a:pt x="57080" y="10916"/>
                          <a:pt x="55536" y="7652"/>
                        </a:cubicBezTo>
                        <a:close/>
                      </a:path>
                    </a:pathLst>
                  </a:custGeom>
                  <a:grpFill/>
                  <a:ln w="2826" cap="flat">
                    <a:noFill/>
                    <a:prstDash val="solid"/>
                    <a:miter/>
                  </a:ln>
                </p:spPr>
                <p:txBody>
                  <a:bodyPr rtlCol="0" anchor="ctr"/>
                  <a:lstStyle/>
                  <a:p>
                    <a:endParaRPr lang="fr-CA"/>
                  </a:p>
                </p:txBody>
              </p:sp>
              <p:sp>
                <p:nvSpPr>
                  <p:cNvPr id="1761" name="Forme libre : forme 1760">
                    <a:extLst>
                      <a:ext uri="{FF2B5EF4-FFF2-40B4-BE49-F238E27FC236}">
                        <a16:creationId xmlns:a16="http://schemas.microsoft.com/office/drawing/2014/main" id="{A0C202D3-2ED1-4D1E-53E1-71C93761785D}"/>
                      </a:ext>
                    </a:extLst>
                  </p:cNvPr>
                  <p:cNvSpPr/>
                  <p:nvPr/>
                </p:nvSpPr>
                <p:spPr>
                  <a:xfrm>
                    <a:off x="9539751" y="4627716"/>
                    <a:ext cx="15875" cy="17897"/>
                  </a:xfrm>
                  <a:custGeom>
                    <a:avLst/>
                    <a:gdLst>
                      <a:gd name="connsiteX0" fmla="*/ 14019 w 15875"/>
                      <a:gd name="connsiteY0" fmla="*/ 4903 h 17897"/>
                      <a:gd name="connsiteX1" fmla="*/ 12286 w 15875"/>
                      <a:gd name="connsiteY1" fmla="*/ 3435 h 17897"/>
                      <a:gd name="connsiteX2" fmla="*/ 2697 w 15875"/>
                      <a:gd name="connsiteY2" fmla="*/ 248 h 17897"/>
                      <a:gd name="connsiteX3" fmla="*/ 19 w 15875"/>
                      <a:gd name="connsiteY3" fmla="*/ 2004 h 17897"/>
                      <a:gd name="connsiteX4" fmla="*/ 14027 w 15875"/>
                      <a:gd name="connsiteY4" fmla="*/ 17886 h 17897"/>
                      <a:gd name="connsiteX5" fmla="*/ 15538 w 15875"/>
                      <a:gd name="connsiteY5" fmla="*/ 17335 h 17897"/>
                      <a:gd name="connsiteX6" fmla="*/ 14019 w 15875"/>
                      <a:gd name="connsiteY6" fmla="*/ 4903 h 1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5" h="17897">
                        <a:moveTo>
                          <a:pt x="14019" y="4903"/>
                        </a:moveTo>
                        <a:cubicBezTo>
                          <a:pt x="13865" y="4063"/>
                          <a:pt x="13139" y="3449"/>
                          <a:pt x="12286" y="3435"/>
                        </a:cubicBezTo>
                        <a:cubicBezTo>
                          <a:pt x="9393" y="3389"/>
                          <a:pt x="6347" y="2376"/>
                          <a:pt x="2697" y="248"/>
                        </a:cubicBezTo>
                        <a:cubicBezTo>
                          <a:pt x="1487" y="-511"/>
                          <a:pt x="-198" y="585"/>
                          <a:pt x="19" y="2004"/>
                        </a:cubicBezTo>
                        <a:cubicBezTo>
                          <a:pt x="307" y="9799"/>
                          <a:pt x="5319" y="17206"/>
                          <a:pt x="14027" y="17886"/>
                        </a:cubicBezTo>
                        <a:cubicBezTo>
                          <a:pt x="14584" y="17951"/>
                          <a:pt x="15150" y="17749"/>
                          <a:pt x="15538" y="17335"/>
                        </a:cubicBezTo>
                        <a:cubicBezTo>
                          <a:pt x="16786" y="14708"/>
                          <a:pt x="14182" y="8186"/>
                          <a:pt x="14019" y="4903"/>
                        </a:cubicBezTo>
                        <a:close/>
                      </a:path>
                    </a:pathLst>
                  </a:custGeom>
                  <a:grpFill/>
                  <a:ln w="2826" cap="flat">
                    <a:noFill/>
                    <a:prstDash val="solid"/>
                    <a:miter/>
                  </a:ln>
                </p:spPr>
                <p:txBody>
                  <a:bodyPr rtlCol="0" anchor="ctr"/>
                  <a:lstStyle/>
                  <a:p>
                    <a:endParaRPr lang="fr-CA"/>
                  </a:p>
                </p:txBody>
              </p:sp>
            </p:grpSp>
            <p:grpSp>
              <p:nvGrpSpPr>
                <p:cNvPr id="1717" name="Graphique 35" descr="Garçon dans un fauteuil roulant">
                  <a:extLst>
                    <a:ext uri="{FF2B5EF4-FFF2-40B4-BE49-F238E27FC236}">
                      <a16:creationId xmlns:a16="http://schemas.microsoft.com/office/drawing/2014/main" id="{D3C7FC6F-BDB9-8813-0453-1CB926B9E794}"/>
                    </a:ext>
                  </a:extLst>
                </p:cNvPr>
                <p:cNvGrpSpPr/>
                <p:nvPr/>
              </p:nvGrpSpPr>
              <p:grpSpPr>
                <a:xfrm>
                  <a:off x="9534091" y="4553221"/>
                  <a:ext cx="305352" cy="84981"/>
                  <a:chOff x="9534091" y="4553221"/>
                  <a:chExt cx="305352" cy="84981"/>
                </a:xfrm>
                <a:grpFill/>
              </p:grpSpPr>
              <p:sp>
                <p:nvSpPr>
                  <p:cNvPr id="1756" name="Forme libre : forme 1755">
                    <a:extLst>
                      <a:ext uri="{FF2B5EF4-FFF2-40B4-BE49-F238E27FC236}">
                        <a16:creationId xmlns:a16="http://schemas.microsoft.com/office/drawing/2014/main" id="{A8503FE8-36B3-ADD1-2219-6244370F510F}"/>
                      </a:ext>
                    </a:extLst>
                  </p:cNvPr>
                  <p:cNvSpPr/>
                  <p:nvPr/>
                </p:nvSpPr>
                <p:spPr>
                  <a:xfrm>
                    <a:off x="9659469" y="4553221"/>
                    <a:ext cx="179974" cy="84981"/>
                  </a:xfrm>
                  <a:custGeom>
                    <a:avLst/>
                    <a:gdLst>
                      <a:gd name="connsiteX0" fmla="*/ 178782 w 179974"/>
                      <a:gd name="connsiteY0" fmla="*/ 47523 h 84981"/>
                      <a:gd name="connsiteX1" fmla="*/ 118200 w 179974"/>
                      <a:gd name="connsiteY1" fmla="*/ 40322 h 84981"/>
                      <a:gd name="connsiteX2" fmla="*/ 99003 w 179974"/>
                      <a:gd name="connsiteY2" fmla="*/ 26762 h 84981"/>
                      <a:gd name="connsiteX3" fmla="*/ 95705 w 179974"/>
                      <a:gd name="connsiteY3" fmla="*/ 22927 h 84981"/>
                      <a:gd name="connsiteX4" fmla="*/ 89218 w 179974"/>
                      <a:gd name="connsiteY4" fmla="*/ 10575 h 84981"/>
                      <a:gd name="connsiteX5" fmla="*/ 83410 w 179974"/>
                      <a:gd name="connsiteY5" fmla="*/ 19 h 84981"/>
                      <a:gd name="connsiteX6" fmla="*/ 77637 w 179974"/>
                      <a:gd name="connsiteY6" fmla="*/ 9279 h 84981"/>
                      <a:gd name="connsiteX7" fmla="*/ 59708 w 179974"/>
                      <a:gd name="connsiteY7" fmla="*/ 20809 h 84981"/>
                      <a:gd name="connsiteX8" fmla="*/ 44369 w 179974"/>
                      <a:gd name="connsiteY8" fmla="*/ 32156 h 84981"/>
                      <a:gd name="connsiteX9" fmla="*/ 10293 w 179974"/>
                      <a:gd name="connsiteY9" fmla="*/ 37638 h 84981"/>
                      <a:gd name="connsiteX10" fmla="*/ 5125 w 179974"/>
                      <a:gd name="connsiteY10" fmla="*/ 32678 h 84981"/>
                      <a:gd name="connsiteX11" fmla="*/ 91 w 179974"/>
                      <a:gd name="connsiteY11" fmla="*/ 38552 h 84981"/>
                      <a:gd name="connsiteX12" fmla="*/ 5353 w 179974"/>
                      <a:gd name="connsiteY12" fmla="*/ 48677 h 84981"/>
                      <a:gd name="connsiteX13" fmla="*/ 3572 w 179974"/>
                      <a:gd name="connsiteY13" fmla="*/ 61597 h 84981"/>
                      <a:gd name="connsiteX14" fmla="*/ 3677 w 179974"/>
                      <a:gd name="connsiteY14" fmla="*/ 63776 h 84981"/>
                      <a:gd name="connsiteX15" fmla="*/ 45688 w 179974"/>
                      <a:gd name="connsiteY15" fmla="*/ 59513 h 84981"/>
                      <a:gd name="connsiteX16" fmla="*/ 58574 w 179974"/>
                      <a:gd name="connsiteY16" fmla="*/ 59227 h 84981"/>
                      <a:gd name="connsiteX17" fmla="*/ 68848 w 179974"/>
                      <a:gd name="connsiteY17" fmla="*/ 62731 h 84981"/>
                      <a:gd name="connsiteX18" fmla="*/ 19342 w 179974"/>
                      <a:gd name="connsiteY18" fmla="*/ 82664 h 84981"/>
                      <a:gd name="connsiteX19" fmla="*/ 20675 w 179974"/>
                      <a:gd name="connsiteY19" fmla="*/ 84980 h 84981"/>
                      <a:gd name="connsiteX20" fmla="*/ 90760 w 179974"/>
                      <a:gd name="connsiteY20" fmla="*/ 80845 h 84981"/>
                      <a:gd name="connsiteX21" fmla="*/ 155139 w 179974"/>
                      <a:gd name="connsiteY21" fmla="*/ 60430 h 84981"/>
                      <a:gd name="connsiteX22" fmla="*/ 178830 w 179974"/>
                      <a:gd name="connsiteY22" fmla="*/ 50898 h 84981"/>
                      <a:gd name="connsiteX23" fmla="*/ 178782 w 179974"/>
                      <a:gd name="connsiteY23" fmla="*/ 47523 h 84981"/>
                      <a:gd name="connsiteX24" fmla="*/ 106161 w 179974"/>
                      <a:gd name="connsiteY24" fmla="*/ 46087 h 84981"/>
                      <a:gd name="connsiteX25" fmla="*/ 106161 w 179974"/>
                      <a:gd name="connsiteY25" fmla="*/ 46087 h 84981"/>
                      <a:gd name="connsiteX26" fmla="*/ 106161 w 179974"/>
                      <a:gd name="connsiteY26" fmla="*/ 46087 h 84981"/>
                      <a:gd name="connsiteX27" fmla="*/ 106161 w 179974"/>
                      <a:gd name="connsiteY27" fmla="*/ 46087 h 8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974" h="84981">
                        <a:moveTo>
                          <a:pt x="178782" y="47523"/>
                        </a:moveTo>
                        <a:cubicBezTo>
                          <a:pt x="153780" y="40468"/>
                          <a:pt x="146853" y="54987"/>
                          <a:pt x="118200" y="40322"/>
                        </a:cubicBezTo>
                        <a:cubicBezTo>
                          <a:pt x="115867" y="39803"/>
                          <a:pt x="100174" y="28507"/>
                          <a:pt x="99003" y="26762"/>
                        </a:cubicBezTo>
                        <a:cubicBezTo>
                          <a:pt x="98472" y="26203"/>
                          <a:pt x="96705" y="24001"/>
                          <a:pt x="95705" y="22927"/>
                        </a:cubicBezTo>
                        <a:cubicBezTo>
                          <a:pt x="92641" y="19381"/>
                          <a:pt x="90977" y="15104"/>
                          <a:pt x="89218" y="10575"/>
                        </a:cubicBezTo>
                        <a:cubicBezTo>
                          <a:pt x="87713" y="7674"/>
                          <a:pt x="86494" y="1421"/>
                          <a:pt x="83410" y="19"/>
                        </a:cubicBezTo>
                        <a:cubicBezTo>
                          <a:pt x="81431" y="-444"/>
                          <a:pt x="77128" y="7700"/>
                          <a:pt x="77637" y="9279"/>
                        </a:cubicBezTo>
                        <a:cubicBezTo>
                          <a:pt x="77839" y="9776"/>
                          <a:pt x="65030" y="16820"/>
                          <a:pt x="59708" y="20809"/>
                        </a:cubicBezTo>
                        <a:cubicBezTo>
                          <a:pt x="54394" y="24347"/>
                          <a:pt x="49740" y="27259"/>
                          <a:pt x="44369" y="32156"/>
                        </a:cubicBezTo>
                        <a:cubicBezTo>
                          <a:pt x="33093" y="42607"/>
                          <a:pt x="19984" y="50861"/>
                          <a:pt x="10293" y="37638"/>
                        </a:cubicBezTo>
                        <a:cubicBezTo>
                          <a:pt x="8751" y="35888"/>
                          <a:pt x="7155" y="34075"/>
                          <a:pt x="5125" y="32678"/>
                        </a:cubicBezTo>
                        <a:cubicBezTo>
                          <a:pt x="1833" y="30985"/>
                          <a:pt x="-497" y="36014"/>
                          <a:pt x="91" y="38552"/>
                        </a:cubicBezTo>
                        <a:cubicBezTo>
                          <a:pt x="876" y="42452"/>
                          <a:pt x="4608" y="44985"/>
                          <a:pt x="5353" y="48677"/>
                        </a:cubicBezTo>
                        <a:cubicBezTo>
                          <a:pt x="6301" y="51938"/>
                          <a:pt x="5442" y="58117"/>
                          <a:pt x="3572" y="61597"/>
                        </a:cubicBezTo>
                        <a:cubicBezTo>
                          <a:pt x="3186" y="62308"/>
                          <a:pt x="3229" y="63142"/>
                          <a:pt x="3677" y="63776"/>
                        </a:cubicBezTo>
                        <a:cubicBezTo>
                          <a:pt x="6427" y="67080"/>
                          <a:pt x="36402" y="59165"/>
                          <a:pt x="45688" y="59513"/>
                        </a:cubicBezTo>
                        <a:cubicBezTo>
                          <a:pt x="50531" y="58985"/>
                          <a:pt x="54745" y="58893"/>
                          <a:pt x="58574" y="59227"/>
                        </a:cubicBezTo>
                        <a:cubicBezTo>
                          <a:pt x="62523" y="58063"/>
                          <a:pt x="66572" y="59739"/>
                          <a:pt x="68848" y="62731"/>
                        </a:cubicBezTo>
                        <a:cubicBezTo>
                          <a:pt x="69633" y="64818"/>
                          <a:pt x="57438" y="70849"/>
                          <a:pt x="19342" y="82664"/>
                        </a:cubicBezTo>
                        <a:cubicBezTo>
                          <a:pt x="18674" y="83829"/>
                          <a:pt x="19288" y="85023"/>
                          <a:pt x="20675" y="84980"/>
                        </a:cubicBezTo>
                        <a:cubicBezTo>
                          <a:pt x="52615" y="77981"/>
                          <a:pt x="70278" y="82170"/>
                          <a:pt x="90760" y="80845"/>
                        </a:cubicBezTo>
                        <a:cubicBezTo>
                          <a:pt x="107344" y="79772"/>
                          <a:pt x="124370" y="72256"/>
                          <a:pt x="155139" y="60430"/>
                        </a:cubicBezTo>
                        <a:cubicBezTo>
                          <a:pt x="163020" y="57400"/>
                          <a:pt x="170989" y="53819"/>
                          <a:pt x="178830" y="50898"/>
                        </a:cubicBezTo>
                        <a:cubicBezTo>
                          <a:pt x="180355" y="50384"/>
                          <a:pt x="180372" y="47989"/>
                          <a:pt x="178782" y="47523"/>
                        </a:cubicBezTo>
                        <a:close/>
                        <a:moveTo>
                          <a:pt x="106161" y="46087"/>
                        </a:moveTo>
                        <a:cubicBezTo>
                          <a:pt x="106161" y="46087"/>
                          <a:pt x="106161" y="46087"/>
                          <a:pt x="106161" y="46087"/>
                        </a:cubicBezTo>
                        <a:lnTo>
                          <a:pt x="106161" y="46087"/>
                        </a:lnTo>
                        <a:cubicBezTo>
                          <a:pt x="106161" y="46087"/>
                          <a:pt x="106161" y="46087"/>
                          <a:pt x="106161" y="46087"/>
                        </a:cubicBezTo>
                        <a:close/>
                      </a:path>
                    </a:pathLst>
                  </a:custGeom>
                  <a:grpFill/>
                  <a:ln w="2826" cap="flat">
                    <a:noFill/>
                    <a:prstDash val="solid"/>
                    <a:miter/>
                  </a:ln>
                </p:spPr>
                <p:txBody>
                  <a:bodyPr rtlCol="0" anchor="ctr"/>
                  <a:lstStyle/>
                  <a:p>
                    <a:endParaRPr lang="fr-CA"/>
                  </a:p>
                </p:txBody>
              </p:sp>
              <p:sp>
                <p:nvSpPr>
                  <p:cNvPr id="1757" name="Forme libre : forme 1756">
                    <a:extLst>
                      <a:ext uri="{FF2B5EF4-FFF2-40B4-BE49-F238E27FC236}">
                        <a16:creationId xmlns:a16="http://schemas.microsoft.com/office/drawing/2014/main" id="{0C03FF3C-8FD2-5774-C858-3B7099A9BA61}"/>
                      </a:ext>
                    </a:extLst>
                  </p:cNvPr>
                  <p:cNvSpPr/>
                  <p:nvPr/>
                </p:nvSpPr>
                <p:spPr>
                  <a:xfrm>
                    <a:off x="9555305" y="4555380"/>
                    <a:ext cx="83122" cy="73897"/>
                  </a:xfrm>
                  <a:custGeom>
                    <a:avLst/>
                    <a:gdLst>
                      <a:gd name="connsiteX0" fmla="*/ 69165 w 83122"/>
                      <a:gd name="connsiteY0" fmla="*/ 41321 h 73897"/>
                      <a:gd name="connsiteX1" fmla="*/ 49766 w 83122"/>
                      <a:gd name="connsiteY1" fmla="*/ 23286 h 73897"/>
                      <a:gd name="connsiteX2" fmla="*/ 36472 w 83122"/>
                      <a:gd name="connsiteY2" fmla="*/ 2023 h 73897"/>
                      <a:gd name="connsiteX3" fmla="*/ 30921 w 83122"/>
                      <a:gd name="connsiteY3" fmla="*/ 218 h 73897"/>
                      <a:gd name="connsiteX4" fmla="*/ 37 w 83122"/>
                      <a:gd name="connsiteY4" fmla="*/ 7742 h 73897"/>
                      <a:gd name="connsiteX5" fmla="*/ 11710 w 83122"/>
                      <a:gd name="connsiteY5" fmla="*/ 72427 h 73897"/>
                      <a:gd name="connsiteX6" fmla="*/ 13472 w 83122"/>
                      <a:gd name="connsiteY6" fmla="*/ 73897 h 73897"/>
                      <a:gd name="connsiteX7" fmla="*/ 26981 w 83122"/>
                      <a:gd name="connsiteY7" fmla="*/ 72427 h 73897"/>
                      <a:gd name="connsiteX8" fmla="*/ 32951 w 83122"/>
                      <a:gd name="connsiteY8" fmla="*/ 67216 h 73897"/>
                      <a:gd name="connsiteX9" fmla="*/ 74534 w 83122"/>
                      <a:gd name="connsiteY9" fmla="*/ 51683 h 73897"/>
                      <a:gd name="connsiteX10" fmla="*/ 83071 w 83122"/>
                      <a:gd name="connsiteY10" fmla="*/ 51300 h 73897"/>
                      <a:gd name="connsiteX11" fmla="*/ 69165 w 83122"/>
                      <a:gd name="connsiteY11" fmla="*/ 41321 h 7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122" h="73897">
                        <a:moveTo>
                          <a:pt x="69165" y="41321"/>
                        </a:moveTo>
                        <a:cubicBezTo>
                          <a:pt x="60203" y="38802"/>
                          <a:pt x="54852" y="30970"/>
                          <a:pt x="49766" y="23286"/>
                        </a:cubicBezTo>
                        <a:cubicBezTo>
                          <a:pt x="45075" y="16331"/>
                          <a:pt x="40218" y="9746"/>
                          <a:pt x="36472" y="2023"/>
                        </a:cubicBezTo>
                        <a:cubicBezTo>
                          <a:pt x="35812" y="503"/>
                          <a:pt x="31749" y="-453"/>
                          <a:pt x="30921" y="218"/>
                        </a:cubicBezTo>
                        <a:cubicBezTo>
                          <a:pt x="15910" y="12536"/>
                          <a:pt x="-899" y="2202"/>
                          <a:pt x="37" y="7742"/>
                        </a:cubicBezTo>
                        <a:cubicBezTo>
                          <a:pt x="3432" y="25611"/>
                          <a:pt x="7399" y="48593"/>
                          <a:pt x="11710" y="72427"/>
                        </a:cubicBezTo>
                        <a:cubicBezTo>
                          <a:pt x="11847" y="73261"/>
                          <a:pt x="12630" y="73912"/>
                          <a:pt x="13472" y="73897"/>
                        </a:cubicBezTo>
                        <a:cubicBezTo>
                          <a:pt x="16330" y="73166"/>
                          <a:pt x="23794" y="72712"/>
                          <a:pt x="26981" y="72427"/>
                        </a:cubicBezTo>
                        <a:cubicBezTo>
                          <a:pt x="29056" y="71999"/>
                          <a:pt x="31683" y="67993"/>
                          <a:pt x="32951" y="67216"/>
                        </a:cubicBezTo>
                        <a:cubicBezTo>
                          <a:pt x="46317" y="59047"/>
                          <a:pt x="56065" y="47597"/>
                          <a:pt x="74534" y="51683"/>
                        </a:cubicBezTo>
                        <a:cubicBezTo>
                          <a:pt x="77255" y="51671"/>
                          <a:pt x="83765" y="56537"/>
                          <a:pt x="83071" y="51300"/>
                        </a:cubicBezTo>
                        <a:cubicBezTo>
                          <a:pt x="80367" y="45315"/>
                          <a:pt x="74416" y="43194"/>
                          <a:pt x="69165" y="41321"/>
                        </a:cubicBezTo>
                        <a:close/>
                      </a:path>
                    </a:pathLst>
                  </a:custGeom>
                  <a:grpFill/>
                  <a:ln w="2826" cap="flat">
                    <a:noFill/>
                    <a:prstDash val="solid"/>
                    <a:miter/>
                  </a:ln>
                </p:spPr>
                <p:txBody>
                  <a:bodyPr rtlCol="0" anchor="ctr"/>
                  <a:lstStyle/>
                  <a:p>
                    <a:endParaRPr lang="fr-CA"/>
                  </a:p>
                </p:txBody>
              </p:sp>
              <p:sp>
                <p:nvSpPr>
                  <p:cNvPr id="1758" name="Forme libre : forme 1757">
                    <a:extLst>
                      <a:ext uri="{FF2B5EF4-FFF2-40B4-BE49-F238E27FC236}">
                        <a16:creationId xmlns:a16="http://schemas.microsoft.com/office/drawing/2014/main" id="{994686D3-7DF4-EAE5-A0E1-9DD5735BFA3E}"/>
                      </a:ext>
                    </a:extLst>
                  </p:cNvPr>
                  <p:cNvSpPr/>
                  <p:nvPr/>
                </p:nvSpPr>
                <p:spPr>
                  <a:xfrm>
                    <a:off x="9534091" y="4580752"/>
                    <a:ext cx="18419" cy="49443"/>
                  </a:xfrm>
                  <a:custGeom>
                    <a:avLst/>
                    <a:gdLst>
                      <a:gd name="connsiteX0" fmla="*/ 10496 w 18419"/>
                      <a:gd name="connsiteY0" fmla="*/ 2632 h 49443"/>
                      <a:gd name="connsiteX1" fmla="*/ 5305 w 18419"/>
                      <a:gd name="connsiteY1" fmla="*/ 559 h 49443"/>
                      <a:gd name="connsiteX2" fmla="*/ 1404 w 18419"/>
                      <a:gd name="connsiteY2" fmla="*/ 339 h 49443"/>
                      <a:gd name="connsiteX3" fmla="*/ 3891 w 18419"/>
                      <a:gd name="connsiteY3" fmla="*/ 37407 h 49443"/>
                      <a:gd name="connsiteX4" fmla="*/ 6010 w 18419"/>
                      <a:gd name="connsiteY4" fmla="*/ 46079 h 49443"/>
                      <a:gd name="connsiteX5" fmla="*/ 18419 w 18419"/>
                      <a:gd name="connsiteY5" fmla="*/ 48954 h 49443"/>
                      <a:gd name="connsiteX6" fmla="*/ 10496 w 18419"/>
                      <a:gd name="connsiteY6" fmla="*/ 2632 h 4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19" h="49443">
                        <a:moveTo>
                          <a:pt x="10496" y="2632"/>
                        </a:moveTo>
                        <a:cubicBezTo>
                          <a:pt x="9876" y="407"/>
                          <a:pt x="7106" y="1381"/>
                          <a:pt x="5305" y="559"/>
                        </a:cubicBezTo>
                        <a:cubicBezTo>
                          <a:pt x="4080" y="376"/>
                          <a:pt x="2569" y="-458"/>
                          <a:pt x="1404" y="339"/>
                        </a:cubicBezTo>
                        <a:cubicBezTo>
                          <a:pt x="-2122" y="12257"/>
                          <a:pt x="1861" y="25617"/>
                          <a:pt x="3891" y="37407"/>
                        </a:cubicBezTo>
                        <a:cubicBezTo>
                          <a:pt x="4705" y="39477"/>
                          <a:pt x="4414" y="44931"/>
                          <a:pt x="6010" y="46079"/>
                        </a:cubicBezTo>
                        <a:cubicBezTo>
                          <a:pt x="9034" y="47589"/>
                          <a:pt x="15136" y="50630"/>
                          <a:pt x="18419" y="48954"/>
                        </a:cubicBezTo>
                        <a:cubicBezTo>
                          <a:pt x="17851" y="34794"/>
                          <a:pt x="13068" y="19715"/>
                          <a:pt x="10496" y="2632"/>
                        </a:cubicBezTo>
                        <a:close/>
                      </a:path>
                    </a:pathLst>
                  </a:custGeom>
                  <a:grpFill/>
                  <a:ln w="2826" cap="flat">
                    <a:noFill/>
                    <a:prstDash val="solid"/>
                    <a:miter/>
                  </a:ln>
                </p:spPr>
                <p:txBody>
                  <a:bodyPr rtlCol="0" anchor="ctr"/>
                  <a:lstStyle/>
                  <a:p>
                    <a:endParaRPr lang="fr-CA"/>
                  </a:p>
                </p:txBody>
              </p:sp>
            </p:grpSp>
            <p:grpSp>
              <p:nvGrpSpPr>
                <p:cNvPr id="1718" name="Graphique 35" descr="Garçon dans un fauteuil roulant">
                  <a:extLst>
                    <a:ext uri="{FF2B5EF4-FFF2-40B4-BE49-F238E27FC236}">
                      <a16:creationId xmlns:a16="http://schemas.microsoft.com/office/drawing/2014/main" id="{8D7F2846-D858-9FED-53F5-D1B57D9648E9}"/>
                    </a:ext>
                  </a:extLst>
                </p:cNvPr>
                <p:cNvGrpSpPr/>
                <p:nvPr/>
              </p:nvGrpSpPr>
              <p:grpSpPr>
                <a:xfrm>
                  <a:off x="9273740" y="4065232"/>
                  <a:ext cx="445587" cy="302515"/>
                  <a:chOff x="9273740" y="4065232"/>
                  <a:chExt cx="445587" cy="302515"/>
                </a:xfrm>
                <a:grpFill/>
              </p:grpSpPr>
              <p:sp>
                <p:nvSpPr>
                  <p:cNvPr id="1752" name="Forme libre : forme 1751">
                    <a:extLst>
                      <a:ext uri="{FF2B5EF4-FFF2-40B4-BE49-F238E27FC236}">
                        <a16:creationId xmlns:a16="http://schemas.microsoft.com/office/drawing/2014/main" id="{161A1795-A95E-F195-6DB2-94AD5BB3FD0F}"/>
                      </a:ext>
                    </a:extLst>
                  </p:cNvPr>
                  <p:cNvSpPr/>
                  <p:nvPr/>
                </p:nvSpPr>
                <p:spPr>
                  <a:xfrm>
                    <a:off x="9576589" y="4227399"/>
                    <a:ext cx="142737" cy="40853"/>
                  </a:xfrm>
                  <a:custGeom>
                    <a:avLst/>
                    <a:gdLst>
                      <a:gd name="connsiteX0" fmla="*/ 139752 w 142737"/>
                      <a:gd name="connsiteY0" fmla="*/ 23231 h 40853"/>
                      <a:gd name="connsiteX1" fmla="*/ 122846 w 142737"/>
                      <a:gd name="connsiteY1" fmla="*/ 15062 h 40853"/>
                      <a:gd name="connsiteX2" fmla="*/ 100155 w 142737"/>
                      <a:gd name="connsiteY2" fmla="*/ 13577 h 40853"/>
                      <a:gd name="connsiteX3" fmla="*/ 911 w 142737"/>
                      <a:gd name="connsiteY3" fmla="*/ 6 h 40853"/>
                      <a:gd name="connsiteX4" fmla="*/ 3455 w 142737"/>
                      <a:gd name="connsiteY4" fmla="*/ 7641 h 40853"/>
                      <a:gd name="connsiteX5" fmla="*/ 95920 w 142737"/>
                      <a:gd name="connsiteY5" fmla="*/ 28905 h 40853"/>
                      <a:gd name="connsiteX6" fmla="*/ 139752 w 142737"/>
                      <a:gd name="connsiteY6" fmla="*/ 23231 h 4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37" h="40853">
                        <a:moveTo>
                          <a:pt x="139752" y="23231"/>
                        </a:moveTo>
                        <a:cubicBezTo>
                          <a:pt x="136629" y="9123"/>
                          <a:pt x="141294" y="13577"/>
                          <a:pt x="122846" y="15062"/>
                        </a:cubicBezTo>
                        <a:cubicBezTo>
                          <a:pt x="121447" y="15173"/>
                          <a:pt x="100803" y="13392"/>
                          <a:pt x="100155" y="13577"/>
                        </a:cubicBezTo>
                        <a:cubicBezTo>
                          <a:pt x="96474" y="14605"/>
                          <a:pt x="4874" y="-337"/>
                          <a:pt x="911" y="6"/>
                        </a:cubicBezTo>
                        <a:cubicBezTo>
                          <a:pt x="-1473" y="668"/>
                          <a:pt x="1337" y="3823"/>
                          <a:pt x="3455" y="7641"/>
                        </a:cubicBezTo>
                        <a:cubicBezTo>
                          <a:pt x="3884" y="8412"/>
                          <a:pt x="95049" y="28768"/>
                          <a:pt x="95920" y="28905"/>
                        </a:cubicBezTo>
                        <a:cubicBezTo>
                          <a:pt x="144264" y="36480"/>
                          <a:pt x="146948" y="54206"/>
                          <a:pt x="139752" y="23231"/>
                        </a:cubicBezTo>
                        <a:close/>
                      </a:path>
                    </a:pathLst>
                  </a:custGeom>
                  <a:grpFill/>
                  <a:ln w="2826" cap="flat">
                    <a:noFill/>
                    <a:prstDash val="solid"/>
                    <a:miter/>
                  </a:ln>
                </p:spPr>
                <p:txBody>
                  <a:bodyPr rtlCol="0" anchor="ctr"/>
                  <a:lstStyle/>
                  <a:p>
                    <a:endParaRPr lang="fr-CA"/>
                  </a:p>
                </p:txBody>
              </p:sp>
              <p:sp>
                <p:nvSpPr>
                  <p:cNvPr id="1753" name="Forme libre : forme 1752">
                    <a:extLst>
                      <a:ext uri="{FF2B5EF4-FFF2-40B4-BE49-F238E27FC236}">
                        <a16:creationId xmlns:a16="http://schemas.microsoft.com/office/drawing/2014/main" id="{1E77B867-B3FC-F121-3197-233679DD725E}"/>
                      </a:ext>
                    </a:extLst>
                  </p:cNvPr>
                  <p:cNvSpPr/>
                  <p:nvPr/>
                </p:nvSpPr>
                <p:spPr>
                  <a:xfrm>
                    <a:off x="9301435" y="4261725"/>
                    <a:ext cx="160284" cy="106022"/>
                  </a:xfrm>
                  <a:custGeom>
                    <a:avLst/>
                    <a:gdLst>
                      <a:gd name="connsiteX0" fmla="*/ 158654 w 160284"/>
                      <a:gd name="connsiteY0" fmla="*/ 3150 h 106022"/>
                      <a:gd name="connsiteX1" fmla="*/ 142473 w 160284"/>
                      <a:gd name="connsiteY1" fmla="*/ 860 h 106022"/>
                      <a:gd name="connsiteX2" fmla="*/ 135457 w 160284"/>
                      <a:gd name="connsiteY2" fmla="*/ 1111 h 106022"/>
                      <a:gd name="connsiteX3" fmla="*/ 92493 w 160284"/>
                      <a:gd name="connsiteY3" fmla="*/ 11833 h 106022"/>
                      <a:gd name="connsiteX4" fmla="*/ 2175 w 160284"/>
                      <a:gd name="connsiteY4" fmla="*/ 3413 h 106022"/>
                      <a:gd name="connsiteX5" fmla="*/ 759 w 160284"/>
                      <a:gd name="connsiteY5" fmla="*/ 6625 h 106022"/>
                      <a:gd name="connsiteX6" fmla="*/ 62768 w 160284"/>
                      <a:gd name="connsiteY6" fmla="*/ 90238 h 106022"/>
                      <a:gd name="connsiteX7" fmla="*/ 155373 w 160284"/>
                      <a:gd name="connsiteY7" fmla="*/ 106022 h 106022"/>
                      <a:gd name="connsiteX8" fmla="*/ 159145 w 160284"/>
                      <a:gd name="connsiteY8" fmla="*/ 90806 h 106022"/>
                      <a:gd name="connsiteX9" fmla="*/ 160284 w 160284"/>
                      <a:gd name="connsiteY9" fmla="*/ 4960 h 106022"/>
                      <a:gd name="connsiteX10" fmla="*/ 158654 w 160284"/>
                      <a:gd name="connsiteY10" fmla="*/ 3150 h 10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284" h="106022">
                        <a:moveTo>
                          <a:pt x="158654" y="3150"/>
                        </a:moveTo>
                        <a:cubicBezTo>
                          <a:pt x="153203" y="2670"/>
                          <a:pt x="147992" y="1791"/>
                          <a:pt x="142473" y="860"/>
                        </a:cubicBezTo>
                        <a:cubicBezTo>
                          <a:pt x="140328" y="891"/>
                          <a:pt x="136833" y="-1250"/>
                          <a:pt x="135457" y="1111"/>
                        </a:cubicBezTo>
                        <a:cubicBezTo>
                          <a:pt x="128721" y="17704"/>
                          <a:pt x="107663" y="14143"/>
                          <a:pt x="92493" y="11833"/>
                        </a:cubicBezTo>
                        <a:cubicBezTo>
                          <a:pt x="62320" y="9449"/>
                          <a:pt x="31999" y="10068"/>
                          <a:pt x="2175" y="3413"/>
                        </a:cubicBezTo>
                        <a:cubicBezTo>
                          <a:pt x="370" y="2953"/>
                          <a:pt x="-872" y="5568"/>
                          <a:pt x="759" y="6625"/>
                        </a:cubicBezTo>
                        <a:cubicBezTo>
                          <a:pt x="32025" y="28471"/>
                          <a:pt x="51738" y="64152"/>
                          <a:pt x="62768" y="90238"/>
                        </a:cubicBezTo>
                        <a:cubicBezTo>
                          <a:pt x="92935" y="96583"/>
                          <a:pt x="124658" y="100280"/>
                          <a:pt x="155373" y="106022"/>
                        </a:cubicBezTo>
                        <a:cubicBezTo>
                          <a:pt x="159522" y="106011"/>
                          <a:pt x="158934" y="93850"/>
                          <a:pt x="159145" y="90806"/>
                        </a:cubicBezTo>
                        <a:cubicBezTo>
                          <a:pt x="159042" y="61944"/>
                          <a:pt x="159827" y="33594"/>
                          <a:pt x="160284" y="4960"/>
                        </a:cubicBezTo>
                        <a:cubicBezTo>
                          <a:pt x="160301" y="4021"/>
                          <a:pt x="159587" y="3230"/>
                          <a:pt x="158654" y="3150"/>
                        </a:cubicBezTo>
                        <a:close/>
                      </a:path>
                    </a:pathLst>
                  </a:custGeom>
                  <a:grpFill/>
                  <a:ln w="2826" cap="flat">
                    <a:noFill/>
                    <a:prstDash val="solid"/>
                    <a:miter/>
                  </a:ln>
                </p:spPr>
                <p:txBody>
                  <a:bodyPr rtlCol="0" anchor="ctr"/>
                  <a:lstStyle/>
                  <a:p>
                    <a:endParaRPr lang="fr-CA"/>
                  </a:p>
                </p:txBody>
              </p:sp>
              <p:sp>
                <p:nvSpPr>
                  <p:cNvPr id="1754" name="Forme libre : forme 1753">
                    <a:extLst>
                      <a:ext uri="{FF2B5EF4-FFF2-40B4-BE49-F238E27FC236}">
                        <a16:creationId xmlns:a16="http://schemas.microsoft.com/office/drawing/2014/main" id="{16F8E9D1-2FE9-42A7-0B7B-221CAC49390C}"/>
                      </a:ext>
                    </a:extLst>
                  </p:cNvPr>
                  <p:cNvSpPr/>
                  <p:nvPr/>
                </p:nvSpPr>
                <p:spPr>
                  <a:xfrm>
                    <a:off x="9282459" y="4065232"/>
                    <a:ext cx="37648" cy="64890"/>
                  </a:xfrm>
                  <a:custGeom>
                    <a:avLst/>
                    <a:gdLst>
                      <a:gd name="connsiteX0" fmla="*/ 37648 w 37648"/>
                      <a:gd name="connsiteY0" fmla="*/ 5336 h 64890"/>
                      <a:gd name="connsiteX1" fmla="*/ 22492 w 37648"/>
                      <a:gd name="connsiteY1" fmla="*/ 2649 h 64890"/>
                      <a:gd name="connsiteX2" fmla="*/ 2091 w 37648"/>
                      <a:gd name="connsiteY2" fmla="*/ 31 h 64890"/>
                      <a:gd name="connsiteX3" fmla="*/ 126 w 37648"/>
                      <a:gd name="connsiteY3" fmla="*/ 2438 h 64890"/>
                      <a:gd name="connsiteX4" fmla="*/ 7316 w 37648"/>
                      <a:gd name="connsiteY4" fmla="*/ 63257 h 64890"/>
                      <a:gd name="connsiteX5" fmla="*/ 10857 w 37648"/>
                      <a:gd name="connsiteY5" fmla="*/ 63488 h 64890"/>
                      <a:gd name="connsiteX6" fmla="*/ 37648 w 37648"/>
                      <a:gd name="connsiteY6" fmla="*/ 5336 h 6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48" h="64890">
                        <a:moveTo>
                          <a:pt x="37648" y="5336"/>
                        </a:moveTo>
                        <a:cubicBezTo>
                          <a:pt x="36266" y="3118"/>
                          <a:pt x="25510" y="3437"/>
                          <a:pt x="22492" y="2649"/>
                        </a:cubicBezTo>
                        <a:cubicBezTo>
                          <a:pt x="15813" y="1918"/>
                          <a:pt x="8903" y="1164"/>
                          <a:pt x="2091" y="31"/>
                        </a:cubicBezTo>
                        <a:cubicBezTo>
                          <a:pt x="777" y="-229"/>
                          <a:pt x="-394" y="1199"/>
                          <a:pt x="126" y="2438"/>
                        </a:cubicBezTo>
                        <a:cubicBezTo>
                          <a:pt x="6782" y="21911"/>
                          <a:pt x="5711" y="43013"/>
                          <a:pt x="7316" y="63257"/>
                        </a:cubicBezTo>
                        <a:cubicBezTo>
                          <a:pt x="7402" y="65270"/>
                          <a:pt x="10505" y="65510"/>
                          <a:pt x="10857" y="63488"/>
                        </a:cubicBezTo>
                        <a:cubicBezTo>
                          <a:pt x="13621" y="44863"/>
                          <a:pt x="25582" y="25975"/>
                          <a:pt x="37648" y="5336"/>
                        </a:cubicBezTo>
                        <a:close/>
                      </a:path>
                    </a:pathLst>
                  </a:custGeom>
                  <a:grpFill/>
                  <a:ln w="2826" cap="flat">
                    <a:noFill/>
                    <a:prstDash val="solid"/>
                    <a:miter/>
                  </a:ln>
                </p:spPr>
                <p:txBody>
                  <a:bodyPr rtlCol="0" anchor="ctr"/>
                  <a:lstStyle/>
                  <a:p>
                    <a:endParaRPr lang="fr-CA"/>
                  </a:p>
                </p:txBody>
              </p:sp>
              <p:sp>
                <p:nvSpPr>
                  <p:cNvPr id="1755" name="Forme libre : forme 1754">
                    <a:extLst>
                      <a:ext uri="{FF2B5EF4-FFF2-40B4-BE49-F238E27FC236}">
                        <a16:creationId xmlns:a16="http://schemas.microsoft.com/office/drawing/2014/main" id="{C616EFB4-71AA-3F19-A954-4055345F5B23}"/>
                      </a:ext>
                    </a:extLst>
                  </p:cNvPr>
                  <p:cNvSpPr/>
                  <p:nvPr/>
                </p:nvSpPr>
                <p:spPr>
                  <a:xfrm>
                    <a:off x="9273740" y="4273588"/>
                    <a:ext cx="70301" cy="75161"/>
                  </a:xfrm>
                  <a:custGeom>
                    <a:avLst/>
                    <a:gdLst>
                      <a:gd name="connsiteX0" fmla="*/ 70162 w 70301"/>
                      <a:gd name="connsiteY0" fmla="*/ 72713 h 75161"/>
                      <a:gd name="connsiteX1" fmla="*/ 2390 w 70301"/>
                      <a:gd name="connsiteY1" fmla="*/ 107 h 75161"/>
                      <a:gd name="connsiteX2" fmla="*/ 3 w 70301"/>
                      <a:gd name="connsiteY2" fmla="*/ 1843 h 75161"/>
                      <a:gd name="connsiteX3" fmla="*/ 3855 w 70301"/>
                      <a:gd name="connsiteY3" fmla="*/ 62822 h 75161"/>
                      <a:gd name="connsiteX4" fmla="*/ 5494 w 70301"/>
                      <a:gd name="connsiteY4" fmla="*/ 64898 h 75161"/>
                      <a:gd name="connsiteX5" fmla="*/ 39864 w 70301"/>
                      <a:gd name="connsiteY5" fmla="*/ 69955 h 75161"/>
                      <a:gd name="connsiteX6" fmla="*/ 48133 w 70301"/>
                      <a:gd name="connsiteY6" fmla="*/ 72022 h 75161"/>
                      <a:gd name="connsiteX7" fmla="*/ 58315 w 70301"/>
                      <a:gd name="connsiteY7" fmla="*/ 73090 h 75161"/>
                      <a:gd name="connsiteX8" fmla="*/ 70162 w 70301"/>
                      <a:gd name="connsiteY8" fmla="*/ 72713 h 7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01" h="75161">
                        <a:moveTo>
                          <a:pt x="70162" y="72713"/>
                        </a:moveTo>
                        <a:cubicBezTo>
                          <a:pt x="54837" y="41173"/>
                          <a:pt x="32934" y="11468"/>
                          <a:pt x="2390" y="107"/>
                        </a:cubicBezTo>
                        <a:cubicBezTo>
                          <a:pt x="1256" y="-327"/>
                          <a:pt x="-71" y="621"/>
                          <a:pt x="3" y="1843"/>
                        </a:cubicBezTo>
                        <a:cubicBezTo>
                          <a:pt x="100" y="5272"/>
                          <a:pt x="4143" y="57865"/>
                          <a:pt x="3855" y="62822"/>
                        </a:cubicBezTo>
                        <a:cubicBezTo>
                          <a:pt x="3666" y="63827"/>
                          <a:pt x="4469" y="64849"/>
                          <a:pt x="5494" y="64898"/>
                        </a:cubicBezTo>
                        <a:cubicBezTo>
                          <a:pt x="16684" y="65692"/>
                          <a:pt x="28728" y="68638"/>
                          <a:pt x="39864" y="69955"/>
                        </a:cubicBezTo>
                        <a:cubicBezTo>
                          <a:pt x="40143" y="69889"/>
                          <a:pt x="47944" y="72162"/>
                          <a:pt x="48133" y="72022"/>
                        </a:cubicBezTo>
                        <a:cubicBezTo>
                          <a:pt x="53364" y="73207"/>
                          <a:pt x="53926" y="71357"/>
                          <a:pt x="58315" y="73090"/>
                        </a:cubicBezTo>
                        <a:cubicBezTo>
                          <a:pt x="60853" y="73207"/>
                          <a:pt x="71649" y="77930"/>
                          <a:pt x="70162" y="72713"/>
                        </a:cubicBezTo>
                        <a:close/>
                      </a:path>
                    </a:pathLst>
                  </a:custGeom>
                  <a:grpFill/>
                  <a:ln w="2826" cap="flat">
                    <a:noFill/>
                    <a:prstDash val="solid"/>
                    <a:miter/>
                  </a:ln>
                </p:spPr>
                <p:txBody>
                  <a:bodyPr rtlCol="0" anchor="ctr"/>
                  <a:lstStyle/>
                  <a:p>
                    <a:endParaRPr lang="fr-CA"/>
                  </a:p>
                </p:txBody>
              </p:sp>
            </p:grpSp>
            <p:grpSp>
              <p:nvGrpSpPr>
                <p:cNvPr id="1719" name="Graphique 35" descr="Garçon dans un fauteuil roulant">
                  <a:extLst>
                    <a:ext uri="{FF2B5EF4-FFF2-40B4-BE49-F238E27FC236}">
                      <a16:creationId xmlns:a16="http://schemas.microsoft.com/office/drawing/2014/main" id="{30AC9EC2-F826-BA0E-0CEB-C32F0A48A291}"/>
                    </a:ext>
                  </a:extLst>
                </p:cNvPr>
                <p:cNvGrpSpPr/>
                <p:nvPr/>
              </p:nvGrpSpPr>
              <p:grpSpPr>
                <a:xfrm>
                  <a:off x="9244017" y="4047030"/>
                  <a:ext cx="658452" cy="624853"/>
                  <a:chOff x="9244017" y="4047030"/>
                  <a:chExt cx="658452" cy="624853"/>
                </a:xfrm>
                <a:grpFill/>
              </p:grpSpPr>
              <p:sp>
                <p:nvSpPr>
                  <p:cNvPr id="1742" name="Forme libre : forme 1741">
                    <a:extLst>
                      <a:ext uri="{FF2B5EF4-FFF2-40B4-BE49-F238E27FC236}">
                        <a16:creationId xmlns:a16="http://schemas.microsoft.com/office/drawing/2014/main" id="{FC8256EE-A715-33F2-F954-13AE5466AB9B}"/>
                      </a:ext>
                    </a:extLst>
                  </p:cNvPr>
                  <p:cNvSpPr/>
                  <p:nvPr/>
                </p:nvSpPr>
                <p:spPr>
                  <a:xfrm>
                    <a:off x="9803164" y="4607910"/>
                    <a:ext cx="99305" cy="30576"/>
                  </a:xfrm>
                  <a:custGeom>
                    <a:avLst/>
                    <a:gdLst>
                      <a:gd name="connsiteX0" fmla="*/ 98276 w 99305"/>
                      <a:gd name="connsiteY0" fmla="*/ 5227 h 30576"/>
                      <a:gd name="connsiteX1" fmla="*/ 78894 w 99305"/>
                      <a:gd name="connsiteY1" fmla="*/ 3359 h 30576"/>
                      <a:gd name="connsiteX2" fmla="*/ 72969 w 99305"/>
                      <a:gd name="connsiteY2" fmla="*/ 1281 h 30576"/>
                      <a:gd name="connsiteX3" fmla="*/ 61328 w 99305"/>
                      <a:gd name="connsiteY3" fmla="*/ 1915 h 30576"/>
                      <a:gd name="connsiteX4" fmla="*/ 1194 w 99305"/>
                      <a:gd name="connsiteY4" fmla="*/ 27073 h 30576"/>
                      <a:gd name="connsiteX5" fmla="*/ 2139 w 99305"/>
                      <a:gd name="connsiteY5" fmla="*/ 30519 h 30576"/>
                      <a:gd name="connsiteX6" fmla="*/ 35918 w 99305"/>
                      <a:gd name="connsiteY6" fmla="*/ 26736 h 30576"/>
                      <a:gd name="connsiteX7" fmla="*/ 70331 w 99305"/>
                      <a:gd name="connsiteY7" fmla="*/ 21285 h 30576"/>
                      <a:gd name="connsiteX8" fmla="*/ 78251 w 99305"/>
                      <a:gd name="connsiteY8" fmla="*/ 19261 h 30576"/>
                      <a:gd name="connsiteX9" fmla="*/ 79650 w 99305"/>
                      <a:gd name="connsiteY9" fmla="*/ 16186 h 30576"/>
                      <a:gd name="connsiteX10" fmla="*/ 87962 w 99305"/>
                      <a:gd name="connsiteY10" fmla="*/ 16186 h 30576"/>
                      <a:gd name="connsiteX11" fmla="*/ 98442 w 99305"/>
                      <a:gd name="connsiteY11" fmla="*/ 14424 h 30576"/>
                      <a:gd name="connsiteX12" fmla="*/ 98276 w 99305"/>
                      <a:gd name="connsiteY12" fmla="*/ 5227 h 3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305" h="30576">
                        <a:moveTo>
                          <a:pt x="98276" y="5227"/>
                        </a:moveTo>
                        <a:cubicBezTo>
                          <a:pt x="96680" y="1769"/>
                          <a:pt x="81803" y="3693"/>
                          <a:pt x="78894" y="3359"/>
                        </a:cubicBezTo>
                        <a:cubicBezTo>
                          <a:pt x="77497" y="-641"/>
                          <a:pt x="75102" y="-709"/>
                          <a:pt x="72969" y="1281"/>
                        </a:cubicBezTo>
                        <a:cubicBezTo>
                          <a:pt x="72332" y="1875"/>
                          <a:pt x="63689" y="2317"/>
                          <a:pt x="61328" y="1915"/>
                        </a:cubicBezTo>
                        <a:cubicBezTo>
                          <a:pt x="35875" y="-7"/>
                          <a:pt x="22800" y="18775"/>
                          <a:pt x="1194" y="27073"/>
                        </a:cubicBezTo>
                        <a:cubicBezTo>
                          <a:pt x="-899" y="27713"/>
                          <a:pt x="-22" y="31053"/>
                          <a:pt x="2139" y="30519"/>
                        </a:cubicBezTo>
                        <a:cubicBezTo>
                          <a:pt x="13272" y="28052"/>
                          <a:pt x="24634" y="28024"/>
                          <a:pt x="35918" y="26736"/>
                        </a:cubicBezTo>
                        <a:cubicBezTo>
                          <a:pt x="47613" y="25814"/>
                          <a:pt x="58684" y="22110"/>
                          <a:pt x="70331" y="21285"/>
                        </a:cubicBezTo>
                        <a:cubicBezTo>
                          <a:pt x="72772" y="20560"/>
                          <a:pt x="78040" y="22659"/>
                          <a:pt x="78251" y="19261"/>
                        </a:cubicBezTo>
                        <a:cubicBezTo>
                          <a:pt x="78254" y="18327"/>
                          <a:pt x="78565" y="16129"/>
                          <a:pt x="79650" y="16186"/>
                        </a:cubicBezTo>
                        <a:cubicBezTo>
                          <a:pt x="82417" y="16583"/>
                          <a:pt x="85264" y="16026"/>
                          <a:pt x="87962" y="16186"/>
                        </a:cubicBezTo>
                        <a:cubicBezTo>
                          <a:pt x="89598" y="15934"/>
                          <a:pt x="97316" y="16288"/>
                          <a:pt x="98442" y="14424"/>
                        </a:cubicBezTo>
                        <a:cubicBezTo>
                          <a:pt x="100229" y="11697"/>
                          <a:pt x="98767" y="6694"/>
                          <a:pt x="98276" y="5227"/>
                        </a:cubicBezTo>
                        <a:close/>
                      </a:path>
                    </a:pathLst>
                  </a:custGeom>
                  <a:grpFill/>
                  <a:ln w="2826" cap="flat">
                    <a:noFill/>
                    <a:prstDash val="solid"/>
                    <a:miter/>
                  </a:ln>
                </p:spPr>
                <p:txBody>
                  <a:bodyPr rtlCol="0" anchor="ctr"/>
                  <a:lstStyle/>
                  <a:p>
                    <a:endParaRPr lang="fr-CA"/>
                  </a:p>
                </p:txBody>
              </p:sp>
              <p:sp>
                <p:nvSpPr>
                  <p:cNvPr id="1743" name="Forme libre : forme 1742">
                    <a:extLst>
                      <a:ext uri="{FF2B5EF4-FFF2-40B4-BE49-F238E27FC236}">
                        <a16:creationId xmlns:a16="http://schemas.microsoft.com/office/drawing/2014/main" id="{7D382189-25A8-627E-F7B8-8F501E4DA782}"/>
                      </a:ext>
                    </a:extLst>
                  </p:cNvPr>
                  <p:cNvSpPr/>
                  <p:nvPr/>
                </p:nvSpPr>
                <p:spPr>
                  <a:xfrm>
                    <a:off x="9749693" y="4363125"/>
                    <a:ext cx="84061" cy="231562"/>
                  </a:xfrm>
                  <a:custGeom>
                    <a:avLst/>
                    <a:gdLst>
                      <a:gd name="connsiteX0" fmla="*/ 84029 w 84061"/>
                      <a:gd name="connsiteY0" fmla="*/ 229370 h 231562"/>
                      <a:gd name="connsiteX1" fmla="*/ 36299 w 84061"/>
                      <a:gd name="connsiteY1" fmla="*/ 32528 h 231562"/>
                      <a:gd name="connsiteX2" fmla="*/ 11320 w 84061"/>
                      <a:gd name="connsiteY2" fmla="*/ 0 h 231562"/>
                      <a:gd name="connsiteX3" fmla="*/ 9224 w 84061"/>
                      <a:gd name="connsiteY3" fmla="*/ 10271 h 231562"/>
                      <a:gd name="connsiteX4" fmla="*/ 9650 w 84061"/>
                      <a:gd name="connsiteY4" fmla="*/ 16504 h 231562"/>
                      <a:gd name="connsiteX5" fmla="*/ 19349 w 84061"/>
                      <a:gd name="connsiteY5" fmla="*/ 28839 h 231562"/>
                      <a:gd name="connsiteX6" fmla="*/ 51581 w 84061"/>
                      <a:gd name="connsiteY6" fmla="*/ 145680 h 231562"/>
                      <a:gd name="connsiteX7" fmla="*/ 48306 w 84061"/>
                      <a:gd name="connsiteY7" fmla="*/ 146225 h 231562"/>
                      <a:gd name="connsiteX8" fmla="*/ 12876 w 84061"/>
                      <a:gd name="connsiteY8" fmla="*/ 142165 h 231562"/>
                      <a:gd name="connsiteX9" fmla="*/ 12702 w 84061"/>
                      <a:gd name="connsiteY9" fmla="*/ 132862 h 231562"/>
                      <a:gd name="connsiteX10" fmla="*/ 14290 w 84061"/>
                      <a:gd name="connsiteY10" fmla="*/ 128839 h 231562"/>
                      <a:gd name="connsiteX11" fmla="*/ 12868 w 84061"/>
                      <a:gd name="connsiteY11" fmla="*/ 124048 h 231562"/>
                      <a:gd name="connsiteX12" fmla="*/ 9890 w 84061"/>
                      <a:gd name="connsiteY12" fmla="*/ 117021 h 231562"/>
                      <a:gd name="connsiteX13" fmla="*/ 2788 w 84061"/>
                      <a:gd name="connsiteY13" fmla="*/ 110465 h 231562"/>
                      <a:gd name="connsiteX14" fmla="*/ 781 w 84061"/>
                      <a:gd name="connsiteY14" fmla="*/ 112141 h 231562"/>
                      <a:gd name="connsiteX15" fmla="*/ 7 w 84061"/>
                      <a:gd name="connsiteY15" fmla="*/ 130878 h 231562"/>
                      <a:gd name="connsiteX16" fmla="*/ 11212 w 84061"/>
                      <a:gd name="connsiteY16" fmla="*/ 155834 h 231562"/>
                      <a:gd name="connsiteX17" fmla="*/ 4367 w 84061"/>
                      <a:gd name="connsiteY17" fmla="*/ 168266 h 231562"/>
                      <a:gd name="connsiteX18" fmla="*/ 4270 w 84061"/>
                      <a:gd name="connsiteY18" fmla="*/ 199603 h 231562"/>
                      <a:gd name="connsiteX19" fmla="*/ 16837 w 84061"/>
                      <a:gd name="connsiteY19" fmla="*/ 218648 h 231562"/>
                      <a:gd name="connsiteX20" fmla="*/ 19744 w 84061"/>
                      <a:gd name="connsiteY20" fmla="*/ 216958 h 231562"/>
                      <a:gd name="connsiteX21" fmla="*/ 17282 w 84061"/>
                      <a:gd name="connsiteY21" fmla="*/ 190475 h 231562"/>
                      <a:gd name="connsiteX22" fmla="*/ 19409 w 84061"/>
                      <a:gd name="connsiteY22" fmla="*/ 159029 h 231562"/>
                      <a:gd name="connsiteX23" fmla="*/ 19361 w 84061"/>
                      <a:gd name="connsiteY23" fmla="*/ 158823 h 231562"/>
                      <a:gd name="connsiteX24" fmla="*/ 33386 w 84061"/>
                      <a:gd name="connsiteY24" fmla="*/ 160608 h 231562"/>
                      <a:gd name="connsiteX25" fmla="*/ 53380 w 84061"/>
                      <a:gd name="connsiteY25" fmla="*/ 163118 h 231562"/>
                      <a:gd name="connsiteX26" fmla="*/ 55510 w 84061"/>
                      <a:gd name="connsiteY26" fmla="*/ 163440 h 231562"/>
                      <a:gd name="connsiteX27" fmla="*/ 74469 w 84061"/>
                      <a:gd name="connsiteY27" fmla="*/ 231398 h 231562"/>
                      <a:gd name="connsiteX28" fmla="*/ 84029 w 84061"/>
                      <a:gd name="connsiteY28" fmla="*/ 229370 h 23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4061" h="231562">
                        <a:moveTo>
                          <a:pt x="84029" y="229370"/>
                        </a:moveTo>
                        <a:cubicBezTo>
                          <a:pt x="68013" y="163475"/>
                          <a:pt x="52828" y="98632"/>
                          <a:pt x="36299" y="32528"/>
                        </a:cubicBezTo>
                        <a:cubicBezTo>
                          <a:pt x="31862" y="14183"/>
                          <a:pt x="27639" y="7984"/>
                          <a:pt x="11320" y="0"/>
                        </a:cubicBezTo>
                        <a:cubicBezTo>
                          <a:pt x="9233" y="1436"/>
                          <a:pt x="9953" y="7627"/>
                          <a:pt x="9224" y="10271"/>
                        </a:cubicBezTo>
                        <a:cubicBezTo>
                          <a:pt x="9333" y="11867"/>
                          <a:pt x="7880" y="15610"/>
                          <a:pt x="9650" y="16504"/>
                        </a:cubicBezTo>
                        <a:cubicBezTo>
                          <a:pt x="13416" y="18631"/>
                          <a:pt x="16680" y="22783"/>
                          <a:pt x="19349" y="28839"/>
                        </a:cubicBezTo>
                        <a:cubicBezTo>
                          <a:pt x="34820" y="66261"/>
                          <a:pt x="42995" y="106210"/>
                          <a:pt x="51581" y="145680"/>
                        </a:cubicBezTo>
                        <a:cubicBezTo>
                          <a:pt x="50456" y="145806"/>
                          <a:pt x="48046" y="145249"/>
                          <a:pt x="48306" y="146225"/>
                        </a:cubicBezTo>
                        <a:cubicBezTo>
                          <a:pt x="40959" y="145092"/>
                          <a:pt x="19838" y="144769"/>
                          <a:pt x="12876" y="142165"/>
                        </a:cubicBezTo>
                        <a:cubicBezTo>
                          <a:pt x="12816" y="139116"/>
                          <a:pt x="12388" y="135809"/>
                          <a:pt x="12702" y="132862"/>
                        </a:cubicBezTo>
                        <a:cubicBezTo>
                          <a:pt x="12814" y="131986"/>
                          <a:pt x="14550" y="130592"/>
                          <a:pt x="14290" y="128839"/>
                        </a:cubicBezTo>
                        <a:cubicBezTo>
                          <a:pt x="13833" y="127263"/>
                          <a:pt x="14681" y="124850"/>
                          <a:pt x="12868" y="124048"/>
                        </a:cubicBezTo>
                        <a:cubicBezTo>
                          <a:pt x="11055" y="123243"/>
                          <a:pt x="10681" y="119065"/>
                          <a:pt x="9890" y="117021"/>
                        </a:cubicBezTo>
                        <a:cubicBezTo>
                          <a:pt x="9236" y="111944"/>
                          <a:pt x="5938" y="110856"/>
                          <a:pt x="2788" y="110465"/>
                        </a:cubicBezTo>
                        <a:cubicBezTo>
                          <a:pt x="1792" y="110322"/>
                          <a:pt x="818" y="111133"/>
                          <a:pt x="781" y="112141"/>
                        </a:cubicBezTo>
                        <a:cubicBezTo>
                          <a:pt x="861" y="116573"/>
                          <a:pt x="-93" y="122283"/>
                          <a:pt x="7" y="130878"/>
                        </a:cubicBezTo>
                        <a:cubicBezTo>
                          <a:pt x="167" y="144398"/>
                          <a:pt x="14047" y="145412"/>
                          <a:pt x="11212" y="155834"/>
                        </a:cubicBezTo>
                        <a:cubicBezTo>
                          <a:pt x="11155" y="156053"/>
                          <a:pt x="6906" y="165373"/>
                          <a:pt x="4367" y="168266"/>
                        </a:cubicBezTo>
                        <a:cubicBezTo>
                          <a:pt x="2583" y="178519"/>
                          <a:pt x="4019" y="189236"/>
                          <a:pt x="4270" y="199603"/>
                        </a:cubicBezTo>
                        <a:cubicBezTo>
                          <a:pt x="4330" y="207227"/>
                          <a:pt x="10632" y="212826"/>
                          <a:pt x="16837" y="218648"/>
                        </a:cubicBezTo>
                        <a:cubicBezTo>
                          <a:pt x="18050" y="219722"/>
                          <a:pt x="20086" y="218549"/>
                          <a:pt x="19744" y="216958"/>
                        </a:cubicBezTo>
                        <a:cubicBezTo>
                          <a:pt x="17899" y="206736"/>
                          <a:pt x="17117" y="198321"/>
                          <a:pt x="17282" y="190475"/>
                        </a:cubicBezTo>
                        <a:cubicBezTo>
                          <a:pt x="17485" y="180478"/>
                          <a:pt x="19535" y="169097"/>
                          <a:pt x="19409" y="159029"/>
                        </a:cubicBezTo>
                        <a:cubicBezTo>
                          <a:pt x="19398" y="158957"/>
                          <a:pt x="19375" y="158892"/>
                          <a:pt x="19361" y="158823"/>
                        </a:cubicBezTo>
                        <a:cubicBezTo>
                          <a:pt x="24058" y="159406"/>
                          <a:pt x="28775" y="160011"/>
                          <a:pt x="33386" y="160608"/>
                        </a:cubicBezTo>
                        <a:cubicBezTo>
                          <a:pt x="39937" y="161456"/>
                          <a:pt x="46709" y="162330"/>
                          <a:pt x="53380" y="163118"/>
                        </a:cubicBezTo>
                        <a:cubicBezTo>
                          <a:pt x="53577" y="163140"/>
                          <a:pt x="54445" y="163283"/>
                          <a:pt x="55510" y="163440"/>
                        </a:cubicBezTo>
                        <a:cubicBezTo>
                          <a:pt x="60755" y="186626"/>
                          <a:pt x="66546" y="209483"/>
                          <a:pt x="74469" y="231398"/>
                        </a:cubicBezTo>
                        <a:cubicBezTo>
                          <a:pt x="77296" y="230515"/>
                          <a:pt x="84614" y="233348"/>
                          <a:pt x="84029" y="229370"/>
                        </a:cubicBezTo>
                        <a:close/>
                      </a:path>
                    </a:pathLst>
                  </a:custGeom>
                  <a:grpFill/>
                  <a:ln w="2826" cap="flat">
                    <a:noFill/>
                    <a:prstDash val="solid"/>
                    <a:miter/>
                  </a:ln>
                </p:spPr>
                <p:txBody>
                  <a:bodyPr rtlCol="0" anchor="ctr"/>
                  <a:lstStyle/>
                  <a:p>
                    <a:endParaRPr lang="fr-CA"/>
                  </a:p>
                </p:txBody>
              </p:sp>
              <p:sp>
                <p:nvSpPr>
                  <p:cNvPr id="1744" name="Forme libre : forme 1743">
                    <a:extLst>
                      <a:ext uri="{FF2B5EF4-FFF2-40B4-BE49-F238E27FC236}">
                        <a16:creationId xmlns:a16="http://schemas.microsoft.com/office/drawing/2014/main" id="{5E5295F8-4683-05DE-918D-58C14B042FB3}"/>
                      </a:ext>
                    </a:extLst>
                  </p:cNvPr>
                  <p:cNvSpPr/>
                  <p:nvPr/>
                </p:nvSpPr>
                <p:spPr>
                  <a:xfrm>
                    <a:off x="9713775" y="4233475"/>
                    <a:ext cx="18362" cy="41447"/>
                  </a:xfrm>
                  <a:custGeom>
                    <a:avLst/>
                    <a:gdLst>
                      <a:gd name="connsiteX0" fmla="*/ 16512 w 18362"/>
                      <a:gd name="connsiteY0" fmla="*/ 11873 h 41447"/>
                      <a:gd name="connsiteX1" fmla="*/ 2024 w 18362"/>
                      <a:gd name="connsiteY1" fmla="*/ 0 h 41447"/>
                      <a:gd name="connsiteX2" fmla="*/ 727 w 18362"/>
                      <a:gd name="connsiteY2" fmla="*/ 7201 h 41447"/>
                      <a:gd name="connsiteX3" fmla="*/ 2855 w 18362"/>
                      <a:gd name="connsiteY3" fmla="*/ 17772 h 41447"/>
                      <a:gd name="connsiteX4" fmla="*/ 5316 w 18362"/>
                      <a:gd name="connsiteY4" fmla="*/ 30749 h 41447"/>
                      <a:gd name="connsiteX5" fmla="*/ 6752 w 18362"/>
                      <a:gd name="connsiteY5" fmla="*/ 36035 h 41447"/>
                      <a:gd name="connsiteX6" fmla="*/ 15578 w 18362"/>
                      <a:gd name="connsiteY6" fmla="*/ 41146 h 41447"/>
                      <a:gd name="connsiteX7" fmla="*/ 18359 w 18362"/>
                      <a:gd name="connsiteY7" fmla="*/ 39598 h 41447"/>
                      <a:gd name="connsiteX8" fmla="*/ 16512 w 18362"/>
                      <a:gd name="connsiteY8" fmla="*/ 11873 h 4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2" h="41447">
                        <a:moveTo>
                          <a:pt x="16512" y="11873"/>
                        </a:moveTo>
                        <a:cubicBezTo>
                          <a:pt x="15335" y="-2296"/>
                          <a:pt x="15832" y="2927"/>
                          <a:pt x="2024" y="0"/>
                        </a:cubicBezTo>
                        <a:cubicBezTo>
                          <a:pt x="-1697" y="69"/>
                          <a:pt x="882" y="4977"/>
                          <a:pt x="727" y="7201"/>
                        </a:cubicBezTo>
                        <a:cubicBezTo>
                          <a:pt x="1159" y="10699"/>
                          <a:pt x="1601" y="14314"/>
                          <a:pt x="2855" y="17772"/>
                        </a:cubicBezTo>
                        <a:cubicBezTo>
                          <a:pt x="4308" y="21789"/>
                          <a:pt x="4819" y="26343"/>
                          <a:pt x="5316" y="30749"/>
                        </a:cubicBezTo>
                        <a:cubicBezTo>
                          <a:pt x="5759" y="32437"/>
                          <a:pt x="5102" y="34964"/>
                          <a:pt x="6752" y="36035"/>
                        </a:cubicBezTo>
                        <a:cubicBezTo>
                          <a:pt x="9856" y="37591"/>
                          <a:pt x="12826" y="39312"/>
                          <a:pt x="15578" y="41146"/>
                        </a:cubicBezTo>
                        <a:cubicBezTo>
                          <a:pt x="16726" y="41962"/>
                          <a:pt x="18451" y="41011"/>
                          <a:pt x="18359" y="39598"/>
                        </a:cubicBezTo>
                        <a:cubicBezTo>
                          <a:pt x="18065" y="30458"/>
                          <a:pt x="17460" y="21389"/>
                          <a:pt x="16512" y="11873"/>
                        </a:cubicBezTo>
                        <a:close/>
                      </a:path>
                    </a:pathLst>
                  </a:custGeom>
                  <a:grpFill/>
                  <a:ln w="2826" cap="flat">
                    <a:noFill/>
                    <a:prstDash val="solid"/>
                    <a:miter/>
                  </a:ln>
                </p:spPr>
                <p:txBody>
                  <a:bodyPr rtlCol="0" anchor="ctr"/>
                  <a:lstStyle/>
                  <a:p>
                    <a:endParaRPr lang="fr-CA"/>
                  </a:p>
                </p:txBody>
              </p:sp>
              <p:sp>
                <p:nvSpPr>
                  <p:cNvPr id="1745" name="Forme libre : forme 1744">
                    <a:extLst>
                      <a:ext uri="{FF2B5EF4-FFF2-40B4-BE49-F238E27FC236}">
                        <a16:creationId xmlns:a16="http://schemas.microsoft.com/office/drawing/2014/main" id="{17F36B5E-B19E-5AC8-7C38-07EB49414F41}"/>
                      </a:ext>
                    </a:extLst>
                  </p:cNvPr>
                  <p:cNvSpPr/>
                  <p:nvPr/>
                </p:nvSpPr>
                <p:spPr>
                  <a:xfrm>
                    <a:off x="9589387" y="4334887"/>
                    <a:ext cx="49997" cy="28265"/>
                  </a:xfrm>
                  <a:custGeom>
                    <a:avLst/>
                    <a:gdLst>
                      <a:gd name="connsiteX0" fmla="*/ 49053 w 49997"/>
                      <a:gd name="connsiteY0" fmla="*/ 18810 h 28265"/>
                      <a:gd name="connsiteX1" fmla="*/ 23537 w 49997"/>
                      <a:gd name="connsiteY1" fmla="*/ 4944 h 28265"/>
                      <a:gd name="connsiteX2" fmla="*/ 6359 w 49997"/>
                      <a:gd name="connsiteY2" fmla="*/ 279 h 28265"/>
                      <a:gd name="connsiteX3" fmla="*/ 0 w 49997"/>
                      <a:gd name="connsiteY3" fmla="*/ 2480 h 28265"/>
                      <a:gd name="connsiteX4" fmla="*/ 2008 w 49997"/>
                      <a:gd name="connsiteY4" fmla="*/ 26562 h 28265"/>
                      <a:gd name="connsiteX5" fmla="*/ 4406 w 49997"/>
                      <a:gd name="connsiteY5" fmla="*/ 28153 h 28265"/>
                      <a:gd name="connsiteX6" fmla="*/ 48153 w 49997"/>
                      <a:gd name="connsiteY6" fmla="*/ 22188 h 28265"/>
                      <a:gd name="connsiteX7" fmla="*/ 49053 w 49997"/>
                      <a:gd name="connsiteY7" fmla="*/ 18810 h 2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7" h="28265">
                        <a:moveTo>
                          <a:pt x="49053" y="18810"/>
                        </a:moveTo>
                        <a:cubicBezTo>
                          <a:pt x="41720" y="15612"/>
                          <a:pt x="32317" y="6855"/>
                          <a:pt x="23537" y="4944"/>
                        </a:cubicBezTo>
                        <a:cubicBezTo>
                          <a:pt x="21478" y="4496"/>
                          <a:pt x="8589" y="1232"/>
                          <a:pt x="6359" y="279"/>
                        </a:cubicBezTo>
                        <a:cubicBezTo>
                          <a:pt x="4483" y="7"/>
                          <a:pt x="-54" y="-766"/>
                          <a:pt x="0" y="2480"/>
                        </a:cubicBezTo>
                        <a:cubicBezTo>
                          <a:pt x="509" y="4508"/>
                          <a:pt x="1982" y="19467"/>
                          <a:pt x="2008" y="26562"/>
                        </a:cubicBezTo>
                        <a:cubicBezTo>
                          <a:pt x="2039" y="27727"/>
                          <a:pt x="3324" y="28581"/>
                          <a:pt x="4406" y="28153"/>
                        </a:cubicBezTo>
                        <a:cubicBezTo>
                          <a:pt x="17138" y="23518"/>
                          <a:pt x="31855" y="21511"/>
                          <a:pt x="48153" y="22188"/>
                        </a:cubicBezTo>
                        <a:cubicBezTo>
                          <a:pt x="49992" y="22325"/>
                          <a:pt x="50746" y="19615"/>
                          <a:pt x="49053" y="18810"/>
                        </a:cubicBezTo>
                        <a:close/>
                      </a:path>
                    </a:pathLst>
                  </a:custGeom>
                  <a:grpFill/>
                  <a:ln w="2826" cap="flat">
                    <a:noFill/>
                    <a:prstDash val="solid"/>
                    <a:miter/>
                  </a:ln>
                </p:spPr>
                <p:txBody>
                  <a:bodyPr rtlCol="0" anchor="ctr"/>
                  <a:lstStyle/>
                  <a:p>
                    <a:endParaRPr lang="fr-CA"/>
                  </a:p>
                </p:txBody>
              </p:sp>
              <p:sp>
                <p:nvSpPr>
                  <p:cNvPr id="1746" name="Forme libre : forme 1745">
                    <a:extLst>
                      <a:ext uri="{FF2B5EF4-FFF2-40B4-BE49-F238E27FC236}">
                        <a16:creationId xmlns:a16="http://schemas.microsoft.com/office/drawing/2014/main" id="{1BF9C32E-2759-CF8B-6FE4-98F9C4EA88B4}"/>
                      </a:ext>
                    </a:extLst>
                  </p:cNvPr>
                  <p:cNvSpPr/>
                  <p:nvPr/>
                </p:nvSpPr>
                <p:spPr>
                  <a:xfrm>
                    <a:off x="9353480" y="4249836"/>
                    <a:ext cx="277241" cy="422047"/>
                  </a:xfrm>
                  <a:custGeom>
                    <a:avLst/>
                    <a:gdLst>
                      <a:gd name="connsiteX0" fmla="*/ 276781 w 277241"/>
                      <a:gd name="connsiteY0" fmla="*/ 380062 h 422047"/>
                      <a:gd name="connsiteX1" fmla="*/ 270220 w 277241"/>
                      <a:gd name="connsiteY1" fmla="*/ 376233 h 422047"/>
                      <a:gd name="connsiteX2" fmla="*/ 252916 w 277241"/>
                      <a:gd name="connsiteY2" fmla="*/ 375939 h 422047"/>
                      <a:gd name="connsiteX3" fmla="*/ 248945 w 277241"/>
                      <a:gd name="connsiteY3" fmla="*/ 374482 h 422047"/>
                      <a:gd name="connsiteX4" fmla="*/ 216291 w 277241"/>
                      <a:gd name="connsiteY4" fmla="*/ 379245 h 422047"/>
                      <a:gd name="connsiteX5" fmla="*/ 212713 w 277241"/>
                      <a:gd name="connsiteY5" fmla="*/ 378817 h 422047"/>
                      <a:gd name="connsiteX6" fmla="*/ 175822 w 277241"/>
                      <a:gd name="connsiteY6" fmla="*/ 189350 h 422047"/>
                      <a:gd name="connsiteX7" fmla="*/ 126304 w 277241"/>
                      <a:gd name="connsiteY7" fmla="*/ 148199 h 422047"/>
                      <a:gd name="connsiteX8" fmla="*/ 125542 w 277241"/>
                      <a:gd name="connsiteY8" fmla="*/ 130373 h 422047"/>
                      <a:gd name="connsiteX9" fmla="*/ 141629 w 277241"/>
                      <a:gd name="connsiteY9" fmla="*/ 126672 h 422047"/>
                      <a:gd name="connsiteX10" fmla="*/ 141860 w 277241"/>
                      <a:gd name="connsiteY10" fmla="*/ 123800 h 422047"/>
                      <a:gd name="connsiteX11" fmla="*/ 140650 w 277241"/>
                      <a:gd name="connsiteY11" fmla="*/ 119220 h 422047"/>
                      <a:gd name="connsiteX12" fmla="*/ 130619 w 277241"/>
                      <a:gd name="connsiteY12" fmla="*/ 112076 h 422047"/>
                      <a:gd name="connsiteX13" fmla="*/ 124840 w 277241"/>
                      <a:gd name="connsiteY13" fmla="*/ 110742 h 422047"/>
                      <a:gd name="connsiteX14" fmla="*/ 123960 w 277241"/>
                      <a:gd name="connsiteY14" fmla="*/ 2479 h 422047"/>
                      <a:gd name="connsiteX15" fmla="*/ 122173 w 277241"/>
                      <a:gd name="connsiteY15" fmla="*/ 440 h 422047"/>
                      <a:gd name="connsiteX16" fmla="*/ 110334 w 277241"/>
                      <a:gd name="connsiteY16" fmla="*/ 12 h 422047"/>
                      <a:gd name="connsiteX17" fmla="*/ 108364 w 277241"/>
                      <a:gd name="connsiteY17" fmla="*/ 1833 h 422047"/>
                      <a:gd name="connsiteX18" fmla="*/ 108250 w 277241"/>
                      <a:gd name="connsiteY18" fmla="*/ 83676 h 422047"/>
                      <a:gd name="connsiteX19" fmla="*/ 106031 w 277241"/>
                      <a:gd name="connsiteY19" fmla="*/ 118120 h 422047"/>
                      <a:gd name="connsiteX20" fmla="*/ 12268 w 277241"/>
                      <a:gd name="connsiteY20" fmla="*/ 103370 h 422047"/>
                      <a:gd name="connsiteX21" fmla="*/ 11991 w 277241"/>
                      <a:gd name="connsiteY21" fmla="*/ 105183 h 422047"/>
                      <a:gd name="connsiteX22" fmla="*/ 20879 w 277241"/>
                      <a:gd name="connsiteY22" fmla="*/ 128377 h 422047"/>
                      <a:gd name="connsiteX23" fmla="*/ 26447 w 277241"/>
                      <a:gd name="connsiteY23" fmla="*/ 150849 h 422047"/>
                      <a:gd name="connsiteX24" fmla="*/ 27981 w 277241"/>
                      <a:gd name="connsiteY24" fmla="*/ 152216 h 422047"/>
                      <a:gd name="connsiteX25" fmla="*/ 83417 w 277241"/>
                      <a:gd name="connsiteY25" fmla="*/ 157807 h 422047"/>
                      <a:gd name="connsiteX26" fmla="*/ 88742 w 277241"/>
                      <a:gd name="connsiteY26" fmla="*/ 158841 h 422047"/>
                      <a:gd name="connsiteX27" fmla="*/ 109158 w 277241"/>
                      <a:gd name="connsiteY27" fmla="*/ 159871 h 422047"/>
                      <a:gd name="connsiteX28" fmla="*/ 113007 w 277241"/>
                      <a:gd name="connsiteY28" fmla="*/ 282286 h 422047"/>
                      <a:gd name="connsiteX29" fmla="*/ 97523 w 277241"/>
                      <a:gd name="connsiteY29" fmla="*/ 286086 h 422047"/>
                      <a:gd name="connsiteX30" fmla="*/ 92429 w 277241"/>
                      <a:gd name="connsiteY30" fmla="*/ 294370 h 422047"/>
                      <a:gd name="connsiteX31" fmla="*/ 52588 w 277241"/>
                      <a:gd name="connsiteY31" fmla="*/ 321199 h 422047"/>
                      <a:gd name="connsiteX32" fmla="*/ 41692 w 277241"/>
                      <a:gd name="connsiteY32" fmla="*/ 343962 h 422047"/>
                      <a:gd name="connsiteX33" fmla="*/ 25591 w 277241"/>
                      <a:gd name="connsiteY33" fmla="*/ 345883 h 422047"/>
                      <a:gd name="connsiteX34" fmla="*/ 244 w 277241"/>
                      <a:gd name="connsiteY34" fmla="*/ 359734 h 422047"/>
                      <a:gd name="connsiteX35" fmla="*/ 1546 w 277241"/>
                      <a:gd name="connsiteY35" fmla="*/ 362410 h 422047"/>
                      <a:gd name="connsiteX36" fmla="*/ 16391 w 277241"/>
                      <a:gd name="connsiteY36" fmla="*/ 364908 h 422047"/>
                      <a:gd name="connsiteX37" fmla="*/ 44627 w 277241"/>
                      <a:gd name="connsiteY37" fmla="*/ 366310 h 422047"/>
                      <a:gd name="connsiteX38" fmla="*/ 54472 w 277241"/>
                      <a:gd name="connsiteY38" fmla="*/ 358838 h 422047"/>
                      <a:gd name="connsiteX39" fmla="*/ 64775 w 277241"/>
                      <a:gd name="connsiteY39" fmla="*/ 332118 h 422047"/>
                      <a:gd name="connsiteX40" fmla="*/ 91501 w 277241"/>
                      <a:gd name="connsiteY40" fmla="*/ 310557 h 422047"/>
                      <a:gd name="connsiteX41" fmla="*/ 93448 w 277241"/>
                      <a:gd name="connsiteY41" fmla="*/ 309812 h 422047"/>
                      <a:gd name="connsiteX42" fmla="*/ 94010 w 277241"/>
                      <a:gd name="connsiteY42" fmla="*/ 318900 h 422047"/>
                      <a:gd name="connsiteX43" fmla="*/ 98174 w 277241"/>
                      <a:gd name="connsiteY43" fmla="*/ 325596 h 422047"/>
                      <a:gd name="connsiteX44" fmla="*/ 93614 w 277241"/>
                      <a:gd name="connsiteY44" fmla="*/ 337154 h 422047"/>
                      <a:gd name="connsiteX45" fmla="*/ 61140 w 277241"/>
                      <a:gd name="connsiteY45" fmla="*/ 415939 h 422047"/>
                      <a:gd name="connsiteX46" fmla="*/ 72207 w 277241"/>
                      <a:gd name="connsiteY46" fmla="*/ 417687 h 422047"/>
                      <a:gd name="connsiteX47" fmla="*/ 83863 w 277241"/>
                      <a:gd name="connsiteY47" fmla="*/ 415865 h 422047"/>
                      <a:gd name="connsiteX48" fmla="*/ 113889 w 277241"/>
                      <a:gd name="connsiteY48" fmla="*/ 342474 h 422047"/>
                      <a:gd name="connsiteX49" fmla="*/ 118389 w 277241"/>
                      <a:gd name="connsiteY49" fmla="*/ 316482 h 422047"/>
                      <a:gd name="connsiteX50" fmla="*/ 188317 w 277241"/>
                      <a:gd name="connsiteY50" fmla="*/ 332306 h 422047"/>
                      <a:gd name="connsiteX51" fmla="*/ 192223 w 277241"/>
                      <a:gd name="connsiteY51" fmla="*/ 332751 h 422047"/>
                      <a:gd name="connsiteX52" fmla="*/ 206648 w 277241"/>
                      <a:gd name="connsiteY52" fmla="*/ 413486 h 422047"/>
                      <a:gd name="connsiteX53" fmla="*/ 209718 w 277241"/>
                      <a:gd name="connsiteY53" fmla="*/ 414554 h 422047"/>
                      <a:gd name="connsiteX54" fmla="*/ 215548 w 277241"/>
                      <a:gd name="connsiteY54" fmla="*/ 421764 h 422047"/>
                      <a:gd name="connsiteX55" fmla="*/ 216788 w 277241"/>
                      <a:gd name="connsiteY55" fmla="*/ 414003 h 422047"/>
                      <a:gd name="connsiteX56" fmla="*/ 218198 w 277241"/>
                      <a:gd name="connsiteY56" fmla="*/ 409872 h 422047"/>
                      <a:gd name="connsiteX57" fmla="*/ 220851 w 277241"/>
                      <a:gd name="connsiteY57" fmla="*/ 408407 h 422047"/>
                      <a:gd name="connsiteX58" fmla="*/ 231016 w 277241"/>
                      <a:gd name="connsiteY58" fmla="*/ 407262 h 422047"/>
                      <a:gd name="connsiteX59" fmla="*/ 249427 w 277241"/>
                      <a:gd name="connsiteY59" fmla="*/ 403221 h 422047"/>
                      <a:gd name="connsiteX60" fmla="*/ 259130 w 277241"/>
                      <a:gd name="connsiteY60" fmla="*/ 400175 h 422047"/>
                      <a:gd name="connsiteX61" fmla="*/ 260366 w 277241"/>
                      <a:gd name="connsiteY61" fmla="*/ 398050 h 422047"/>
                      <a:gd name="connsiteX62" fmla="*/ 259032 w 277241"/>
                      <a:gd name="connsiteY62" fmla="*/ 391723 h 422047"/>
                      <a:gd name="connsiteX63" fmla="*/ 271396 w 277241"/>
                      <a:gd name="connsiteY63" fmla="*/ 388913 h 422047"/>
                      <a:gd name="connsiteX64" fmla="*/ 276781 w 277241"/>
                      <a:gd name="connsiteY64" fmla="*/ 380062 h 422047"/>
                      <a:gd name="connsiteX65" fmla="*/ 109803 w 277241"/>
                      <a:gd name="connsiteY65" fmla="*/ 145566 h 422047"/>
                      <a:gd name="connsiteX66" fmla="*/ 106657 w 277241"/>
                      <a:gd name="connsiteY66" fmla="*/ 146137 h 422047"/>
                      <a:gd name="connsiteX67" fmla="*/ 90735 w 277241"/>
                      <a:gd name="connsiteY67" fmla="*/ 144521 h 422047"/>
                      <a:gd name="connsiteX68" fmla="*/ 87831 w 277241"/>
                      <a:gd name="connsiteY68" fmla="*/ 145475 h 422047"/>
                      <a:gd name="connsiteX69" fmla="*/ 84611 w 277241"/>
                      <a:gd name="connsiteY69" fmla="*/ 136260 h 422047"/>
                      <a:gd name="connsiteX70" fmla="*/ 97577 w 277241"/>
                      <a:gd name="connsiteY70" fmla="*/ 137431 h 422047"/>
                      <a:gd name="connsiteX71" fmla="*/ 109484 w 277241"/>
                      <a:gd name="connsiteY71" fmla="*/ 139487 h 422047"/>
                      <a:gd name="connsiteX72" fmla="*/ 109803 w 277241"/>
                      <a:gd name="connsiteY72" fmla="*/ 145566 h 422047"/>
                      <a:gd name="connsiteX73" fmla="*/ 185856 w 277241"/>
                      <a:gd name="connsiteY73" fmla="*/ 312813 h 422047"/>
                      <a:gd name="connsiteX74" fmla="*/ 134328 w 277241"/>
                      <a:gd name="connsiteY74" fmla="*/ 303116 h 422047"/>
                      <a:gd name="connsiteX75" fmla="*/ 131030 w 277241"/>
                      <a:gd name="connsiteY75" fmla="*/ 302927 h 422047"/>
                      <a:gd name="connsiteX76" fmla="*/ 127115 w 277241"/>
                      <a:gd name="connsiteY76" fmla="*/ 162164 h 422047"/>
                      <a:gd name="connsiteX77" fmla="*/ 127107 w 277241"/>
                      <a:gd name="connsiteY77" fmla="*/ 162147 h 422047"/>
                      <a:gd name="connsiteX78" fmla="*/ 127584 w 277241"/>
                      <a:gd name="connsiteY78" fmla="*/ 161950 h 422047"/>
                      <a:gd name="connsiteX79" fmla="*/ 175051 w 277241"/>
                      <a:gd name="connsiteY79" fmla="*/ 244750 h 422047"/>
                      <a:gd name="connsiteX80" fmla="*/ 186038 w 277241"/>
                      <a:gd name="connsiteY80" fmla="*/ 300923 h 422047"/>
                      <a:gd name="connsiteX81" fmla="*/ 188448 w 277241"/>
                      <a:gd name="connsiteY81" fmla="*/ 313278 h 422047"/>
                      <a:gd name="connsiteX82" fmla="*/ 185856 w 277241"/>
                      <a:gd name="connsiteY82" fmla="*/ 312813 h 42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77241" h="422047">
                        <a:moveTo>
                          <a:pt x="276781" y="380062"/>
                        </a:moveTo>
                        <a:cubicBezTo>
                          <a:pt x="275768" y="375976"/>
                          <a:pt x="272024" y="376150"/>
                          <a:pt x="270220" y="376233"/>
                        </a:cubicBezTo>
                        <a:cubicBezTo>
                          <a:pt x="269963" y="376244"/>
                          <a:pt x="258453" y="376541"/>
                          <a:pt x="252916" y="375939"/>
                        </a:cubicBezTo>
                        <a:cubicBezTo>
                          <a:pt x="252282" y="375927"/>
                          <a:pt x="250081" y="374231"/>
                          <a:pt x="248945" y="374482"/>
                        </a:cubicBezTo>
                        <a:cubicBezTo>
                          <a:pt x="228346" y="379194"/>
                          <a:pt x="219517" y="378012"/>
                          <a:pt x="216291" y="379245"/>
                        </a:cubicBezTo>
                        <a:cubicBezTo>
                          <a:pt x="213176" y="380436"/>
                          <a:pt x="212773" y="379165"/>
                          <a:pt x="212713" y="378817"/>
                        </a:cubicBezTo>
                        <a:cubicBezTo>
                          <a:pt x="201340" y="314103"/>
                          <a:pt x="188965" y="250517"/>
                          <a:pt x="175822" y="189350"/>
                        </a:cubicBezTo>
                        <a:cubicBezTo>
                          <a:pt x="170771" y="165753"/>
                          <a:pt x="152422" y="148144"/>
                          <a:pt x="126304" y="148199"/>
                        </a:cubicBezTo>
                        <a:cubicBezTo>
                          <a:pt x="126030" y="142245"/>
                          <a:pt x="125776" y="136303"/>
                          <a:pt x="125542" y="130373"/>
                        </a:cubicBezTo>
                        <a:cubicBezTo>
                          <a:pt x="128409" y="130004"/>
                          <a:pt x="141306" y="127049"/>
                          <a:pt x="141629" y="126672"/>
                        </a:cubicBezTo>
                        <a:cubicBezTo>
                          <a:pt x="142354" y="125867"/>
                          <a:pt x="141943" y="124756"/>
                          <a:pt x="141860" y="123800"/>
                        </a:cubicBezTo>
                        <a:cubicBezTo>
                          <a:pt x="141409" y="122232"/>
                          <a:pt x="142132" y="120205"/>
                          <a:pt x="140650" y="119220"/>
                        </a:cubicBezTo>
                        <a:cubicBezTo>
                          <a:pt x="136921" y="117227"/>
                          <a:pt x="134368" y="113940"/>
                          <a:pt x="130619" y="112076"/>
                        </a:cubicBezTo>
                        <a:cubicBezTo>
                          <a:pt x="128711" y="111042"/>
                          <a:pt x="126324" y="111122"/>
                          <a:pt x="124840" y="110742"/>
                        </a:cubicBezTo>
                        <a:cubicBezTo>
                          <a:pt x="123689" y="74702"/>
                          <a:pt x="123332" y="38882"/>
                          <a:pt x="123960" y="2479"/>
                        </a:cubicBezTo>
                        <a:cubicBezTo>
                          <a:pt x="124134" y="1437"/>
                          <a:pt x="123235" y="403"/>
                          <a:pt x="122173" y="440"/>
                        </a:cubicBezTo>
                        <a:cubicBezTo>
                          <a:pt x="118701" y="471"/>
                          <a:pt x="114578" y="443"/>
                          <a:pt x="110334" y="12"/>
                        </a:cubicBezTo>
                        <a:cubicBezTo>
                          <a:pt x="109295" y="-114"/>
                          <a:pt x="108316" y="786"/>
                          <a:pt x="108364" y="1833"/>
                        </a:cubicBezTo>
                        <a:cubicBezTo>
                          <a:pt x="109110" y="29813"/>
                          <a:pt x="108170" y="56656"/>
                          <a:pt x="108250" y="83676"/>
                        </a:cubicBezTo>
                        <a:cubicBezTo>
                          <a:pt x="107725" y="94995"/>
                          <a:pt x="110229" y="107536"/>
                          <a:pt x="106031" y="118120"/>
                        </a:cubicBezTo>
                        <a:cubicBezTo>
                          <a:pt x="74823" y="112744"/>
                          <a:pt x="43137" y="106822"/>
                          <a:pt x="12268" y="103370"/>
                        </a:cubicBezTo>
                        <a:cubicBezTo>
                          <a:pt x="11848" y="103878"/>
                          <a:pt x="11742" y="104575"/>
                          <a:pt x="11991" y="105183"/>
                        </a:cubicBezTo>
                        <a:cubicBezTo>
                          <a:pt x="15488" y="112507"/>
                          <a:pt x="17105" y="121298"/>
                          <a:pt x="20879" y="128377"/>
                        </a:cubicBezTo>
                        <a:cubicBezTo>
                          <a:pt x="21619" y="135678"/>
                          <a:pt x="25122" y="143159"/>
                          <a:pt x="26447" y="150849"/>
                        </a:cubicBezTo>
                        <a:cubicBezTo>
                          <a:pt x="26621" y="151582"/>
                          <a:pt x="27232" y="152128"/>
                          <a:pt x="27981" y="152216"/>
                        </a:cubicBezTo>
                        <a:cubicBezTo>
                          <a:pt x="46549" y="154398"/>
                          <a:pt x="64863" y="155523"/>
                          <a:pt x="83417" y="157807"/>
                        </a:cubicBezTo>
                        <a:cubicBezTo>
                          <a:pt x="84337" y="157941"/>
                          <a:pt x="87223" y="159012"/>
                          <a:pt x="88742" y="158841"/>
                        </a:cubicBezTo>
                        <a:cubicBezTo>
                          <a:pt x="95267" y="157798"/>
                          <a:pt x="102402" y="158715"/>
                          <a:pt x="109158" y="159871"/>
                        </a:cubicBezTo>
                        <a:cubicBezTo>
                          <a:pt x="112130" y="200563"/>
                          <a:pt x="112239" y="241243"/>
                          <a:pt x="113007" y="282286"/>
                        </a:cubicBezTo>
                        <a:cubicBezTo>
                          <a:pt x="113007" y="282849"/>
                          <a:pt x="107559" y="279396"/>
                          <a:pt x="97523" y="286086"/>
                        </a:cubicBezTo>
                        <a:cubicBezTo>
                          <a:pt x="92040" y="289390"/>
                          <a:pt x="92797" y="287925"/>
                          <a:pt x="92429" y="294370"/>
                        </a:cubicBezTo>
                        <a:cubicBezTo>
                          <a:pt x="70008" y="281823"/>
                          <a:pt x="58284" y="300540"/>
                          <a:pt x="52588" y="321199"/>
                        </a:cubicBezTo>
                        <a:cubicBezTo>
                          <a:pt x="49855" y="329648"/>
                          <a:pt x="47274" y="337628"/>
                          <a:pt x="41692" y="343962"/>
                        </a:cubicBezTo>
                        <a:cubicBezTo>
                          <a:pt x="37629" y="348233"/>
                          <a:pt x="30987" y="346600"/>
                          <a:pt x="25591" y="345883"/>
                        </a:cubicBezTo>
                        <a:cubicBezTo>
                          <a:pt x="3322" y="343342"/>
                          <a:pt x="14560" y="337437"/>
                          <a:pt x="244" y="359734"/>
                        </a:cubicBezTo>
                        <a:cubicBezTo>
                          <a:pt x="-404" y="360782"/>
                          <a:pt x="312" y="362281"/>
                          <a:pt x="1546" y="362410"/>
                        </a:cubicBezTo>
                        <a:cubicBezTo>
                          <a:pt x="6503" y="363084"/>
                          <a:pt x="11528" y="364012"/>
                          <a:pt x="16391" y="364908"/>
                        </a:cubicBezTo>
                        <a:cubicBezTo>
                          <a:pt x="25048" y="365916"/>
                          <a:pt x="35913" y="369114"/>
                          <a:pt x="44627" y="366310"/>
                        </a:cubicBezTo>
                        <a:cubicBezTo>
                          <a:pt x="47968" y="363252"/>
                          <a:pt x="51306" y="362247"/>
                          <a:pt x="54472" y="358838"/>
                        </a:cubicBezTo>
                        <a:cubicBezTo>
                          <a:pt x="58450" y="350112"/>
                          <a:pt x="61565" y="341095"/>
                          <a:pt x="64775" y="332118"/>
                        </a:cubicBezTo>
                        <a:cubicBezTo>
                          <a:pt x="69086" y="317984"/>
                          <a:pt x="74197" y="305517"/>
                          <a:pt x="91501" y="310557"/>
                        </a:cubicBezTo>
                        <a:cubicBezTo>
                          <a:pt x="92226" y="310757"/>
                          <a:pt x="93043" y="310443"/>
                          <a:pt x="93448" y="309812"/>
                        </a:cubicBezTo>
                        <a:cubicBezTo>
                          <a:pt x="93645" y="312850"/>
                          <a:pt x="93771" y="315851"/>
                          <a:pt x="94010" y="318900"/>
                        </a:cubicBezTo>
                        <a:cubicBezTo>
                          <a:pt x="93882" y="321990"/>
                          <a:pt x="94567" y="324959"/>
                          <a:pt x="98174" y="325596"/>
                        </a:cubicBezTo>
                        <a:cubicBezTo>
                          <a:pt x="98719" y="325693"/>
                          <a:pt x="93733" y="336823"/>
                          <a:pt x="93614" y="337154"/>
                        </a:cubicBezTo>
                        <a:cubicBezTo>
                          <a:pt x="83945" y="363832"/>
                          <a:pt x="71279" y="389484"/>
                          <a:pt x="61140" y="415939"/>
                        </a:cubicBezTo>
                        <a:cubicBezTo>
                          <a:pt x="60060" y="420505"/>
                          <a:pt x="69780" y="417355"/>
                          <a:pt x="72207" y="417687"/>
                        </a:cubicBezTo>
                        <a:cubicBezTo>
                          <a:pt x="74677" y="416956"/>
                          <a:pt x="83200" y="417932"/>
                          <a:pt x="83863" y="415865"/>
                        </a:cubicBezTo>
                        <a:cubicBezTo>
                          <a:pt x="93568" y="391318"/>
                          <a:pt x="102562" y="366582"/>
                          <a:pt x="113889" y="342474"/>
                        </a:cubicBezTo>
                        <a:cubicBezTo>
                          <a:pt x="116411" y="335670"/>
                          <a:pt x="118110" y="322946"/>
                          <a:pt x="118389" y="316482"/>
                        </a:cubicBezTo>
                        <a:cubicBezTo>
                          <a:pt x="142603" y="322509"/>
                          <a:pt x="166042" y="326807"/>
                          <a:pt x="188317" y="332306"/>
                        </a:cubicBezTo>
                        <a:cubicBezTo>
                          <a:pt x="188879" y="332455"/>
                          <a:pt x="190590" y="332677"/>
                          <a:pt x="192223" y="332751"/>
                        </a:cubicBezTo>
                        <a:cubicBezTo>
                          <a:pt x="197363" y="359469"/>
                          <a:pt x="202377" y="386583"/>
                          <a:pt x="206648" y="413486"/>
                        </a:cubicBezTo>
                        <a:cubicBezTo>
                          <a:pt x="206782" y="414469"/>
                          <a:pt x="209124" y="414660"/>
                          <a:pt x="209718" y="414554"/>
                        </a:cubicBezTo>
                        <a:cubicBezTo>
                          <a:pt x="210923" y="414340"/>
                          <a:pt x="209615" y="423786"/>
                          <a:pt x="215548" y="421764"/>
                        </a:cubicBezTo>
                        <a:cubicBezTo>
                          <a:pt x="220531" y="420068"/>
                          <a:pt x="216048" y="414197"/>
                          <a:pt x="216788" y="414003"/>
                        </a:cubicBezTo>
                        <a:cubicBezTo>
                          <a:pt x="218095" y="413658"/>
                          <a:pt x="218692" y="412693"/>
                          <a:pt x="218198" y="409872"/>
                        </a:cubicBezTo>
                        <a:cubicBezTo>
                          <a:pt x="218090" y="409258"/>
                          <a:pt x="218835" y="408724"/>
                          <a:pt x="220851" y="408407"/>
                        </a:cubicBezTo>
                        <a:cubicBezTo>
                          <a:pt x="223012" y="408067"/>
                          <a:pt x="228780" y="407973"/>
                          <a:pt x="231016" y="407262"/>
                        </a:cubicBezTo>
                        <a:cubicBezTo>
                          <a:pt x="237123" y="405720"/>
                          <a:pt x="243477" y="404983"/>
                          <a:pt x="249427" y="403221"/>
                        </a:cubicBezTo>
                        <a:cubicBezTo>
                          <a:pt x="252819" y="403339"/>
                          <a:pt x="255957" y="400977"/>
                          <a:pt x="259130" y="400175"/>
                        </a:cubicBezTo>
                        <a:cubicBezTo>
                          <a:pt x="260040" y="399906"/>
                          <a:pt x="260583" y="398976"/>
                          <a:pt x="260366" y="398050"/>
                        </a:cubicBezTo>
                        <a:cubicBezTo>
                          <a:pt x="259692" y="396075"/>
                          <a:pt x="260086" y="393550"/>
                          <a:pt x="259032" y="391723"/>
                        </a:cubicBezTo>
                        <a:cubicBezTo>
                          <a:pt x="261674" y="390735"/>
                          <a:pt x="270899" y="391455"/>
                          <a:pt x="271396" y="388913"/>
                        </a:cubicBezTo>
                        <a:cubicBezTo>
                          <a:pt x="277261" y="391926"/>
                          <a:pt x="277912" y="382837"/>
                          <a:pt x="276781" y="380062"/>
                        </a:cubicBezTo>
                        <a:close/>
                        <a:moveTo>
                          <a:pt x="109803" y="145566"/>
                        </a:moveTo>
                        <a:cubicBezTo>
                          <a:pt x="109407" y="146506"/>
                          <a:pt x="109138" y="146631"/>
                          <a:pt x="106657" y="146137"/>
                        </a:cubicBezTo>
                        <a:cubicBezTo>
                          <a:pt x="101140" y="144835"/>
                          <a:pt x="96238" y="145558"/>
                          <a:pt x="90735" y="144521"/>
                        </a:cubicBezTo>
                        <a:cubicBezTo>
                          <a:pt x="89942" y="144335"/>
                          <a:pt x="88460" y="145124"/>
                          <a:pt x="87831" y="145475"/>
                        </a:cubicBezTo>
                        <a:cubicBezTo>
                          <a:pt x="86712" y="142976"/>
                          <a:pt x="85367" y="138516"/>
                          <a:pt x="84611" y="136260"/>
                        </a:cubicBezTo>
                        <a:cubicBezTo>
                          <a:pt x="84731" y="135375"/>
                          <a:pt x="91886" y="136766"/>
                          <a:pt x="97577" y="137431"/>
                        </a:cubicBezTo>
                        <a:cubicBezTo>
                          <a:pt x="100172" y="137734"/>
                          <a:pt x="107882" y="138351"/>
                          <a:pt x="109484" y="139487"/>
                        </a:cubicBezTo>
                        <a:cubicBezTo>
                          <a:pt x="110123" y="141531"/>
                          <a:pt x="111017" y="142802"/>
                          <a:pt x="109803" y="145566"/>
                        </a:cubicBezTo>
                        <a:close/>
                        <a:moveTo>
                          <a:pt x="185856" y="312813"/>
                        </a:moveTo>
                        <a:cubicBezTo>
                          <a:pt x="166128" y="310231"/>
                          <a:pt x="152077" y="308858"/>
                          <a:pt x="134328" y="303116"/>
                        </a:cubicBezTo>
                        <a:cubicBezTo>
                          <a:pt x="133668" y="302845"/>
                          <a:pt x="131527" y="302413"/>
                          <a:pt x="131030" y="302927"/>
                        </a:cubicBezTo>
                        <a:cubicBezTo>
                          <a:pt x="126781" y="256842"/>
                          <a:pt x="127292" y="208161"/>
                          <a:pt x="127115" y="162164"/>
                        </a:cubicBezTo>
                        <a:cubicBezTo>
                          <a:pt x="127113" y="162159"/>
                          <a:pt x="127110" y="162153"/>
                          <a:pt x="127107" y="162147"/>
                        </a:cubicBezTo>
                        <a:cubicBezTo>
                          <a:pt x="127275" y="162104"/>
                          <a:pt x="127435" y="162039"/>
                          <a:pt x="127584" y="161950"/>
                        </a:cubicBezTo>
                        <a:cubicBezTo>
                          <a:pt x="168975" y="166687"/>
                          <a:pt x="167156" y="216582"/>
                          <a:pt x="175051" y="244750"/>
                        </a:cubicBezTo>
                        <a:cubicBezTo>
                          <a:pt x="178780" y="263315"/>
                          <a:pt x="182418" y="282474"/>
                          <a:pt x="186038" y="300923"/>
                        </a:cubicBezTo>
                        <a:cubicBezTo>
                          <a:pt x="186841" y="305026"/>
                          <a:pt x="187643" y="309146"/>
                          <a:pt x="188448" y="313278"/>
                        </a:cubicBezTo>
                        <a:cubicBezTo>
                          <a:pt x="187280" y="313024"/>
                          <a:pt x="186187" y="312847"/>
                          <a:pt x="185856" y="312813"/>
                        </a:cubicBezTo>
                        <a:close/>
                      </a:path>
                    </a:pathLst>
                  </a:custGeom>
                  <a:grpFill/>
                  <a:ln w="2826" cap="flat">
                    <a:noFill/>
                    <a:prstDash val="solid"/>
                    <a:miter/>
                  </a:ln>
                </p:spPr>
                <p:txBody>
                  <a:bodyPr rtlCol="0" anchor="ctr"/>
                  <a:lstStyle/>
                  <a:p>
                    <a:endParaRPr lang="fr-CA"/>
                  </a:p>
                </p:txBody>
              </p:sp>
              <p:sp>
                <p:nvSpPr>
                  <p:cNvPr id="1747" name="Forme libre : forme 1746">
                    <a:extLst>
                      <a:ext uri="{FF2B5EF4-FFF2-40B4-BE49-F238E27FC236}">
                        <a16:creationId xmlns:a16="http://schemas.microsoft.com/office/drawing/2014/main" id="{126A6225-4D1E-E817-70F8-582CC6CBEF6D}"/>
                      </a:ext>
                    </a:extLst>
                  </p:cNvPr>
                  <p:cNvSpPr/>
                  <p:nvPr/>
                </p:nvSpPr>
                <p:spPr>
                  <a:xfrm>
                    <a:off x="9279160" y="4338486"/>
                    <a:ext cx="74751" cy="98673"/>
                  </a:xfrm>
                  <a:custGeom>
                    <a:avLst/>
                    <a:gdLst>
                      <a:gd name="connsiteX0" fmla="*/ 74672 w 74751"/>
                      <a:gd name="connsiteY0" fmla="*/ 31495 h 98673"/>
                      <a:gd name="connsiteX1" fmla="*/ 66434 w 74751"/>
                      <a:gd name="connsiteY1" fmla="*/ 11413 h 98673"/>
                      <a:gd name="connsiteX2" fmla="*/ 2163 w 74751"/>
                      <a:gd name="connsiteY2" fmla="*/ 23 h 98673"/>
                      <a:gd name="connsiteX3" fmla="*/ 733 w 74751"/>
                      <a:gd name="connsiteY3" fmla="*/ 414 h 98673"/>
                      <a:gd name="connsiteX4" fmla="*/ 1835 w 74751"/>
                      <a:gd name="connsiteY4" fmla="*/ 20239 h 98673"/>
                      <a:gd name="connsiteX5" fmla="*/ 3936 w 74751"/>
                      <a:gd name="connsiteY5" fmla="*/ 22172 h 98673"/>
                      <a:gd name="connsiteX6" fmla="*/ 1972 w 74751"/>
                      <a:gd name="connsiteY6" fmla="*/ 88887 h 98673"/>
                      <a:gd name="connsiteX7" fmla="*/ 3322 w 74751"/>
                      <a:gd name="connsiteY7" fmla="*/ 90660 h 98673"/>
                      <a:gd name="connsiteX8" fmla="*/ 12851 w 74751"/>
                      <a:gd name="connsiteY8" fmla="*/ 97833 h 98673"/>
                      <a:gd name="connsiteX9" fmla="*/ 16166 w 74751"/>
                      <a:gd name="connsiteY9" fmla="*/ 96968 h 98673"/>
                      <a:gd name="connsiteX10" fmla="*/ 18596 w 74751"/>
                      <a:gd name="connsiteY10" fmla="*/ 24850 h 98673"/>
                      <a:gd name="connsiteX11" fmla="*/ 48228 w 74751"/>
                      <a:gd name="connsiteY11" fmla="*/ 29230 h 98673"/>
                      <a:gd name="connsiteX12" fmla="*/ 54273 w 74751"/>
                      <a:gd name="connsiteY12" fmla="*/ 31458 h 98673"/>
                      <a:gd name="connsiteX13" fmla="*/ 74672 w 74751"/>
                      <a:gd name="connsiteY13" fmla="*/ 31495 h 9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51" h="98673">
                        <a:moveTo>
                          <a:pt x="74672" y="31495"/>
                        </a:moveTo>
                        <a:cubicBezTo>
                          <a:pt x="72153" y="24588"/>
                          <a:pt x="69381" y="17829"/>
                          <a:pt x="66434" y="11413"/>
                        </a:cubicBezTo>
                        <a:cubicBezTo>
                          <a:pt x="64401" y="9243"/>
                          <a:pt x="6206" y="685"/>
                          <a:pt x="2163" y="23"/>
                        </a:cubicBezTo>
                        <a:cubicBezTo>
                          <a:pt x="1652" y="-60"/>
                          <a:pt x="1130" y="83"/>
                          <a:pt x="733" y="414"/>
                        </a:cubicBezTo>
                        <a:cubicBezTo>
                          <a:pt x="-1186" y="5911"/>
                          <a:pt x="1198" y="13486"/>
                          <a:pt x="1835" y="20239"/>
                        </a:cubicBezTo>
                        <a:cubicBezTo>
                          <a:pt x="1955" y="21407"/>
                          <a:pt x="3160" y="21598"/>
                          <a:pt x="3936" y="22172"/>
                        </a:cubicBezTo>
                        <a:cubicBezTo>
                          <a:pt x="2780" y="23143"/>
                          <a:pt x="2383" y="87677"/>
                          <a:pt x="1972" y="88887"/>
                        </a:cubicBezTo>
                        <a:cubicBezTo>
                          <a:pt x="1952" y="89718"/>
                          <a:pt x="2511" y="90455"/>
                          <a:pt x="3322" y="90660"/>
                        </a:cubicBezTo>
                        <a:cubicBezTo>
                          <a:pt x="7468" y="91694"/>
                          <a:pt x="10761" y="94255"/>
                          <a:pt x="12851" y="97833"/>
                        </a:cubicBezTo>
                        <a:cubicBezTo>
                          <a:pt x="13707" y="99329"/>
                          <a:pt x="16157" y="98695"/>
                          <a:pt x="16166" y="96968"/>
                        </a:cubicBezTo>
                        <a:cubicBezTo>
                          <a:pt x="15926" y="95746"/>
                          <a:pt x="19344" y="25990"/>
                          <a:pt x="18596" y="24850"/>
                        </a:cubicBezTo>
                        <a:cubicBezTo>
                          <a:pt x="26979" y="26415"/>
                          <a:pt x="38694" y="28362"/>
                          <a:pt x="48228" y="29230"/>
                        </a:cubicBezTo>
                        <a:cubicBezTo>
                          <a:pt x="49722" y="30464"/>
                          <a:pt x="53488" y="32003"/>
                          <a:pt x="54273" y="31458"/>
                        </a:cubicBezTo>
                        <a:cubicBezTo>
                          <a:pt x="56560" y="29382"/>
                          <a:pt x="76151" y="37331"/>
                          <a:pt x="74672" y="31495"/>
                        </a:cubicBezTo>
                        <a:close/>
                      </a:path>
                    </a:pathLst>
                  </a:custGeom>
                  <a:grpFill/>
                  <a:ln w="2826" cap="flat">
                    <a:noFill/>
                    <a:prstDash val="solid"/>
                    <a:miter/>
                  </a:ln>
                </p:spPr>
                <p:txBody>
                  <a:bodyPr rtlCol="0" anchor="ctr"/>
                  <a:lstStyle/>
                  <a:p>
                    <a:endParaRPr lang="fr-CA"/>
                  </a:p>
                </p:txBody>
              </p:sp>
              <p:sp>
                <p:nvSpPr>
                  <p:cNvPr id="1748" name="Forme libre : forme 1747">
                    <a:extLst>
                      <a:ext uri="{FF2B5EF4-FFF2-40B4-BE49-F238E27FC236}">
                        <a16:creationId xmlns:a16="http://schemas.microsoft.com/office/drawing/2014/main" id="{6342A312-503A-17F1-B27D-A4B48D75E7A1}"/>
                      </a:ext>
                    </a:extLst>
                  </p:cNvPr>
                  <p:cNvSpPr/>
                  <p:nvPr/>
                </p:nvSpPr>
                <p:spPr>
                  <a:xfrm>
                    <a:off x="9252901" y="4572260"/>
                    <a:ext cx="92973" cy="33700"/>
                  </a:xfrm>
                  <a:custGeom>
                    <a:avLst/>
                    <a:gdLst>
                      <a:gd name="connsiteX0" fmla="*/ 91626 w 92973"/>
                      <a:gd name="connsiteY0" fmla="*/ 17057 h 33700"/>
                      <a:gd name="connsiteX1" fmla="*/ 63775 w 92973"/>
                      <a:gd name="connsiteY1" fmla="*/ 11529 h 33700"/>
                      <a:gd name="connsiteX2" fmla="*/ 22129 w 92973"/>
                      <a:gd name="connsiteY2" fmla="*/ 2852 h 33700"/>
                      <a:gd name="connsiteX3" fmla="*/ 4478 w 92973"/>
                      <a:gd name="connsiteY3" fmla="*/ 490 h 33700"/>
                      <a:gd name="connsiteX4" fmla="*/ 2299 w 92973"/>
                      <a:gd name="connsiteY4" fmla="*/ 14227 h 33700"/>
                      <a:gd name="connsiteX5" fmla="*/ 13147 w 92973"/>
                      <a:gd name="connsiteY5" fmla="*/ 17962 h 33700"/>
                      <a:gd name="connsiteX6" fmla="*/ 56725 w 92973"/>
                      <a:gd name="connsiteY6" fmla="*/ 29892 h 33700"/>
                      <a:gd name="connsiteX7" fmla="*/ 83511 w 92973"/>
                      <a:gd name="connsiteY7" fmla="*/ 33541 h 33700"/>
                      <a:gd name="connsiteX8" fmla="*/ 92677 w 92973"/>
                      <a:gd name="connsiteY8" fmla="*/ 19787 h 33700"/>
                      <a:gd name="connsiteX9" fmla="*/ 91626 w 92973"/>
                      <a:gd name="connsiteY9" fmla="*/ 17057 h 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73" h="33700">
                        <a:moveTo>
                          <a:pt x="91626" y="17057"/>
                        </a:moveTo>
                        <a:cubicBezTo>
                          <a:pt x="85313" y="15435"/>
                          <a:pt x="64183" y="11586"/>
                          <a:pt x="63775" y="11529"/>
                        </a:cubicBezTo>
                        <a:cubicBezTo>
                          <a:pt x="49624" y="9547"/>
                          <a:pt x="36258" y="5124"/>
                          <a:pt x="22129" y="2852"/>
                        </a:cubicBezTo>
                        <a:cubicBezTo>
                          <a:pt x="16353" y="1941"/>
                          <a:pt x="10562" y="-1197"/>
                          <a:pt x="4478" y="490"/>
                        </a:cubicBezTo>
                        <a:cubicBezTo>
                          <a:pt x="-1433" y="2489"/>
                          <a:pt x="-762" y="10019"/>
                          <a:pt x="2299" y="14227"/>
                        </a:cubicBezTo>
                        <a:cubicBezTo>
                          <a:pt x="2913" y="16592"/>
                          <a:pt x="10831" y="16780"/>
                          <a:pt x="13147" y="17962"/>
                        </a:cubicBezTo>
                        <a:cubicBezTo>
                          <a:pt x="19183" y="19772"/>
                          <a:pt x="48933" y="28458"/>
                          <a:pt x="56725" y="29892"/>
                        </a:cubicBezTo>
                        <a:cubicBezTo>
                          <a:pt x="60066" y="30845"/>
                          <a:pt x="81378" y="34503"/>
                          <a:pt x="83511" y="33541"/>
                        </a:cubicBezTo>
                        <a:cubicBezTo>
                          <a:pt x="83511" y="33541"/>
                          <a:pt x="92677" y="19787"/>
                          <a:pt x="92677" y="19787"/>
                        </a:cubicBezTo>
                        <a:cubicBezTo>
                          <a:pt x="93365" y="18807"/>
                          <a:pt x="92794" y="17320"/>
                          <a:pt x="91626" y="17057"/>
                        </a:cubicBezTo>
                        <a:close/>
                      </a:path>
                    </a:pathLst>
                  </a:custGeom>
                  <a:grpFill/>
                  <a:ln w="2826" cap="flat">
                    <a:noFill/>
                    <a:prstDash val="solid"/>
                    <a:miter/>
                  </a:ln>
                </p:spPr>
                <p:txBody>
                  <a:bodyPr rtlCol="0" anchor="ctr"/>
                  <a:lstStyle/>
                  <a:p>
                    <a:endParaRPr lang="fr-CA"/>
                  </a:p>
                </p:txBody>
              </p:sp>
              <p:sp>
                <p:nvSpPr>
                  <p:cNvPr id="1749" name="Forme libre : forme 1748">
                    <a:extLst>
                      <a:ext uri="{FF2B5EF4-FFF2-40B4-BE49-F238E27FC236}">
                        <a16:creationId xmlns:a16="http://schemas.microsoft.com/office/drawing/2014/main" id="{7E070EED-B73C-A726-7761-394FE8ACD626}"/>
                      </a:ext>
                    </a:extLst>
                  </p:cNvPr>
                  <p:cNvSpPr/>
                  <p:nvPr/>
                </p:nvSpPr>
                <p:spPr>
                  <a:xfrm>
                    <a:off x="9253800" y="4047030"/>
                    <a:ext cx="34716" cy="211841"/>
                  </a:xfrm>
                  <a:custGeom>
                    <a:avLst/>
                    <a:gdLst>
                      <a:gd name="connsiteX0" fmla="*/ 3673 w 34716"/>
                      <a:gd name="connsiteY0" fmla="*/ 16611 h 211841"/>
                      <a:gd name="connsiteX1" fmla="*/ 13921 w 34716"/>
                      <a:gd name="connsiteY1" fmla="*/ 34617 h 211841"/>
                      <a:gd name="connsiteX2" fmla="*/ 18406 w 34716"/>
                      <a:gd name="connsiteY2" fmla="*/ 87618 h 211841"/>
                      <a:gd name="connsiteX3" fmla="*/ 23460 w 34716"/>
                      <a:gd name="connsiteY3" fmla="*/ 192178 h 211841"/>
                      <a:gd name="connsiteX4" fmla="*/ 22903 w 34716"/>
                      <a:gd name="connsiteY4" fmla="*/ 200767 h 211841"/>
                      <a:gd name="connsiteX5" fmla="*/ 21830 w 34716"/>
                      <a:gd name="connsiteY5" fmla="*/ 208260 h 211841"/>
                      <a:gd name="connsiteX6" fmla="*/ 31213 w 34716"/>
                      <a:gd name="connsiteY6" fmla="*/ 211689 h 211841"/>
                      <a:gd name="connsiteX7" fmla="*/ 33642 w 34716"/>
                      <a:gd name="connsiteY7" fmla="*/ 209550 h 211841"/>
                      <a:gd name="connsiteX8" fmla="*/ 32980 w 34716"/>
                      <a:gd name="connsiteY8" fmla="*/ 67996 h 211841"/>
                      <a:gd name="connsiteX9" fmla="*/ 6551 w 34716"/>
                      <a:gd name="connsiteY9" fmla="*/ 73 h 211841"/>
                      <a:gd name="connsiteX10" fmla="*/ 4743 w 34716"/>
                      <a:gd name="connsiteY10" fmla="*/ 561 h 211841"/>
                      <a:gd name="connsiteX11" fmla="*/ 3673 w 34716"/>
                      <a:gd name="connsiteY11" fmla="*/ 16611 h 21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716" h="211841">
                        <a:moveTo>
                          <a:pt x="3673" y="16611"/>
                        </a:moveTo>
                        <a:cubicBezTo>
                          <a:pt x="9109" y="19315"/>
                          <a:pt x="12938" y="26043"/>
                          <a:pt x="13921" y="34617"/>
                        </a:cubicBezTo>
                        <a:cubicBezTo>
                          <a:pt x="15991" y="52323"/>
                          <a:pt x="17084" y="70026"/>
                          <a:pt x="18406" y="87618"/>
                        </a:cubicBezTo>
                        <a:cubicBezTo>
                          <a:pt x="20548" y="128458"/>
                          <a:pt x="23497" y="154425"/>
                          <a:pt x="23460" y="192178"/>
                        </a:cubicBezTo>
                        <a:cubicBezTo>
                          <a:pt x="23452" y="192307"/>
                          <a:pt x="23300" y="200721"/>
                          <a:pt x="22903" y="200767"/>
                        </a:cubicBezTo>
                        <a:cubicBezTo>
                          <a:pt x="21407" y="200887"/>
                          <a:pt x="19771" y="207440"/>
                          <a:pt x="21830" y="208260"/>
                        </a:cubicBezTo>
                        <a:cubicBezTo>
                          <a:pt x="24942" y="209182"/>
                          <a:pt x="28097" y="210335"/>
                          <a:pt x="31213" y="211689"/>
                        </a:cubicBezTo>
                        <a:cubicBezTo>
                          <a:pt x="32532" y="212303"/>
                          <a:pt x="34102" y="210958"/>
                          <a:pt x="33642" y="209550"/>
                        </a:cubicBezTo>
                        <a:cubicBezTo>
                          <a:pt x="33026" y="166060"/>
                          <a:pt x="36806" y="114367"/>
                          <a:pt x="32980" y="67996"/>
                        </a:cubicBezTo>
                        <a:cubicBezTo>
                          <a:pt x="31115" y="44894"/>
                          <a:pt x="34479" y="9410"/>
                          <a:pt x="6551" y="73"/>
                        </a:cubicBezTo>
                        <a:cubicBezTo>
                          <a:pt x="5906" y="-118"/>
                          <a:pt x="5206" y="73"/>
                          <a:pt x="4743" y="561"/>
                        </a:cubicBezTo>
                        <a:cubicBezTo>
                          <a:pt x="640" y="4622"/>
                          <a:pt x="-2966" y="10644"/>
                          <a:pt x="3673" y="16611"/>
                        </a:cubicBezTo>
                        <a:close/>
                      </a:path>
                    </a:pathLst>
                  </a:custGeom>
                  <a:grpFill/>
                  <a:ln w="2826" cap="flat">
                    <a:noFill/>
                    <a:prstDash val="solid"/>
                    <a:miter/>
                  </a:ln>
                </p:spPr>
                <p:txBody>
                  <a:bodyPr rtlCol="0" anchor="ctr"/>
                  <a:lstStyle/>
                  <a:p>
                    <a:endParaRPr lang="fr-CA"/>
                  </a:p>
                </p:txBody>
              </p:sp>
              <p:sp>
                <p:nvSpPr>
                  <p:cNvPr id="1750" name="Forme libre : forme 1749">
                    <a:extLst>
                      <a:ext uri="{FF2B5EF4-FFF2-40B4-BE49-F238E27FC236}">
                        <a16:creationId xmlns:a16="http://schemas.microsoft.com/office/drawing/2014/main" id="{0529BC52-FE9A-0415-8977-89EA66AE38CE}"/>
                      </a:ext>
                    </a:extLst>
                  </p:cNvPr>
                  <p:cNvSpPr/>
                  <p:nvPr/>
                </p:nvSpPr>
                <p:spPr>
                  <a:xfrm>
                    <a:off x="9260367" y="4438513"/>
                    <a:ext cx="13525" cy="21450"/>
                  </a:xfrm>
                  <a:custGeom>
                    <a:avLst/>
                    <a:gdLst>
                      <a:gd name="connsiteX0" fmla="*/ 3182 w 13525"/>
                      <a:gd name="connsiteY0" fmla="*/ 20769 h 21450"/>
                      <a:gd name="connsiteX1" fmla="*/ 4724 w 13525"/>
                      <a:gd name="connsiteY1" fmla="*/ 21445 h 21450"/>
                      <a:gd name="connsiteX2" fmla="*/ 11831 w 13525"/>
                      <a:gd name="connsiteY2" fmla="*/ 6089 h 21450"/>
                      <a:gd name="connsiteX3" fmla="*/ 158 w 13525"/>
                      <a:gd name="connsiteY3" fmla="*/ 1270 h 21450"/>
                      <a:gd name="connsiteX4" fmla="*/ 1692 w 13525"/>
                      <a:gd name="connsiteY4" fmla="*/ 5938 h 21450"/>
                      <a:gd name="connsiteX5" fmla="*/ 2885 w 13525"/>
                      <a:gd name="connsiteY5" fmla="*/ 19113 h 21450"/>
                      <a:gd name="connsiteX6" fmla="*/ 3182 w 13525"/>
                      <a:gd name="connsiteY6" fmla="*/ 20769 h 2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21450">
                        <a:moveTo>
                          <a:pt x="3182" y="20769"/>
                        </a:moveTo>
                        <a:cubicBezTo>
                          <a:pt x="3551" y="21237"/>
                          <a:pt x="4133" y="21491"/>
                          <a:pt x="4724" y="21445"/>
                        </a:cubicBezTo>
                        <a:cubicBezTo>
                          <a:pt x="13496" y="20752"/>
                          <a:pt x="15389" y="14127"/>
                          <a:pt x="11831" y="6089"/>
                        </a:cubicBezTo>
                        <a:cubicBezTo>
                          <a:pt x="10246" y="-852"/>
                          <a:pt x="2086" y="-915"/>
                          <a:pt x="158" y="1270"/>
                        </a:cubicBezTo>
                        <a:cubicBezTo>
                          <a:pt x="-547" y="2869"/>
                          <a:pt x="1309" y="4587"/>
                          <a:pt x="1692" y="5938"/>
                        </a:cubicBezTo>
                        <a:cubicBezTo>
                          <a:pt x="3902" y="10595"/>
                          <a:pt x="4282" y="14781"/>
                          <a:pt x="2885" y="19113"/>
                        </a:cubicBezTo>
                        <a:cubicBezTo>
                          <a:pt x="2700" y="19681"/>
                          <a:pt x="2811" y="20300"/>
                          <a:pt x="3182" y="20769"/>
                        </a:cubicBezTo>
                        <a:close/>
                      </a:path>
                    </a:pathLst>
                  </a:custGeom>
                  <a:grpFill/>
                  <a:ln w="2826" cap="flat">
                    <a:noFill/>
                    <a:prstDash val="solid"/>
                    <a:miter/>
                  </a:ln>
                </p:spPr>
                <p:txBody>
                  <a:bodyPr rtlCol="0" anchor="ctr"/>
                  <a:lstStyle/>
                  <a:p>
                    <a:endParaRPr lang="fr-CA"/>
                  </a:p>
                </p:txBody>
              </p:sp>
              <p:sp>
                <p:nvSpPr>
                  <p:cNvPr id="1751" name="Forme libre : forme 1750">
                    <a:extLst>
                      <a:ext uri="{FF2B5EF4-FFF2-40B4-BE49-F238E27FC236}">
                        <a16:creationId xmlns:a16="http://schemas.microsoft.com/office/drawing/2014/main" id="{5823AFAF-DE42-D429-B6B1-1F85E4FE5130}"/>
                      </a:ext>
                    </a:extLst>
                  </p:cNvPr>
                  <p:cNvSpPr/>
                  <p:nvPr/>
                </p:nvSpPr>
                <p:spPr>
                  <a:xfrm>
                    <a:off x="9244017" y="4441987"/>
                    <a:ext cx="10938" cy="19412"/>
                  </a:xfrm>
                  <a:custGeom>
                    <a:avLst/>
                    <a:gdLst>
                      <a:gd name="connsiteX0" fmla="*/ 10904 w 10938"/>
                      <a:gd name="connsiteY0" fmla="*/ 8463 h 19412"/>
                      <a:gd name="connsiteX1" fmla="*/ 3197 w 10938"/>
                      <a:gd name="connsiteY1" fmla="*/ 5 h 19412"/>
                      <a:gd name="connsiteX2" fmla="*/ 22 w 10938"/>
                      <a:gd name="connsiteY2" fmla="*/ 9628 h 19412"/>
                      <a:gd name="connsiteX3" fmla="*/ 8220 w 10938"/>
                      <a:gd name="connsiteY3" fmla="*/ 19002 h 19412"/>
                      <a:gd name="connsiteX4" fmla="*/ 10904 w 10938"/>
                      <a:gd name="connsiteY4" fmla="*/ 8463 h 1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8" h="19412">
                        <a:moveTo>
                          <a:pt x="10904" y="8463"/>
                        </a:moveTo>
                        <a:cubicBezTo>
                          <a:pt x="10752" y="3143"/>
                          <a:pt x="8357" y="-152"/>
                          <a:pt x="3197" y="5"/>
                        </a:cubicBezTo>
                        <a:cubicBezTo>
                          <a:pt x="76" y="936"/>
                          <a:pt x="-84" y="6984"/>
                          <a:pt x="22" y="9628"/>
                        </a:cubicBezTo>
                        <a:cubicBezTo>
                          <a:pt x="267" y="13446"/>
                          <a:pt x="3263" y="21289"/>
                          <a:pt x="8220" y="19002"/>
                        </a:cubicBezTo>
                        <a:cubicBezTo>
                          <a:pt x="11309" y="17040"/>
                          <a:pt x="10946" y="9217"/>
                          <a:pt x="10904" y="8463"/>
                        </a:cubicBezTo>
                        <a:close/>
                      </a:path>
                    </a:pathLst>
                  </a:custGeom>
                  <a:grpFill/>
                  <a:ln w="2826" cap="flat">
                    <a:noFill/>
                    <a:prstDash val="solid"/>
                    <a:miter/>
                  </a:ln>
                </p:spPr>
                <p:txBody>
                  <a:bodyPr rtlCol="0" anchor="ctr"/>
                  <a:lstStyle/>
                  <a:p>
                    <a:endParaRPr lang="fr-CA"/>
                  </a:p>
                </p:txBody>
              </p:sp>
            </p:grpSp>
            <p:grpSp>
              <p:nvGrpSpPr>
                <p:cNvPr id="1720" name="Graphique 35" descr="Garçon dans un fauteuil roulant">
                  <a:extLst>
                    <a:ext uri="{FF2B5EF4-FFF2-40B4-BE49-F238E27FC236}">
                      <a16:creationId xmlns:a16="http://schemas.microsoft.com/office/drawing/2014/main" id="{062A8118-C004-66BA-6DE6-91CC59350790}"/>
                    </a:ext>
                  </a:extLst>
                </p:cNvPr>
                <p:cNvGrpSpPr/>
                <p:nvPr/>
              </p:nvGrpSpPr>
              <p:grpSpPr>
                <a:xfrm>
                  <a:off x="9156994" y="4044915"/>
                  <a:ext cx="736590" cy="661795"/>
                  <a:chOff x="9156994" y="4044915"/>
                  <a:chExt cx="736590" cy="661795"/>
                </a:xfrm>
                <a:grpFill/>
              </p:grpSpPr>
              <p:sp>
                <p:nvSpPr>
                  <p:cNvPr id="1733" name="Forme libre : forme 1732">
                    <a:extLst>
                      <a:ext uri="{FF2B5EF4-FFF2-40B4-BE49-F238E27FC236}">
                        <a16:creationId xmlns:a16="http://schemas.microsoft.com/office/drawing/2014/main" id="{72862F83-78A6-9980-9FC2-DCC414342C01}"/>
                      </a:ext>
                    </a:extLst>
                  </p:cNvPr>
                  <p:cNvSpPr/>
                  <p:nvPr/>
                </p:nvSpPr>
                <p:spPr>
                  <a:xfrm>
                    <a:off x="9737875" y="4629270"/>
                    <a:ext cx="155709" cy="31664"/>
                  </a:xfrm>
                  <a:custGeom>
                    <a:avLst/>
                    <a:gdLst>
                      <a:gd name="connsiteX0" fmla="*/ 155710 w 155709"/>
                      <a:gd name="connsiteY0" fmla="*/ 2143 h 31664"/>
                      <a:gd name="connsiteX1" fmla="*/ 120515 w 155709"/>
                      <a:gd name="connsiteY1" fmla="*/ 3000 h 31664"/>
                      <a:gd name="connsiteX2" fmla="*/ 60718 w 155709"/>
                      <a:gd name="connsiteY2" fmla="*/ 9316 h 31664"/>
                      <a:gd name="connsiteX3" fmla="*/ 58674 w 155709"/>
                      <a:gd name="connsiteY3" fmla="*/ 8571 h 31664"/>
                      <a:gd name="connsiteX4" fmla="*/ 21763 w 155709"/>
                      <a:gd name="connsiteY4" fmla="*/ 19681 h 31664"/>
                      <a:gd name="connsiteX5" fmla="*/ 1821 w 155709"/>
                      <a:gd name="connsiteY5" fmla="*/ 25594 h 31664"/>
                      <a:gd name="connsiteX6" fmla="*/ 562 w 155709"/>
                      <a:gd name="connsiteY6" fmla="*/ 27065 h 31664"/>
                      <a:gd name="connsiteX7" fmla="*/ 1689 w 155709"/>
                      <a:gd name="connsiteY7" fmla="*/ 31665 h 31664"/>
                      <a:gd name="connsiteX8" fmla="*/ 155710 w 155709"/>
                      <a:gd name="connsiteY8" fmla="*/ 2143 h 3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09" h="31664">
                        <a:moveTo>
                          <a:pt x="155710" y="2143"/>
                        </a:moveTo>
                        <a:cubicBezTo>
                          <a:pt x="153445" y="-2636"/>
                          <a:pt x="125537" y="1915"/>
                          <a:pt x="120515" y="3000"/>
                        </a:cubicBezTo>
                        <a:cubicBezTo>
                          <a:pt x="100887" y="7586"/>
                          <a:pt x="80586" y="5933"/>
                          <a:pt x="60718" y="9316"/>
                        </a:cubicBezTo>
                        <a:cubicBezTo>
                          <a:pt x="60298" y="8645"/>
                          <a:pt x="59427" y="8322"/>
                          <a:pt x="58674" y="8571"/>
                        </a:cubicBezTo>
                        <a:cubicBezTo>
                          <a:pt x="46421" y="12417"/>
                          <a:pt x="33886" y="16112"/>
                          <a:pt x="21763" y="19681"/>
                        </a:cubicBezTo>
                        <a:cubicBezTo>
                          <a:pt x="15224" y="21608"/>
                          <a:pt x="8462" y="23599"/>
                          <a:pt x="1821" y="25594"/>
                        </a:cubicBezTo>
                        <a:cubicBezTo>
                          <a:pt x="1150" y="25794"/>
                          <a:pt x="659" y="26371"/>
                          <a:pt x="562" y="27065"/>
                        </a:cubicBezTo>
                        <a:cubicBezTo>
                          <a:pt x="222" y="28595"/>
                          <a:pt x="-972" y="31531"/>
                          <a:pt x="1689" y="31665"/>
                        </a:cubicBezTo>
                        <a:cubicBezTo>
                          <a:pt x="55201" y="25697"/>
                          <a:pt x="111777" y="20064"/>
                          <a:pt x="155710" y="2143"/>
                        </a:cubicBezTo>
                        <a:close/>
                      </a:path>
                    </a:pathLst>
                  </a:custGeom>
                  <a:grpFill/>
                  <a:ln w="2826" cap="flat">
                    <a:noFill/>
                    <a:prstDash val="solid"/>
                    <a:miter/>
                  </a:ln>
                </p:spPr>
                <p:txBody>
                  <a:bodyPr rtlCol="0" anchor="ctr"/>
                  <a:lstStyle/>
                  <a:p>
                    <a:endParaRPr lang="fr-CA"/>
                  </a:p>
                </p:txBody>
              </p:sp>
              <p:sp>
                <p:nvSpPr>
                  <p:cNvPr id="1734" name="Forme libre : forme 1733">
                    <a:extLst>
                      <a:ext uri="{FF2B5EF4-FFF2-40B4-BE49-F238E27FC236}">
                        <a16:creationId xmlns:a16="http://schemas.microsoft.com/office/drawing/2014/main" id="{63B7016E-C4C8-1CA8-DC05-54CAEEB13EE2}"/>
                      </a:ext>
                    </a:extLst>
                  </p:cNvPr>
                  <p:cNvSpPr/>
                  <p:nvPr/>
                </p:nvSpPr>
                <p:spPr>
                  <a:xfrm>
                    <a:off x="9563280" y="4199016"/>
                    <a:ext cx="151163" cy="43779"/>
                  </a:xfrm>
                  <a:custGeom>
                    <a:avLst/>
                    <a:gdLst>
                      <a:gd name="connsiteX0" fmla="*/ 144002 w 151163"/>
                      <a:gd name="connsiteY0" fmla="*/ 23934 h 43779"/>
                      <a:gd name="connsiteX1" fmla="*/ 12 w 151163"/>
                      <a:gd name="connsiteY1" fmla="*/ 820 h 43779"/>
                      <a:gd name="connsiteX2" fmla="*/ 11040 w 151163"/>
                      <a:gd name="connsiteY2" fmla="*/ 27752 h 43779"/>
                      <a:gd name="connsiteX3" fmla="*/ 124069 w 151163"/>
                      <a:gd name="connsiteY3" fmla="*/ 43020 h 43779"/>
                      <a:gd name="connsiteX4" fmla="*/ 145912 w 151163"/>
                      <a:gd name="connsiteY4" fmla="*/ 43020 h 43779"/>
                      <a:gd name="connsiteX5" fmla="*/ 150578 w 151163"/>
                      <a:gd name="connsiteY5" fmla="*/ 37931 h 43779"/>
                      <a:gd name="connsiteX6" fmla="*/ 144002 w 151163"/>
                      <a:gd name="connsiteY6" fmla="*/ 23934 h 4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163" h="43779">
                        <a:moveTo>
                          <a:pt x="144002" y="23934"/>
                        </a:moveTo>
                        <a:cubicBezTo>
                          <a:pt x="121279" y="7376"/>
                          <a:pt x="1012" y="-3091"/>
                          <a:pt x="12" y="820"/>
                        </a:cubicBezTo>
                        <a:cubicBezTo>
                          <a:pt x="-439" y="5083"/>
                          <a:pt x="11579" y="22381"/>
                          <a:pt x="11040" y="27752"/>
                        </a:cubicBezTo>
                        <a:cubicBezTo>
                          <a:pt x="10920" y="28740"/>
                          <a:pt x="123069" y="42994"/>
                          <a:pt x="124069" y="43020"/>
                        </a:cubicBezTo>
                        <a:cubicBezTo>
                          <a:pt x="132515" y="43425"/>
                          <a:pt x="137429" y="44504"/>
                          <a:pt x="145912" y="43020"/>
                        </a:cubicBezTo>
                        <a:cubicBezTo>
                          <a:pt x="147537" y="42734"/>
                          <a:pt x="149099" y="40695"/>
                          <a:pt x="150578" y="37931"/>
                        </a:cubicBezTo>
                        <a:cubicBezTo>
                          <a:pt x="153050" y="33303"/>
                          <a:pt x="147083" y="26815"/>
                          <a:pt x="144002" y="23934"/>
                        </a:cubicBezTo>
                        <a:close/>
                      </a:path>
                    </a:pathLst>
                  </a:custGeom>
                  <a:grpFill/>
                  <a:ln w="2826" cap="flat">
                    <a:noFill/>
                    <a:prstDash val="solid"/>
                    <a:miter/>
                  </a:ln>
                </p:spPr>
                <p:txBody>
                  <a:bodyPr rtlCol="0" anchor="ctr"/>
                  <a:lstStyle/>
                  <a:p>
                    <a:endParaRPr lang="fr-CA"/>
                  </a:p>
                </p:txBody>
              </p:sp>
              <p:sp>
                <p:nvSpPr>
                  <p:cNvPr id="1735" name="Forme libre : forme 1734">
                    <a:extLst>
                      <a:ext uri="{FF2B5EF4-FFF2-40B4-BE49-F238E27FC236}">
                        <a16:creationId xmlns:a16="http://schemas.microsoft.com/office/drawing/2014/main" id="{06D73178-5C2E-44AD-7AC1-9D79396FCCFE}"/>
                      </a:ext>
                    </a:extLst>
                  </p:cNvPr>
                  <p:cNvSpPr/>
                  <p:nvPr/>
                </p:nvSpPr>
                <p:spPr>
                  <a:xfrm>
                    <a:off x="9612271" y="4613779"/>
                    <a:ext cx="112353" cy="34159"/>
                  </a:xfrm>
                  <a:custGeom>
                    <a:avLst/>
                    <a:gdLst>
                      <a:gd name="connsiteX0" fmla="*/ 111269 w 112353"/>
                      <a:gd name="connsiteY0" fmla="*/ 634 h 34159"/>
                      <a:gd name="connsiteX1" fmla="*/ 106381 w 112353"/>
                      <a:gd name="connsiteY1" fmla="*/ 354 h 34159"/>
                      <a:gd name="connsiteX2" fmla="*/ 104539 w 112353"/>
                      <a:gd name="connsiteY2" fmla="*/ 34 h 34159"/>
                      <a:gd name="connsiteX3" fmla="*/ 65138 w 112353"/>
                      <a:gd name="connsiteY3" fmla="*/ 4229 h 34159"/>
                      <a:gd name="connsiteX4" fmla="*/ 48834 w 112353"/>
                      <a:gd name="connsiteY4" fmla="*/ 5699 h 34159"/>
                      <a:gd name="connsiteX5" fmla="*/ 31242 w 112353"/>
                      <a:gd name="connsiteY5" fmla="*/ 12158 h 34159"/>
                      <a:gd name="connsiteX6" fmla="*/ 18707 w 112353"/>
                      <a:gd name="connsiteY6" fmla="*/ 16064 h 34159"/>
                      <a:gd name="connsiteX7" fmla="*/ 16429 w 112353"/>
                      <a:gd name="connsiteY7" fmla="*/ 24036 h 34159"/>
                      <a:gd name="connsiteX8" fmla="*/ 13368 w 112353"/>
                      <a:gd name="connsiteY8" fmla="*/ 24919 h 34159"/>
                      <a:gd name="connsiteX9" fmla="*/ 148 w 112353"/>
                      <a:gd name="connsiteY9" fmla="*/ 27651 h 34159"/>
                      <a:gd name="connsiteX10" fmla="*/ 1355 w 112353"/>
                      <a:gd name="connsiteY10" fmla="*/ 31934 h 34159"/>
                      <a:gd name="connsiteX11" fmla="*/ 9625 w 112353"/>
                      <a:gd name="connsiteY11" fmla="*/ 34147 h 34159"/>
                      <a:gd name="connsiteX12" fmla="*/ 111269 w 112353"/>
                      <a:gd name="connsiteY12" fmla="*/ 634 h 3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353" h="34159">
                        <a:moveTo>
                          <a:pt x="111269" y="634"/>
                        </a:moveTo>
                        <a:cubicBezTo>
                          <a:pt x="109739" y="-43"/>
                          <a:pt x="107840" y="505"/>
                          <a:pt x="106381" y="354"/>
                        </a:cubicBezTo>
                        <a:cubicBezTo>
                          <a:pt x="105847" y="-40"/>
                          <a:pt x="105173" y="-31"/>
                          <a:pt x="104539" y="34"/>
                        </a:cubicBezTo>
                        <a:cubicBezTo>
                          <a:pt x="91542" y="2250"/>
                          <a:pt x="78161" y="2119"/>
                          <a:pt x="65138" y="4229"/>
                        </a:cubicBezTo>
                        <a:cubicBezTo>
                          <a:pt x="59773" y="4977"/>
                          <a:pt x="54222" y="5742"/>
                          <a:pt x="48834" y="5699"/>
                        </a:cubicBezTo>
                        <a:cubicBezTo>
                          <a:pt x="43355" y="8512"/>
                          <a:pt x="37741" y="10788"/>
                          <a:pt x="31242" y="12158"/>
                        </a:cubicBezTo>
                        <a:cubicBezTo>
                          <a:pt x="27062" y="13220"/>
                          <a:pt x="22742" y="14320"/>
                          <a:pt x="18707" y="16064"/>
                        </a:cubicBezTo>
                        <a:cubicBezTo>
                          <a:pt x="16446" y="17109"/>
                          <a:pt x="18913" y="21829"/>
                          <a:pt x="16429" y="24036"/>
                        </a:cubicBezTo>
                        <a:cubicBezTo>
                          <a:pt x="15698" y="25050"/>
                          <a:pt x="14347" y="24416"/>
                          <a:pt x="13368" y="24919"/>
                        </a:cubicBezTo>
                        <a:cubicBezTo>
                          <a:pt x="10307" y="27309"/>
                          <a:pt x="2463" y="25033"/>
                          <a:pt x="148" y="27651"/>
                        </a:cubicBezTo>
                        <a:cubicBezTo>
                          <a:pt x="-498" y="29179"/>
                          <a:pt x="1170" y="30424"/>
                          <a:pt x="1355" y="31934"/>
                        </a:cubicBezTo>
                        <a:cubicBezTo>
                          <a:pt x="2869" y="34456"/>
                          <a:pt x="7126" y="33816"/>
                          <a:pt x="9625" y="34147"/>
                        </a:cubicBezTo>
                        <a:cubicBezTo>
                          <a:pt x="15409" y="34821"/>
                          <a:pt x="124315" y="6707"/>
                          <a:pt x="111269" y="634"/>
                        </a:cubicBezTo>
                        <a:close/>
                      </a:path>
                    </a:pathLst>
                  </a:custGeom>
                  <a:grpFill/>
                  <a:ln w="2826" cap="flat">
                    <a:noFill/>
                    <a:prstDash val="solid"/>
                    <a:miter/>
                  </a:ln>
                </p:spPr>
                <p:txBody>
                  <a:bodyPr rtlCol="0" anchor="ctr"/>
                  <a:lstStyle/>
                  <a:p>
                    <a:endParaRPr lang="fr-CA"/>
                  </a:p>
                </p:txBody>
              </p:sp>
              <p:sp>
                <p:nvSpPr>
                  <p:cNvPr id="1736" name="Forme libre : forme 1735">
                    <a:extLst>
                      <a:ext uri="{FF2B5EF4-FFF2-40B4-BE49-F238E27FC236}">
                        <a16:creationId xmlns:a16="http://schemas.microsoft.com/office/drawing/2014/main" id="{F3501886-FA4E-FAE0-77CB-E753F64BD1EF}"/>
                      </a:ext>
                    </a:extLst>
                  </p:cNvPr>
                  <p:cNvSpPr/>
                  <p:nvPr/>
                </p:nvSpPr>
                <p:spPr>
                  <a:xfrm>
                    <a:off x="9378256" y="4605068"/>
                    <a:ext cx="102665" cy="101642"/>
                  </a:xfrm>
                  <a:custGeom>
                    <a:avLst/>
                    <a:gdLst>
                      <a:gd name="connsiteX0" fmla="*/ 81933 w 102665"/>
                      <a:gd name="connsiteY0" fmla="*/ 10381 h 101642"/>
                      <a:gd name="connsiteX1" fmla="*/ 79206 w 102665"/>
                      <a:gd name="connsiteY1" fmla="*/ 11120 h 101642"/>
                      <a:gd name="connsiteX2" fmla="*/ 75300 w 102665"/>
                      <a:gd name="connsiteY2" fmla="*/ 23833 h 101642"/>
                      <a:gd name="connsiteX3" fmla="*/ 81499 w 102665"/>
                      <a:gd name="connsiteY3" fmla="*/ 70934 h 101642"/>
                      <a:gd name="connsiteX4" fmla="*/ 52260 w 102665"/>
                      <a:gd name="connsiteY4" fmla="*/ 87293 h 101642"/>
                      <a:gd name="connsiteX5" fmla="*/ 21525 w 102665"/>
                      <a:gd name="connsiteY5" fmla="*/ 30477 h 101642"/>
                      <a:gd name="connsiteX6" fmla="*/ 53970 w 102665"/>
                      <a:gd name="connsiteY6" fmla="*/ 14890 h 101642"/>
                      <a:gd name="connsiteX7" fmla="*/ 55712 w 102665"/>
                      <a:gd name="connsiteY7" fmla="*/ 13785 h 101642"/>
                      <a:gd name="connsiteX8" fmla="*/ 60126 w 102665"/>
                      <a:gd name="connsiteY8" fmla="*/ 3146 h 101642"/>
                      <a:gd name="connsiteX9" fmla="*/ 58750 w 102665"/>
                      <a:gd name="connsiteY9" fmla="*/ 687 h 101642"/>
                      <a:gd name="connsiteX10" fmla="*/ 2303 w 102665"/>
                      <a:gd name="connsiteY10" fmla="*/ 37164 h 101642"/>
                      <a:gd name="connsiteX11" fmla="*/ 16742 w 102665"/>
                      <a:gd name="connsiteY11" fmla="*/ 88680 h 101642"/>
                      <a:gd name="connsiteX12" fmla="*/ 91235 w 102665"/>
                      <a:gd name="connsiteY12" fmla="*/ 82416 h 101642"/>
                      <a:gd name="connsiteX13" fmla="*/ 81933 w 102665"/>
                      <a:gd name="connsiteY13" fmla="*/ 10381 h 10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665" h="101642">
                        <a:moveTo>
                          <a:pt x="81933" y="10381"/>
                        </a:moveTo>
                        <a:cubicBezTo>
                          <a:pt x="81042" y="9679"/>
                          <a:pt x="79617" y="10061"/>
                          <a:pt x="79206" y="11120"/>
                        </a:cubicBezTo>
                        <a:cubicBezTo>
                          <a:pt x="79049" y="12614"/>
                          <a:pt x="73115" y="22728"/>
                          <a:pt x="75300" y="23833"/>
                        </a:cubicBezTo>
                        <a:cubicBezTo>
                          <a:pt x="89545" y="35494"/>
                          <a:pt x="90610" y="56326"/>
                          <a:pt x="81499" y="70934"/>
                        </a:cubicBezTo>
                        <a:cubicBezTo>
                          <a:pt x="75662" y="80288"/>
                          <a:pt x="65654" y="87090"/>
                          <a:pt x="52260" y="87293"/>
                        </a:cubicBezTo>
                        <a:cubicBezTo>
                          <a:pt x="21902" y="88746"/>
                          <a:pt x="6366" y="54031"/>
                          <a:pt x="21525" y="30477"/>
                        </a:cubicBezTo>
                        <a:cubicBezTo>
                          <a:pt x="28321" y="19727"/>
                          <a:pt x="39839" y="14193"/>
                          <a:pt x="53970" y="14890"/>
                        </a:cubicBezTo>
                        <a:cubicBezTo>
                          <a:pt x="54724" y="14932"/>
                          <a:pt x="55424" y="14484"/>
                          <a:pt x="55712" y="13785"/>
                        </a:cubicBezTo>
                        <a:cubicBezTo>
                          <a:pt x="57340" y="9839"/>
                          <a:pt x="58781" y="6358"/>
                          <a:pt x="60126" y="3146"/>
                        </a:cubicBezTo>
                        <a:cubicBezTo>
                          <a:pt x="60589" y="2120"/>
                          <a:pt x="59867" y="827"/>
                          <a:pt x="58750" y="687"/>
                        </a:cubicBezTo>
                        <a:cubicBezTo>
                          <a:pt x="31284" y="-3836"/>
                          <a:pt x="9278" y="14613"/>
                          <a:pt x="2303" y="37164"/>
                        </a:cubicBezTo>
                        <a:cubicBezTo>
                          <a:pt x="-3122" y="54705"/>
                          <a:pt x="784" y="74652"/>
                          <a:pt x="16742" y="88680"/>
                        </a:cubicBezTo>
                        <a:cubicBezTo>
                          <a:pt x="44813" y="110604"/>
                          <a:pt x="75194" y="102143"/>
                          <a:pt x="91235" y="82416"/>
                        </a:cubicBezTo>
                        <a:cubicBezTo>
                          <a:pt x="106857" y="63199"/>
                          <a:pt x="108881" y="33304"/>
                          <a:pt x="81933" y="10381"/>
                        </a:cubicBezTo>
                        <a:close/>
                      </a:path>
                    </a:pathLst>
                  </a:custGeom>
                  <a:grpFill/>
                  <a:ln w="2826" cap="flat">
                    <a:noFill/>
                    <a:prstDash val="solid"/>
                    <a:miter/>
                  </a:ln>
                </p:spPr>
                <p:txBody>
                  <a:bodyPr rtlCol="0" anchor="ctr"/>
                  <a:lstStyle/>
                  <a:p>
                    <a:endParaRPr lang="fr-CA"/>
                  </a:p>
                </p:txBody>
              </p:sp>
              <p:sp>
                <p:nvSpPr>
                  <p:cNvPr id="1737" name="Forme libre : forme 1736">
                    <a:extLst>
                      <a:ext uri="{FF2B5EF4-FFF2-40B4-BE49-F238E27FC236}">
                        <a16:creationId xmlns:a16="http://schemas.microsoft.com/office/drawing/2014/main" id="{A7ABE9EF-2157-1EA6-598E-BA865054259F}"/>
                      </a:ext>
                    </a:extLst>
                  </p:cNvPr>
                  <p:cNvSpPr/>
                  <p:nvPr/>
                </p:nvSpPr>
                <p:spPr>
                  <a:xfrm>
                    <a:off x="9218398" y="4044915"/>
                    <a:ext cx="35286" cy="15969"/>
                  </a:xfrm>
                  <a:custGeom>
                    <a:avLst/>
                    <a:gdLst>
                      <a:gd name="connsiteX0" fmla="*/ 1761 w 35286"/>
                      <a:gd name="connsiteY0" fmla="*/ 12430 h 15969"/>
                      <a:gd name="connsiteX1" fmla="*/ 7946 w 35286"/>
                      <a:gd name="connsiteY1" fmla="*/ 13935 h 15969"/>
                      <a:gd name="connsiteX2" fmla="*/ 31171 w 35286"/>
                      <a:gd name="connsiteY2" fmla="*/ 15951 h 15969"/>
                      <a:gd name="connsiteX3" fmla="*/ 32782 w 35286"/>
                      <a:gd name="connsiteY3" fmla="*/ 15357 h 15969"/>
                      <a:gd name="connsiteX4" fmla="*/ 33153 w 35286"/>
                      <a:gd name="connsiteY4" fmla="*/ 13684 h 15969"/>
                      <a:gd name="connsiteX5" fmla="*/ 34932 w 35286"/>
                      <a:gd name="connsiteY5" fmla="*/ 3987 h 15969"/>
                      <a:gd name="connsiteX6" fmla="*/ 35140 w 35286"/>
                      <a:gd name="connsiteY6" fmla="*/ 2211 h 15969"/>
                      <a:gd name="connsiteX7" fmla="*/ 33710 w 35286"/>
                      <a:gd name="connsiteY7" fmla="*/ 1140 h 15969"/>
                      <a:gd name="connsiteX8" fmla="*/ 7369 w 35286"/>
                      <a:gd name="connsiteY8" fmla="*/ 238 h 15969"/>
                      <a:gd name="connsiteX9" fmla="*/ 1761 w 35286"/>
                      <a:gd name="connsiteY9" fmla="*/ 12430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86" h="15969">
                        <a:moveTo>
                          <a:pt x="1761" y="12430"/>
                        </a:moveTo>
                        <a:cubicBezTo>
                          <a:pt x="3614" y="14158"/>
                          <a:pt x="5956" y="13898"/>
                          <a:pt x="7946" y="13935"/>
                        </a:cubicBezTo>
                        <a:cubicBezTo>
                          <a:pt x="15347" y="14089"/>
                          <a:pt x="23162" y="14766"/>
                          <a:pt x="31171" y="15951"/>
                        </a:cubicBezTo>
                        <a:cubicBezTo>
                          <a:pt x="31765" y="16039"/>
                          <a:pt x="32382" y="15816"/>
                          <a:pt x="32782" y="15357"/>
                        </a:cubicBezTo>
                        <a:cubicBezTo>
                          <a:pt x="33181" y="14897"/>
                          <a:pt x="33321" y="14266"/>
                          <a:pt x="33153" y="13684"/>
                        </a:cubicBezTo>
                        <a:cubicBezTo>
                          <a:pt x="32156" y="10237"/>
                          <a:pt x="32773" y="6885"/>
                          <a:pt x="34932" y="3987"/>
                        </a:cubicBezTo>
                        <a:cubicBezTo>
                          <a:pt x="35314" y="3476"/>
                          <a:pt x="35394" y="2799"/>
                          <a:pt x="35140" y="2211"/>
                        </a:cubicBezTo>
                        <a:cubicBezTo>
                          <a:pt x="34889" y="1625"/>
                          <a:pt x="34343" y="1217"/>
                          <a:pt x="33710" y="1140"/>
                        </a:cubicBezTo>
                        <a:cubicBezTo>
                          <a:pt x="25558" y="252"/>
                          <a:pt x="16732" y="-359"/>
                          <a:pt x="7369" y="238"/>
                        </a:cubicBezTo>
                        <a:cubicBezTo>
                          <a:pt x="4022" y="1140"/>
                          <a:pt x="-3373" y="6931"/>
                          <a:pt x="1761" y="12430"/>
                        </a:cubicBezTo>
                        <a:close/>
                      </a:path>
                    </a:pathLst>
                  </a:custGeom>
                  <a:grpFill/>
                  <a:ln w="2826" cap="flat">
                    <a:noFill/>
                    <a:prstDash val="solid"/>
                    <a:miter/>
                  </a:ln>
                </p:spPr>
                <p:txBody>
                  <a:bodyPr rtlCol="0" anchor="ctr"/>
                  <a:lstStyle/>
                  <a:p>
                    <a:endParaRPr lang="fr-CA"/>
                  </a:p>
                </p:txBody>
              </p:sp>
              <p:sp>
                <p:nvSpPr>
                  <p:cNvPr id="1738" name="Forme libre : forme 1737">
                    <a:extLst>
                      <a:ext uri="{FF2B5EF4-FFF2-40B4-BE49-F238E27FC236}">
                        <a16:creationId xmlns:a16="http://schemas.microsoft.com/office/drawing/2014/main" id="{61A4BCFA-942D-73AA-B768-FEE2F160604A}"/>
                      </a:ext>
                    </a:extLst>
                  </p:cNvPr>
                  <p:cNvSpPr/>
                  <p:nvPr/>
                </p:nvSpPr>
                <p:spPr>
                  <a:xfrm>
                    <a:off x="9156994" y="4253261"/>
                    <a:ext cx="231515" cy="394784"/>
                  </a:xfrm>
                  <a:custGeom>
                    <a:avLst/>
                    <a:gdLst>
                      <a:gd name="connsiteX0" fmla="*/ 230697 w 231515"/>
                      <a:gd name="connsiteY0" fmla="*/ 200832 h 394784"/>
                      <a:gd name="connsiteX1" fmla="*/ 199717 w 231515"/>
                      <a:gd name="connsiteY1" fmla="*/ 83195 h 394784"/>
                      <a:gd name="connsiteX2" fmla="*/ 91565 w 231515"/>
                      <a:gd name="connsiteY2" fmla="*/ 138 h 394784"/>
                      <a:gd name="connsiteX3" fmla="*/ 24872 w 231515"/>
                      <a:gd name="connsiteY3" fmla="*/ 60189 h 394784"/>
                      <a:gd name="connsiteX4" fmla="*/ 5196 w 231515"/>
                      <a:gd name="connsiteY4" fmla="*/ 129845 h 394784"/>
                      <a:gd name="connsiteX5" fmla="*/ 425 w 231515"/>
                      <a:gd name="connsiteY5" fmla="*/ 165355 h 394784"/>
                      <a:gd name="connsiteX6" fmla="*/ 21417 w 231515"/>
                      <a:gd name="connsiteY6" fmla="*/ 297363 h 394784"/>
                      <a:gd name="connsiteX7" fmla="*/ 72311 w 231515"/>
                      <a:gd name="connsiteY7" fmla="*/ 363844 h 394784"/>
                      <a:gd name="connsiteX8" fmla="*/ 74864 w 231515"/>
                      <a:gd name="connsiteY8" fmla="*/ 368124 h 394784"/>
                      <a:gd name="connsiteX9" fmla="*/ 142570 w 231515"/>
                      <a:gd name="connsiteY9" fmla="*/ 394365 h 394784"/>
                      <a:gd name="connsiteX10" fmla="*/ 197238 w 231515"/>
                      <a:gd name="connsiteY10" fmla="*/ 356300 h 394784"/>
                      <a:gd name="connsiteX11" fmla="*/ 230697 w 231515"/>
                      <a:gd name="connsiteY11" fmla="*/ 200832 h 394784"/>
                      <a:gd name="connsiteX12" fmla="*/ 104439 w 231515"/>
                      <a:gd name="connsiteY12" fmla="*/ 372427 h 394784"/>
                      <a:gd name="connsiteX13" fmla="*/ 75175 w 231515"/>
                      <a:gd name="connsiteY13" fmla="*/ 347617 h 394784"/>
                      <a:gd name="connsiteX14" fmla="*/ 56407 w 231515"/>
                      <a:gd name="connsiteY14" fmla="*/ 322807 h 394784"/>
                      <a:gd name="connsiteX15" fmla="*/ 32345 w 231515"/>
                      <a:gd name="connsiteY15" fmla="*/ 69683 h 394784"/>
                      <a:gd name="connsiteX16" fmla="*/ 35731 w 231515"/>
                      <a:gd name="connsiteY16" fmla="*/ 63247 h 394784"/>
                      <a:gd name="connsiteX17" fmla="*/ 49428 w 231515"/>
                      <a:gd name="connsiteY17" fmla="*/ 39377 h 394784"/>
                      <a:gd name="connsiteX18" fmla="*/ 132242 w 231515"/>
                      <a:gd name="connsiteY18" fmla="*/ 26210 h 394784"/>
                      <a:gd name="connsiteX19" fmla="*/ 192198 w 231515"/>
                      <a:gd name="connsiteY19" fmla="*/ 104167 h 394784"/>
                      <a:gd name="connsiteX20" fmla="*/ 209091 w 231515"/>
                      <a:gd name="connsiteY20" fmla="*/ 292912 h 394784"/>
                      <a:gd name="connsiteX21" fmla="*/ 150245 w 231515"/>
                      <a:gd name="connsiteY21" fmla="*/ 374980 h 394784"/>
                      <a:gd name="connsiteX22" fmla="*/ 104439 w 231515"/>
                      <a:gd name="connsiteY22" fmla="*/ 372427 h 39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1515" h="394784">
                        <a:moveTo>
                          <a:pt x="230697" y="200832"/>
                        </a:moveTo>
                        <a:cubicBezTo>
                          <a:pt x="228835" y="166057"/>
                          <a:pt x="218425" y="121499"/>
                          <a:pt x="199717" y="83195"/>
                        </a:cubicBezTo>
                        <a:cubicBezTo>
                          <a:pt x="176397" y="35445"/>
                          <a:pt x="140183" y="-2591"/>
                          <a:pt x="91565" y="138"/>
                        </a:cubicBezTo>
                        <a:cubicBezTo>
                          <a:pt x="59782" y="4941"/>
                          <a:pt x="38646" y="29751"/>
                          <a:pt x="24872" y="60189"/>
                        </a:cubicBezTo>
                        <a:cubicBezTo>
                          <a:pt x="24096" y="61908"/>
                          <a:pt x="7966" y="99933"/>
                          <a:pt x="5196" y="129845"/>
                        </a:cubicBezTo>
                        <a:cubicBezTo>
                          <a:pt x="2715" y="141190"/>
                          <a:pt x="1064" y="153117"/>
                          <a:pt x="425" y="165355"/>
                        </a:cubicBezTo>
                        <a:cubicBezTo>
                          <a:pt x="-1817" y="208151"/>
                          <a:pt x="4762" y="258862"/>
                          <a:pt x="21417" y="297363"/>
                        </a:cubicBezTo>
                        <a:cubicBezTo>
                          <a:pt x="31477" y="320611"/>
                          <a:pt x="51958" y="347455"/>
                          <a:pt x="72311" y="363844"/>
                        </a:cubicBezTo>
                        <a:cubicBezTo>
                          <a:pt x="71811" y="364550"/>
                          <a:pt x="74058" y="367476"/>
                          <a:pt x="74864" y="368124"/>
                        </a:cubicBezTo>
                        <a:cubicBezTo>
                          <a:pt x="97427" y="387738"/>
                          <a:pt x="118693" y="396921"/>
                          <a:pt x="142570" y="394365"/>
                        </a:cubicBezTo>
                        <a:cubicBezTo>
                          <a:pt x="165969" y="389625"/>
                          <a:pt x="183858" y="375514"/>
                          <a:pt x="197238" y="356300"/>
                        </a:cubicBezTo>
                        <a:cubicBezTo>
                          <a:pt x="226671" y="314027"/>
                          <a:pt x="234272" y="247060"/>
                          <a:pt x="230697" y="200832"/>
                        </a:cubicBezTo>
                        <a:close/>
                        <a:moveTo>
                          <a:pt x="104439" y="372427"/>
                        </a:moveTo>
                        <a:cubicBezTo>
                          <a:pt x="92267" y="364338"/>
                          <a:pt x="81471" y="354459"/>
                          <a:pt x="75175" y="347617"/>
                        </a:cubicBezTo>
                        <a:cubicBezTo>
                          <a:pt x="68042" y="339868"/>
                          <a:pt x="61144" y="330491"/>
                          <a:pt x="56407" y="322807"/>
                        </a:cubicBezTo>
                        <a:cubicBezTo>
                          <a:pt x="11886" y="250561"/>
                          <a:pt x="-1234" y="155926"/>
                          <a:pt x="32345" y="69683"/>
                        </a:cubicBezTo>
                        <a:cubicBezTo>
                          <a:pt x="33958" y="66445"/>
                          <a:pt x="35271" y="63887"/>
                          <a:pt x="35731" y="63247"/>
                        </a:cubicBezTo>
                        <a:cubicBezTo>
                          <a:pt x="41493" y="55207"/>
                          <a:pt x="42053" y="46007"/>
                          <a:pt x="49428" y="39377"/>
                        </a:cubicBezTo>
                        <a:cubicBezTo>
                          <a:pt x="72811" y="18353"/>
                          <a:pt x="103057" y="7479"/>
                          <a:pt x="132242" y="26210"/>
                        </a:cubicBezTo>
                        <a:cubicBezTo>
                          <a:pt x="157443" y="40207"/>
                          <a:pt x="177836" y="68924"/>
                          <a:pt x="192198" y="104167"/>
                        </a:cubicBezTo>
                        <a:cubicBezTo>
                          <a:pt x="215589" y="161563"/>
                          <a:pt x="222982" y="236270"/>
                          <a:pt x="209091" y="292912"/>
                        </a:cubicBezTo>
                        <a:cubicBezTo>
                          <a:pt x="199474" y="332127"/>
                          <a:pt x="173464" y="367662"/>
                          <a:pt x="150245" y="374980"/>
                        </a:cubicBezTo>
                        <a:cubicBezTo>
                          <a:pt x="137961" y="378843"/>
                          <a:pt x="122571" y="377835"/>
                          <a:pt x="104439" y="372427"/>
                        </a:cubicBezTo>
                        <a:close/>
                      </a:path>
                    </a:pathLst>
                  </a:custGeom>
                  <a:grpFill/>
                  <a:ln w="2826" cap="flat">
                    <a:noFill/>
                    <a:prstDash val="solid"/>
                    <a:miter/>
                  </a:ln>
                </p:spPr>
                <p:txBody>
                  <a:bodyPr rtlCol="0" anchor="ctr"/>
                  <a:lstStyle/>
                  <a:p>
                    <a:endParaRPr lang="fr-CA"/>
                  </a:p>
                </p:txBody>
              </p:sp>
              <p:sp>
                <p:nvSpPr>
                  <p:cNvPr id="1739" name="Forme libre : forme 1738">
                    <a:extLst>
                      <a:ext uri="{FF2B5EF4-FFF2-40B4-BE49-F238E27FC236}">
                        <a16:creationId xmlns:a16="http://schemas.microsoft.com/office/drawing/2014/main" id="{5F21F6C4-26B6-9BAA-87B0-77C2298AE5CF}"/>
                      </a:ext>
                    </a:extLst>
                  </p:cNvPr>
                  <p:cNvSpPr/>
                  <p:nvPr/>
                </p:nvSpPr>
                <p:spPr>
                  <a:xfrm>
                    <a:off x="9271862" y="4429877"/>
                    <a:ext cx="22922" cy="35961"/>
                  </a:xfrm>
                  <a:custGeom>
                    <a:avLst/>
                    <a:gdLst>
                      <a:gd name="connsiteX0" fmla="*/ 19555 w 22922"/>
                      <a:gd name="connsiteY0" fmla="*/ 7618 h 35961"/>
                      <a:gd name="connsiteX1" fmla="*/ 8468 w 22922"/>
                      <a:gd name="connsiteY1" fmla="*/ 0 h 35961"/>
                      <a:gd name="connsiteX2" fmla="*/ 510 w 22922"/>
                      <a:gd name="connsiteY2" fmla="*/ 12312 h 35961"/>
                      <a:gd name="connsiteX3" fmla="*/ 1415 w 22922"/>
                      <a:gd name="connsiteY3" fmla="*/ 20045 h 35961"/>
                      <a:gd name="connsiteX4" fmla="*/ 1767 w 22922"/>
                      <a:gd name="connsiteY4" fmla="*/ 26483 h 35961"/>
                      <a:gd name="connsiteX5" fmla="*/ 10481 w 22922"/>
                      <a:gd name="connsiteY5" fmla="*/ 35172 h 35961"/>
                      <a:gd name="connsiteX6" fmla="*/ 11712 w 22922"/>
                      <a:gd name="connsiteY6" fmla="*/ 35837 h 35961"/>
                      <a:gd name="connsiteX7" fmla="*/ 21334 w 22922"/>
                      <a:gd name="connsiteY7" fmla="*/ 30986 h 35961"/>
                      <a:gd name="connsiteX8" fmla="*/ 19555 w 22922"/>
                      <a:gd name="connsiteY8" fmla="*/ 7618 h 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 h="35961">
                        <a:moveTo>
                          <a:pt x="19555" y="7618"/>
                        </a:moveTo>
                        <a:cubicBezTo>
                          <a:pt x="17003" y="3358"/>
                          <a:pt x="13168" y="722"/>
                          <a:pt x="8468" y="0"/>
                        </a:cubicBezTo>
                        <a:cubicBezTo>
                          <a:pt x="4368" y="297"/>
                          <a:pt x="2972" y="10097"/>
                          <a:pt x="510" y="12312"/>
                        </a:cubicBezTo>
                        <a:cubicBezTo>
                          <a:pt x="-1146" y="13417"/>
                          <a:pt x="1792" y="18857"/>
                          <a:pt x="1415" y="20045"/>
                        </a:cubicBezTo>
                        <a:cubicBezTo>
                          <a:pt x="2195" y="22443"/>
                          <a:pt x="490" y="24505"/>
                          <a:pt x="1767" y="26483"/>
                        </a:cubicBezTo>
                        <a:cubicBezTo>
                          <a:pt x="4596" y="29433"/>
                          <a:pt x="7997" y="32080"/>
                          <a:pt x="10481" y="35172"/>
                        </a:cubicBezTo>
                        <a:cubicBezTo>
                          <a:pt x="10784" y="35552"/>
                          <a:pt x="11226" y="35792"/>
                          <a:pt x="11712" y="35837"/>
                        </a:cubicBezTo>
                        <a:cubicBezTo>
                          <a:pt x="15378" y="36166"/>
                          <a:pt x="19613" y="36214"/>
                          <a:pt x="21334" y="30986"/>
                        </a:cubicBezTo>
                        <a:cubicBezTo>
                          <a:pt x="23990" y="23408"/>
                          <a:pt x="23262" y="13806"/>
                          <a:pt x="19555" y="7618"/>
                        </a:cubicBezTo>
                        <a:close/>
                      </a:path>
                    </a:pathLst>
                  </a:custGeom>
                  <a:grpFill/>
                  <a:ln w="2826" cap="flat">
                    <a:noFill/>
                    <a:prstDash val="solid"/>
                    <a:miter/>
                  </a:ln>
                </p:spPr>
                <p:txBody>
                  <a:bodyPr rtlCol="0" anchor="ctr"/>
                  <a:lstStyle/>
                  <a:p>
                    <a:endParaRPr lang="fr-CA"/>
                  </a:p>
                </p:txBody>
              </p:sp>
              <p:sp>
                <p:nvSpPr>
                  <p:cNvPr id="1740" name="Forme libre : forme 1739">
                    <a:extLst>
                      <a:ext uri="{FF2B5EF4-FFF2-40B4-BE49-F238E27FC236}">
                        <a16:creationId xmlns:a16="http://schemas.microsoft.com/office/drawing/2014/main" id="{171A505E-CC4D-7A2E-04CA-AF8E36DE2120}"/>
                      </a:ext>
                    </a:extLst>
                  </p:cNvPr>
                  <p:cNvSpPr/>
                  <p:nvPr/>
                </p:nvSpPr>
                <p:spPr>
                  <a:xfrm>
                    <a:off x="9245388" y="4433424"/>
                    <a:ext cx="19273" cy="36497"/>
                  </a:xfrm>
                  <a:custGeom>
                    <a:avLst/>
                    <a:gdLst>
                      <a:gd name="connsiteX0" fmla="*/ 19178 w 19273"/>
                      <a:gd name="connsiteY0" fmla="*/ 17897 h 36497"/>
                      <a:gd name="connsiteX1" fmla="*/ 6657 w 19273"/>
                      <a:gd name="connsiteY1" fmla="*/ 0 h 36497"/>
                      <a:gd name="connsiteX2" fmla="*/ 2177 w 19273"/>
                      <a:gd name="connsiteY2" fmla="*/ 8757 h 36497"/>
                      <a:gd name="connsiteX3" fmla="*/ 4493 w 19273"/>
                      <a:gd name="connsiteY3" fmla="*/ 28434 h 36497"/>
                      <a:gd name="connsiteX4" fmla="*/ 9164 w 19273"/>
                      <a:gd name="connsiteY4" fmla="*/ 36497 h 36497"/>
                      <a:gd name="connsiteX5" fmla="*/ 19178 w 19273"/>
                      <a:gd name="connsiteY5" fmla="*/ 17897 h 3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3" h="36497">
                        <a:moveTo>
                          <a:pt x="19178" y="17897"/>
                        </a:moveTo>
                        <a:cubicBezTo>
                          <a:pt x="18447" y="12858"/>
                          <a:pt x="13356" y="68"/>
                          <a:pt x="6657" y="0"/>
                        </a:cubicBezTo>
                        <a:cubicBezTo>
                          <a:pt x="2971" y="166"/>
                          <a:pt x="-3357" y="8846"/>
                          <a:pt x="2177" y="8757"/>
                        </a:cubicBezTo>
                        <a:cubicBezTo>
                          <a:pt x="11874" y="5896"/>
                          <a:pt x="13590" y="28359"/>
                          <a:pt x="4493" y="28434"/>
                        </a:cubicBezTo>
                        <a:cubicBezTo>
                          <a:pt x="-339" y="28573"/>
                          <a:pt x="4738" y="36069"/>
                          <a:pt x="9164" y="36497"/>
                        </a:cubicBezTo>
                        <a:cubicBezTo>
                          <a:pt x="15517" y="35792"/>
                          <a:pt x="19994" y="22209"/>
                          <a:pt x="19178" y="17897"/>
                        </a:cubicBezTo>
                        <a:close/>
                      </a:path>
                    </a:pathLst>
                  </a:custGeom>
                  <a:grpFill/>
                  <a:ln w="2826" cap="flat">
                    <a:noFill/>
                    <a:prstDash val="solid"/>
                    <a:miter/>
                  </a:ln>
                </p:spPr>
                <p:txBody>
                  <a:bodyPr rtlCol="0" anchor="ctr"/>
                  <a:lstStyle/>
                  <a:p>
                    <a:endParaRPr lang="fr-CA"/>
                  </a:p>
                </p:txBody>
              </p:sp>
              <p:sp>
                <p:nvSpPr>
                  <p:cNvPr id="1741" name="Forme libre : forme 1740">
                    <a:extLst>
                      <a:ext uri="{FF2B5EF4-FFF2-40B4-BE49-F238E27FC236}">
                        <a16:creationId xmlns:a16="http://schemas.microsoft.com/office/drawing/2014/main" id="{44334D6F-000E-F09F-B048-730BA67600B8}"/>
                      </a:ext>
                    </a:extLst>
                  </p:cNvPr>
                  <p:cNvSpPr/>
                  <p:nvPr/>
                </p:nvSpPr>
                <p:spPr>
                  <a:xfrm>
                    <a:off x="9289044" y="4244828"/>
                    <a:ext cx="172667" cy="28029"/>
                  </a:xfrm>
                  <a:custGeom>
                    <a:avLst/>
                    <a:gdLst>
                      <a:gd name="connsiteX0" fmla="*/ 171158 w 172667"/>
                      <a:gd name="connsiteY0" fmla="*/ 12983 h 28029"/>
                      <a:gd name="connsiteX1" fmla="*/ 170633 w 172667"/>
                      <a:gd name="connsiteY1" fmla="*/ 12929 h 28029"/>
                      <a:gd name="connsiteX2" fmla="*/ 170636 w 172667"/>
                      <a:gd name="connsiteY2" fmla="*/ 12900 h 28029"/>
                      <a:gd name="connsiteX3" fmla="*/ 151622 w 172667"/>
                      <a:gd name="connsiteY3" fmla="*/ 9868 h 28029"/>
                      <a:gd name="connsiteX4" fmla="*/ 136731 w 172667"/>
                      <a:gd name="connsiteY4" fmla="*/ 8080 h 28029"/>
                      <a:gd name="connsiteX5" fmla="*/ 123308 w 172667"/>
                      <a:gd name="connsiteY5" fmla="*/ 10068 h 28029"/>
                      <a:gd name="connsiteX6" fmla="*/ 97587 w 172667"/>
                      <a:gd name="connsiteY6" fmla="*/ 12366 h 28029"/>
                      <a:gd name="connsiteX7" fmla="*/ 2987 w 172667"/>
                      <a:gd name="connsiteY7" fmla="*/ 377 h 28029"/>
                      <a:gd name="connsiteX8" fmla="*/ 451 w 172667"/>
                      <a:gd name="connsiteY8" fmla="*/ 7181 h 28029"/>
                      <a:gd name="connsiteX9" fmla="*/ 2207 w 172667"/>
                      <a:gd name="connsiteY9" fmla="*/ 14602 h 28029"/>
                      <a:gd name="connsiteX10" fmla="*/ 105842 w 172667"/>
                      <a:gd name="connsiteY10" fmla="*/ 25889 h 28029"/>
                      <a:gd name="connsiteX11" fmla="*/ 146380 w 172667"/>
                      <a:gd name="connsiteY11" fmla="*/ 16475 h 28029"/>
                      <a:gd name="connsiteX12" fmla="*/ 161407 w 172667"/>
                      <a:gd name="connsiteY12" fmla="*/ 18522 h 28029"/>
                      <a:gd name="connsiteX13" fmla="*/ 170542 w 172667"/>
                      <a:gd name="connsiteY13" fmla="*/ 19747 h 28029"/>
                      <a:gd name="connsiteX14" fmla="*/ 172657 w 172667"/>
                      <a:gd name="connsiteY14" fmla="*/ 17983 h 28029"/>
                      <a:gd name="connsiteX15" fmla="*/ 171158 w 172667"/>
                      <a:gd name="connsiteY15" fmla="*/ 12983 h 2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667" h="28029">
                        <a:moveTo>
                          <a:pt x="171158" y="12983"/>
                        </a:moveTo>
                        <a:cubicBezTo>
                          <a:pt x="170984" y="12954"/>
                          <a:pt x="170819" y="12929"/>
                          <a:pt x="170633" y="12929"/>
                        </a:cubicBezTo>
                        <a:cubicBezTo>
                          <a:pt x="170633" y="12917"/>
                          <a:pt x="170633" y="12909"/>
                          <a:pt x="170636" y="12900"/>
                        </a:cubicBezTo>
                        <a:lnTo>
                          <a:pt x="151622" y="9868"/>
                        </a:lnTo>
                        <a:cubicBezTo>
                          <a:pt x="151613" y="10019"/>
                          <a:pt x="139378" y="8246"/>
                          <a:pt x="136731" y="8080"/>
                        </a:cubicBezTo>
                        <a:cubicBezTo>
                          <a:pt x="132354" y="9277"/>
                          <a:pt x="127960" y="9662"/>
                          <a:pt x="123308" y="10068"/>
                        </a:cubicBezTo>
                        <a:cubicBezTo>
                          <a:pt x="114702" y="10927"/>
                          <a:pt x="106910" y="11424"/>
                          <a:pt x="97587" y="12366"/>
                        </a:cubicBezTo>
                        <a:cubicBezTo>
                          <a:pt x="65391" y="15441"/>
                          <a:pt x="25321" y="19268"/>
                          <a:pt x="2987" y="377"/>
                        </a:cubicBezTo>
                        <a:cubicBezTo>
                          <a:pt x="-1216" y="-1642"/>
                          <a:pt x="152" y="5011"/>
                          <a:pt x="451" y="7181"/>
                        </a:cubicBezTo>
                        <a:cubicBezTo>
                          <a:pt x="1174" y="9379"/>
                          <a:pt x="-519" y="14236"/>
                          <a:pt x="2207" y="14602"/>
                        </a:cubicBezTo>
                        <a:cubicBezTo>
                          <a:pt x="36412" y="22574"/>
                          <a:pt x="71130" y="22977"/>
                          <a:pt x="105842" y="25889"/>
                        </a:cubicBezTo>
                        <a:cubicBezTo>
                          <a:pt x="119454" y="28682"/>
                          <a:pt x="140295" y="31217"/>
                          <a:pt x="146380" y="16475"/>
                        </a:cubicBezTo>
                        <a:cubicBezTo>
                          <a:pt x="151511" y="17280"/>
                          <a:pt x="158732" y="18231"/>
                          <a:pt x="161407" y="18522"/>
                        </a:cubicBezTo>
                        <a:cubicBezTo>
                          <a:pt x="164414" y="18851"/>
                          <a:pt x="167526" y="19188"/>
                          <a:pt x="170542" y="19747"/>
                        </a:cubicBezTo>
                        <a:cubicBezTo>
                          <a:pt x="171601" y="19973"/>
                          <a:pt x="172689" y="19071"/>
                          <a:pt x="172657" y="17983"/>
                        </a:cubicBezTo>
                        <a:cubicBezTo>
                          <a:pt x="172535" y="16549"/>
                          <a:pt x="173197" y="13411"/>
                          <a:pt x="171158" y="12983"/>
                        </a:cubicBezTo>
                        <a:close/>
                      </a:path>
                    </a:pathLst>
                  </a:custGeom>
                  <a:grpFill/>
                  <a:ln w="2826" cap="flat">
                    <a:noFill/>
                    <a:prstDash val="solid"/>
                    <a:miter/>
                  </a:ln>
                </p:spPr>
                <p:txBody>
                  <a:bodyPr rtlCol="0" anchor="ctr"/>
                  <a:lstStyle/>
                  <a:p>
                    <a:endParaRPr lang="fr-CA"/>
                  </a:p>
                </p:txBody>
              </p:sp>
            </p:grpSp>
            <p:grpSp>
              <p:nvGrpSpPr>
                <p:cNvPr id="1721" name="Graphique 35" descr="Garçon dans un fauteuil roulant">
                  <a:extLst>
                    <a:ext uri="{FF2B5EF4-FFF2-40B4-BE49-F238E27FC236}">
                      <a16:creationId xmlns:a16="http://schemas.microsoft.com/office/drawing/2014/main" id="{92BC9850-9C8E-CFFF-1085-A469BFB0005D}"/>
                    </a:ext>
                  </a:extLst>
                </p:cNvPr>
                <p:cNvGrpSpPr/>
                <p:nvPr/>
              </p:nvGrpSpPr>
              <p:grpSpPr>
                <a:xfrm>
                  <a:off x="9476564" y="4235455"/>
                  <a:ext cx="283060" cy="335695"/>
                  <a:chOff x="9476564" y="4235455"/>
                  <a:chExt cx="283060" cy="335695"/>
                </a:xfrm>
                <a:grpFill/>
              </p:grpSpPr>
              <p:sp>
                <p:nvSpPr>
                  <p:cNvPr id="1731" name="Forme libre : forme 1730">
                    <a:extLst>
                      <a:ext uri="{FF2B5EF4-FFF2-40B4-BE49-F238E27FC236}">
                        <a16:creationId xmlns:a16="http://schemas.microsoft.com/office/drawing/2014/main" id="{AA256A47-E9C5-405A-2597-F7595757D233}"/>
                      </a:ext>
                    </a:extLst>
                  </p:cNvPr>
                  <p:cNvSpPr/>
                  <p:nvPr/>
                </p:nvSpPr>
                <p:spPr>
                  <a:xfrm>
                    <a:off x="9476564" y="4235455"/>
                    <a:ext cx="283060" cy="335695"/>
                  </a:xfrm>
                  <a:custGeom>
                    <a:avLst/>
                    <a:gdLst>
                      <a:gd name="connsiteX0" fmla="*/ 280186 w 283060"/>
                      <a:gd name="connsiteY0" fmla="*/ 129361 h 335695"/>
                      <a:gd name="connsiteX1" fmla="*/ 217592 w 283060"/>
                      <a:gd name="connsiteY1" fmla="*/ 27439 h 335695"/>
                      <a:gd name="connsiteX2" fmla="*/ 102632 w 283060"/>
                      <a:gd name="connsiteY2" fmla="*/ 5 h 335695"/>
                      <a:gd name="connsiteX3" fmla="*/ 54494 w 283060"/>
                      <a:gd name="connsiteY3" fmla="*/ 6792 h 335695"/>
                      <a:gd name="connsiteX4" fmla="*/ 52532 w 283060"/>
                      <a:gd name="connsiteY4" fmla="*/ 9179 h 335695"/>
                      <a:gd name="connsiteX5" fmla="*/ 53249 w 283060"/>
                      <a:gd name="connsiteY5" fmla="*/ 13950 h 335695"/>
                      <a:gd name="connsiteX6" fmla="*/ 46331 w 283060"/>
                      <a:gd name="connsiteY6" fmla="*/ 17051 h 335695"/>
                      <a:gd name="connsiteX7" fmla="*/ 39252 w 283060"/>
                      <a:gd name="connsiteY7" fmla="*/ 18402 h 335695"/>
                      <a:gd name="connsiteX8" fmla="*/ 34401 w 283060"/>
                      <a:gd name="connsiteY8" fmla="*/ 15381 h 335695"/>
                      <a:gd name="connsiteX9" fmla="*/ 33684 w 283060"/>
                      <a:gd name="connsiteY9" fmla="*/ 28501 h 335695"/>
                      <a:gd name="connsiteX10" fmla="*/ 14519 w 283060"/>
                      <a:gd name="connsiteY10" fmla="*/ 14904 h 335695"/>
                      <a:gd name="connsiteX11" fmla="*/ 442 w 283060"/>
                      <a:gd name="connsiteY11" fmla="*/ 14904 h 335695"/>
                      <a:gd name="connsiteX12" fmla="*/ 2464 w 283060"/>
                      <a:gd name="connsiteY12" fmla="*/ 124347 h 335695"/>
                      <a:gd name="connsiteX13" fmla="*/ 4314 w 283060"/>
                      <a:gd name="connsiteY13" fmla="*/ 126074 h 335695"/>
                      <a:gd name="connsiteX14" fmla="*/ 18451 w 283060"/>
                      <a:gd name="connsiteY14" fmla="*/ 131733 h 335695"/>
                      <a:gd name="connsiteX15" fmla="*/ 22748 w 283060"/>
                      <a:gd name="connsiteY15" fmla="*/ 164416 h 335695"/>
                      <a:gd name="connsiteX16" fmla="*/ 23988 w 283060"/>
                      <a:gd name="connsiteY16" fmla="*/ 166346 h 335695"/>
                      <a:gd name="connsiteX17" fmla="*/ 54314 w 283060"/>
                      <a:gd name="connsiteY17" fmla="*/ 205633 h 335695"/>
                      <a:gd name="connsiteX18" fmla="*/ 76497 w 283060"/>
                      <a:gd name="connsiteY18" fmla="*/ 312163 h 335695"/>
                      <a:gd name="connsiteX19" fmla="*/ 78153 w 283060"/>
                      <a:gd name="connsiteY19" fmla="*/ 324418 h 335695"/>
                      <a:gd name="connsiteX20" fmla="*/ 87253 w 283060"/>
                      <a:gd name="connsiteY20" fmla="*/ 326371 h 335695"/>
                      <a:gd name="connsiteX21" fmla="*/ 112372 w 283060"/>
                      <a:gd name="connsiteY21" fmla="*/ 316446 h 335695"/>
                      <a:gd name="connsiteX22" fmla="*/ 110759 w 283060"/>
                      <a:gd name="connsiteY22" fmla="*/ 300193 h 335695"/>
                      <a:gd name="connsiteX23" fmla="*/ 116801 w 283060"/>
                      <a:gd name="connsiteY23" fmla="*/ 277353 h 335695"/>
                      <a:gd name="connsiteX24" fmla="*/ 111675 w 283060"/>
                      <a:gd name="connsiteY24" fmla="*/ 223359 h 335695"/>
                      <a:gd name="connsiteX25" fmla="*/ 109314 w 283060"/>
                      <a:gd name="connsiteY25" fmla="*/ 99913 h 335695"/>
                      <a:gd name="connsiteX26" fmla="*/ 113917 w 283060"/>
                      <a:gd name="connsiteY26" fmla="*/ 98197 h 335695"/>
                      <a:gd name="connsiteX27" fmla="*/ 158412 w 283060"/>
                      <a:gd name="connsiteY27" fmla="*/ 114556 h 335695"/>
                      <a:gd name="connsiteX28" fmla="*/ 194335 w 283060"/>
                      <a:gd name="connsiteY28" fmla="*/ 132082 h 335695"/>
                      <a:gd name="connsiteX29" fmla="*/ 193447 w 283060"/>
                      <a:gd name="connsiteY29" fmla="*/ 277214 h 335695"/>
                      <a:gd name="connsiteX30" fmla="*/ 197102 w 283060"/>
                      <a:gd name="connsiteY30" fmla="*/ 291744 h 335695"/>
                      <a:gd name="connsiteX31" fmla="*/ 200828 w 283060"/>
                      <a:gd name="connsiteY31" fmla="*/ 319770 h 335695"/>
                      <a:gd name="connsiteX32" fmla="*/ 202375 w 283060"/>
                      <a:gd name="connsiteY32" fmla="*/ 331145 h 335695"/>
                      <a:gd name="connsiteX33" fmla="*/ 205068 w 283060"/>
                      <a:gd name="connsiteY33" fmla="*/ 334935 h 335695"/>
                      <a:gd name="connsiteX34" fmla="*/ 246887 w 283060"/>
                      <a:gd name="connsiteY34" fmla="*/ 331360 h 335695"/>
                      <a:gd name="connsiteX35" fmla="*/ 256344 w 283060"/>
                      <a:gd name="connsiteY35" fmla="*/ 327930 h 335695"/>
                      <a:gd name="connsiteX36" fmla="*/ 265656 w 283060"/>
                      <a:gd name="connsiteY36" fmla="*/ 312329 h 335695"/>
                      <a:gd name="connsiteX37" fmla="*/ 267811 w 283060"/>
                      <a:gd name="connsiteY37" fmla="*/ 297529 h 335695"/>
                      <a:gd name="connsiteX38" fmla="*/ 277540 w 283060"/>
                      <a:gd name="connsiteY38" fmla="*/ 275383 h 335695"/>
                      <a:gd name="connsiteX39" fmla="*/ 280186 w 283060"/>
                      <a:gd name="connsiteY39" fmla="*/ 129361 h 33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3060" h="335695">
                        <a:moveTo>
                          <a:pt x="280186" y="129361"/>
                        </a:moveTo>
                        <a:cubicBezTo>
                          <a:pt x="291305" y="78296"/>
                          <a:pt x="270107" y="40285"/>
                          <a:pt x="217592" y="27439"/>
                        </a:cubicBezTo>
                        <a:cubicBezTo>
                          <a:pt x="207150" y="24615"/>
                          <a:pt x="103572" y="-395"/>
                          <a:pt x="102632" y="5"/>
                        </a:cubicBezTo>
                        <a:cubicBezTo>
                          <a:pt x="91182" y="4882"/>
                          <a:pt x="72945" y="14636"/>
                          <a:pt x="54494" y="6792"/>
                        </a:cubicBezTo>
                        <a:cubicBezTo>
                          <a:pt x="54237" y="6683"/>
                          <a:pt x="53235" y="6741"/>
                          <a:pt x="52532" y="9179"/>
                        </a:cubicBezTo>
                        <a:cubicBezTo>
                          <a:pt x="52158" y="10478"/>
                          <a:pt x="53752" y="12211"/>
                          <a:pt x="53249" y="13950"/>
                        </a:cubicBezTo>
                        <a:cubicBezTo>
                          <a:pt x="52847" y="15349"/>
                          <a:pt x="50611" y="18071"/>
                          <a:pt x="46331" y="17051"/>
                        </a:cubicBezTo>
                        <a:cubicBezTo>
                          <a:pt x="45742" y="16911"/>
                          <a:pt x="44900" y="20949"/>
                          <a:pt x="39252" y="18402"/>
                        </a:cubicBezTo>
                        <a:cubicBezTo>
                          <a:pt x="38338" y="17991"/>
                          <a:pt x="34655" y="14610"/>
                          <a:pt x="34401" y="15381"/>
                        </a:cubicBezTo>
                        <a:cubicBezTo>
                          <a:pt x="33296" y="18716"/>
                          <a:pt x="37096" y="28124"/>
                          <a:pt x="33684" y="28501"/>
                        </a:cubicBezTo>
                        <a:cubicBezTo>
                          <a:pt x="30107" y="28898"/>
                          <a:pt x="21503" y="19024"/>
                          <a:pt x="14519" y="14904"/>
                        </a:cubicBezTo>
                        <a:cubicBezTo>
                          <a:pt x="10585" y="12583"/>
                          <a:pt x="4617" y="14724"/>
                          <a:pt x="442" y="14904"/>
                        </a:cubicBezTo>
                        <a:cubicBezTo>
                          <a:pt x="-1162" y="47583"/>
                          <a:pt x="2087" y="96067"/>
                          <a:pt x="2464" y="124347"/>
                        </a:cubicBezTo>
                        <a:cubicBezTo>
                          <a:pt x="2478" y="125306"/>
                          <a:pt x="3352" y="126126"/>
                          <a:pt x="4314" y="126074"/>
                        </a:cubicBezTo>
                        <a:cubicBezTo>
                          <a:pt x="9205" y="125986"/>
                          <a:pt x="6961" y="125489"/>
                          <a:pt x="18451" y="131733"/>
                        </a:cubicBezTo>
                        <a:cubicBezTo>
                          <a:pt x="21997" y="134218"/>
                          <a:pt x="24210" y="152863"/>
                          <a:pt x="22748" y="164416"/>
                        </a:cubicBezTo>
                        <a:cubicBezTo>
                          <a:pt x="22640" y="165275"/>
                          <a:pt x="23162" y="166086"/>
                          <a:pt x="23988" y="166346"/>
                        </a:cubicBezTo>
                        <a:cubicBezTo>
                          <a:pt x="44635" y="172839"/>
                          <a:pt x="52076" y="195987"/>
                          <a:pt x="54314" y="205633"/>
                        </a:cubicBezTo>
                        <a:cubicBezTo>
                          <a:pt x="63029" y="241016"/>
                          <a:pt x="67743" y="277502"/>
                          <a:pt x="76497" y="312163"/>
                        </a:cubicBezTo>
                        <a:cubicBezTo>
                          <a:pt x="76609" y="317083"/>
                          <a:pt x="77231" y="319844"/>
                          <a:pt x="78153" y="324418"/>
                        </a:cubicBezTo>
                        <a:cubicBezTo>
                          <a:pt x="78942" y="327088"/>
                          <a:pt x="85369" y="325983"/>
                          <a:pt x="87253" y="326371"/>
                        </a:cubicBezTo>
                        <a:cubicBezTo>
                          <a:pt x="96422" y="326143"/>
                          <a:pt x="104440" y="323470"/>
                          <a:pt x="112372" y="316446"/>
                        </a:cubicBezTo>
                        <a:cubicBezTo>
                          <a:pt x="113523" y="309045"/>
                          <a:pt x="113049" y="308211"/>
                          <a:pt x="110759" y="300193"/>
                        </a:cubicBezTo>
                        <a:cubicBezTo>
                          <a:pt x="120495" y="292610"/>
                          <a:pt x="122723" y="286668"/>
                          <a:pt x="116801" y="277353"/>
                        </a:cubicBezTo>
                        <a:cubicBezTo>
                          <a:pt x="107538" y="262586"/>
                          <a:pt x="110739" y="240365"/>
                          <a:pt x="111675" y="223359"/>
                        </a:cubicBezTo>
                        <a:cubicBezTo>
                          <a:pt x="114131" y="182901"/>
                          <a:pt x="114271" y="144577"/>
                          <a:pt x="109314" y="99913"/>
                        </a:cubicBezTo>
                        <a:cubicBezTo>
                          <a:pt x="109231" y="99163"/>
                          <a:pt x="110961" y="98155"/>
                          <a:pt x="113917" y="98197"/>
                        </a:cubicBezTo>
                        <a:cubicBezTo>
                          <a:pt x="130038" y="97481"/>
                          <a:pt x="143735" y="106618"/>
                          <a:pt x="158412" y="114556"/>
                        </a:cubicBezTo>
                        <a:cubicBezTo>
                          <a:pt x="168571" y="119361"/>
                          <a:pt x="195131" y="128578"/>
                          <a:pt x="194335" y="132082"/>
                        </a:cubicBezTo>
                        <a:cubicBezTo>
                          <a:pt x="202627" y="181525"/>
                          <a:pt x="197750" y="232362"/>
                          <a:pt x="193447" y="277214"/>
                        </a:cubicBezTo>
                        <a:cubicBezTo>
                          <a:pt x="193749" y="282333"/>
                          <a:pt x="195508" y="287142"/>
                          <a:pt x="197102" y="291744"/>
                        </a:cubicBezTo>
                        <a:cubicBezTo>
                          <a:pt x="198875" y="296787"/>
                          <a:pt x="201370" y="316977"/>
                          <a:pt x="200828" y="319770"/>
                        </a:cubicBezTo>
                        <a:cubicBezTo>
                          <a:pt x="200728" y="323370"/>
                          <a:pt x="200094" y="328373"/>
                          <a:pt x="202375" y="331145"/>
                        </a:cubicBezTo>
                        <a:cubicBezTo>
                          <a:pt x="203475" y="332445"/>
                          <a:pt x="203178" y="334663"/>
                          <a:pt x="205068" y="334935"/>
                        </a:cubicBezTo>
                        <a:cubicBezTo>
                          <a:pt x="219742" y="336853"/>
                          <a:pt x="233396" y="334954"/>
                          <a:pt x="246887" y="331360"/>
                        </a:cubicBezTo>
                        <a:cubicBezTo>
                          <a:pt x="250265" y="329878"/>
                          <a:pt x="253409" y="328142"/>
                          <a:pt x="256344" y="327930"/>
                        </a:cubicBezTo>
                        <a:cubicBezTo>
                          <a:pt x="259405" y="327668"/>
                          <a:pt x="257115" y="315809"/>
                          <a:pt x="265656" y="312329"/>
                        </a:cubicBezTo>
                        <a:cubicBezTo>
                          <a:pt x="267389" y="311735"/>
                          <a:pt x="267346" y="303066"/>
                          <a:pt x="267811" y="297529"/>
                        </a:cubicBezTo>
                        <a:cubicBezTo>
                          <a:pt x="274256" y="293303"/>
                          <a:pt x="285806" y="282702"/>
                          <a:pt x="277540" y="275383"/>
                        </a:cubicBezTo>
                        <a:cubicBezTo>
                          <a:pt x="258746" y="259208"/>
                          <a:pt x="279647" y="156752"/>
                          <a:pt x="280186" y="129361"/>
                        </a:cubicBezTo>
                        <a:close/>
                      </a:path>
                    </a:pathLst>
                  </a:custGeom>
                  <a:grpFill/>
                  <a:ln w="2826" cap="flat">
                    <a:noFill/>
                    <a:prstDash val="solid"/>
                    <a:miter/>
                  </a:ln>
                </p:spPr>
                <p:txBody>
                  <a:bodyPr rtlCol="0" anchor="ctr"/>
                  <a:lstStyle/>
                  <a:p>
                    <a:endParaRPr lang="fr-CA"/>
                  </a:p>
                </p:txBody>
              </p:sp>
              <p:sp>
                <p:nvSpPr>
                  <p:cNvPr id="1732" name="Forme libre : forme 1731">
                    <a:extLst>
                      <a:ext uri="{FF2B5EF4-FFF2-40B4-BE49-F238E27FC236}">
                        <a16:creationId xmlns:a16="http://schemas.microsoft.com/office/drawing/2014/main" id="{76180362-F312-BBE4-027C-9ADB2289107E}"/>
                      </a:ext>
                    </a:extLst>
                  </p:cNvPr>
                  <p:cNvSpPr/>
                  <p:nvPr/>
                </p:nvSpPr>
                <p:spPr>
                  <a:xfrm>
                    <a:off x="9501972" y="4424098"/>
                    <a:ext cx="34682" cy="119787"/>
                  </a:xfrm>
                  <a:custGeom>
                    <a:avLst/>
                    <a:gdLst>
                      <a:gd name="connsiteX0" fmla="*/ 28812 w 34682"/>
                      <a:gd name="connsiteY0" fmla="*/ 87888 h 119787"/>
                      <a:gd name="connsiteX1" fmla="*/ 935 w 34682"/>
                      <a:gd name="connsiteY1" fmla="*/ 0 h 119787"/>
                      <a:gd name="connsiteX2" fmla="*/ 1544 w 34682"/>
                      <a:gd name="connsiteY2" fmla="*/ 11379 h 119787"/>
                      <a:gd name="connsiteX3" fmla="*/ 20138 w 34682"/>
                      <a:gd name="connsiteY3" fmla="*/ 77172 h 119787"/>
                      <a:gd name="connsiteX4" fmla="*/ 32002 w 34682"/>
                      <a:gd name="connsiteY4" fmla="*/ 119548 h 119787"/>
                      <a:gd name="connsiteX5" fmla="*/ 33940 w 34682"/>
                      <a:gd name="connsiteY5" fmla="*/ 119448 h 119787"/>
                      <a:gd name="connsiteX6" fmla="*/ 34646 w 34682"/>
                      <a:gd name="connsiteY6" fmla="*/ 117640 h 119787"/>
                      <a:gd name="connsiteX7" fmla="*/ 28812 w 34682"/>
                      <a:gd name="connsiteY7" fmla="*/ 87888 h 11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2" h="119787">
                        <a:moveTo>
                          <a:pt x="28812" y="87888"/>
                        </a:moveTo>
                        <a:cubicBezTo>
                          <a:pt x="23202" y="67061"/>
                          <a:pt x="18856" y="10222"/>
                          <a:pt x="935" y="0"/>
                        </a:cubicBezTo>
                        <a:cubicBezTo>
                          <a:pt x="-1514" y="1082"/>
                          <a:pt x="1632" y="8912"/>
                          <a:pt x="1544" y="11379"/>
                        </a:cubicBezTo>
                        <a:cubicBezTo>
                          <a:pt x="4074" y="34004"/>
                          <a:pt x="12805" y="55791"/>
                          <a:pt x="20138" y="77172"/>
                        </a:cubicBezTo>
                        <a:cubicBezTo>
                          <a:pt x="17117" y="91668"/>
                          <a:pt x="16623" y="111493"/>
                          <a:pt x="32002" y="119548"/>
                        </a:cubicBezTo>
                        <a:cubicBezTo>
                          <a:pt x="32610" y="119899"/>
                          <a:pt x="33369" y="119862"/>
                          <a:pt x="33940" y="119448"/>
                        </a:cubicBezTo>
                        <a:cubicBezTo>
                          <a:pt x="34512" y="119037"/>
                          <a:pt x="34789" y="118329"/>
                          <a:pt x="34646" y="117640"/>
                        </a:cubicBezTo>
                        <a:cubicBezTo>
                          <a:pt x="32627" y="107747"/>
                          <a:pt x="30688" y="97650"/>
                          <a:pt x="28812" y="87888"/>
                        </a:cubicBezTo>
                        <a:close/>
                      </a:path>
                    </a:pathLst>
                  </a:custGeom>
                  <a:grpFill/>
                  <a:ln w="2826" cap="flat">
                    <a:noFill/>
                    <a:prstDash val="solid"/>
                    <a:miter/>
                  </a:ln>
                </p:spPr>
                <p:txBody>
                  <a:bodyPr rtlCol="0" anchor="ctr"/>
                  <a:lstStyle/>
                  <a:p>
                    <a:endParaRPr lang="fr-CA"/>
                  </a:p>
                </p:txBody>
              </p:sp>
            </p:grpSp>
            <p:grpSp>
              <p:nvGrpSpPr>
                <p:cNvPr id="1722" name="Graphique 35" descr="Garçon dans un fauteuil roulant">
                  <a:extLst>
                    <a:ext uri="{FF2B5EF4-FFF2-40B4-BE49-F238E27FC236}">
                      <a16:creationId xmlns:a16="http://schemas.microsoft.com/office/drawing/2014/main" id="{9A940C00-D914-76A8-4747-C8607D4677B7}"/>
                    </a:ext>
                  </a:extLst>
                </p:cNvPr>
                <p:cNvGrpSpPr/>
                <p:nvPr/>
              </p:nvGrpSpPr>
              <p:grpSpPr>
                <a:xfrm>
                  <a:off x="9153323" y="3985440"/>
                  <a:ext cx="751062" cy="723778"/>
                  <a:chOff x="9153323" y="3985440"/>
                  <a:chExt cx="751062" cy="723778"/>
                </a:xfrm>
                <a:grpFill/>
              </p:grpSpPr>
              <p:sp>
                <p:nvSpPr>
                  <p:cNvPr id="1723" name="Forme libre : forme 1722">
                    <a:extLst>
                      <a:ext uri="{FF2B5EF4-FFF2-40B4-BE49-F238E27FC236}">
                        <a16:creationId xmlns:a16="http://schemas.microsoft.com/office/drawing/2014/main" id="{C64E20BD-C3AA-6B0D-FDEA-2A796D0D66D2}"/>
                      </a:ext>
                    </a:extLst>
                  </p:cNvPr>
                  <p:cNvSpPr/>
                  <p:nvPr/>
                </p:nvSpPr>
                <p:spPr>
                  <a:xfrm>
                    <a:off x="9424163" y="4656144"/>
                    <a:ext cx="6543" cy="6550"/>
                  </a:xfrm>
                  <a:custGeom>
                    <a:avLst/>
                    <a:gdLst>
                      <a:gd name="connsiteX0" fmla="*/ 5570 w 6543"/>
                      <a:gd name="connsiteY0" fmla="*/ 976 h 6550"/>
                      <a:gd name="connsiteX1" fmla="*/ 973 w 6543"/>
                      <a:gd name="connsiteY1" fmla="*/ 5573 h 6550"/>
                      <a:gd name="connsiteX2" fmla="*/ 5570 w 6543"/>
                      <a:gd name="connsiteY2" fmla="*/ 976 h 6550"/>
                    </a:gdLst>
                    <a:ahLst/>
                    <a:cxnLst>
                      <a:cxn ang="0">
                        <a:pos x="connsiteX0" y="connsiteY0"/>
                      </a:cxn>
                      <a:cxn ang="0">
                        <a:pos x="connsiteX1" y="connsiteY1"/>
                      </a:cxn>
                      <a:cxn ang="0">
                        <a:pos x="connsiteX2" y="connsiteY2"/>
                      </a:cxn>
                    </a:cxnLst>
                    <a:rect l="l" t="t" r="r" b="b"/>
                    <a:pathLst>
                      <a:path w="6543" h="6550">
                        <a:moveTo>
                          <a:pt x="5570" y="976"/>
                        </a:moveTo>
                        <a:cubicBezTo>
                          <a:pt x="2609" y="-2039"/>
                          <a:pt x="-2031" y="2626"/>
                          <a:pt x="973" y="5573"/>
                        </a:cubicBezTo>
                        <a:cubicBezTo>
                          <a:pt x="3934" y="8591"/>
                          <a:pt x="8574" y="3923"/>
                          <a:pt x="5570" y="976"/>
                        </a:cubicBezTo>
                        <a:close/>
                      </a:path>
                    </a:pathLst>
                  </a:custGeom>
                  <a:grpFill/>
                  <a:ln w="2826" cap="flat">
                    <a:noFill/>
                    <a:prstDash val="solid"/>
                    <a:miter/>
                  </a:ln>
                </p:spPr>
                <p:txBody>
                  <a:bodyPr rtlCol="0" anchor="ctr"/>
                  <a:lstStyle/>
                  <a:p>
                    <a:endParaRPr lang="fr-CA"/>
                  </a:p>
                </p:txBody>
              </p:sp>
              <p:sp>
                <p:nvSpPr>
                  <p:cNvPr id="1724" name="Forme libre : forme 1723">
                    <a:extLst>
                      <a:ext uri="{FF2B5EF4-FFF2-40B4-BE49-F238E27FC236}">
                        <a16:creationId xmlns:a16="http://schemas.microsoft.com/office/drawing/2014/main" id="{66EE4DA1-C973-4AD8-012B-6C632DA68F4F}"/>
                      </a:ext>
                    </a:extLst>
                  </p:cNvPr>
                  <p:cNvSpPr/>
                  <p:nvPr/>
                </p:nvSpPr>
                <p:spPr>
                  <a:xfrm>
                    <a:off x="9182847" y="4459743"/>
                    <a:ext cx="55575" cy="4132"/>
                  </a:xfrm>
                  <a:custGeom>
                    <a:avLst/>
                    <a:gdLst>
                      <a:gd name="connsiteX0" fmla="*/ 973 w 55575"/>
                      <a:gd name="connsiteY0" fmla="*/ 2782 h 4132"/>
                      <a:gd name="connsiteX1" fmla="*/ 55024 w 55575"/>
                      <a:gd name="connsiteY1" fmla="*/ 2605 h 4132"/>
                      <a:gd name="connsiteX2" fmla="*/ 28270 w 55575"/>
                      <a:gd name="connsiteY2" fmla="*/ 295 h 4132"/>
                      <a:gd name="connsiteX3" fmla="*/ 970 w 55575"/>
                      <a:gd name="connsiteY3" fmla="*/ 769 h 4132"/>
                      <a:gd name="connsiteX4" fmla="*/ 973 w 55575"/>
                      <a:gd name="connsiteY4" fmla="*/ 2782 h 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75" h="4132">
                        <a:moveTo>
                          <a:pt x="973" y="2782"/>
                        </a:moveTo>
                        <a:cubicBezTo>
                          <a:pt x="18887" y="3699"/>
                          <a:pt x="37236" y="5384"/>
                          <a:pt x="55024" y="2605"/>
                        </a:cubicBezTo>
                        <a:cubicBezTo>
                          <a:pt x="59924" y="-1569"/>
                          <a:pt x="30583" y="604"/>
                          <a:pt x="28270" y="295"/>
                        </a:cubicBezTo>
                        <a:cubicBezTo>
                          <a:pt x="19164" y="389"/>
                          <a:pt x="10075" y="532"/>
                          <a:pt x="970" y="769"/>
                        </a:cubicBezTo>
                        <a:cubicBezTo>
                          <a:pt x="-338" y="804"/>
                          <a:pt x="-309" y="2682"/>
                          <a:pt x="973" y="2782"/>
                        </a:cubicBezTo>
                        <a:close/>
                      </a:path>
                    </a:pathLst>
                  </a:custGeom>
                  <a:grpFill/>
                  <a:ln w="2826" cap="flat">
                    <a:noFill/>
                    <a:prstDash val="solid"/>
                    <a:miter/>
                  </a:ln>
                </p:spPr>
                <p:txBody>
                  <a:bodyPr rtlCol="0" anchor="ctr"/>
                  <a:lstStyle/>
                  <a:p>
                    <a:endParaRPr lang="fr-CA"/>
                  </a:p>
                </p:txBody>
              </p:sp>
              <p:sp>
                <p:nvSpPr>
                  <p:cNvPr id="1725" name="Forme libre : forme 1724">
                    <a:extLst>
                      <a:ext uri="{FF2B5EF4-FFF2-40B4-BE49-F238E27FC236}">
                        <a16:creationId xmlns:a16="http://schemas.microsoft.com/office/drawing/2014/main" id="{C75FB4B4-1679-6918-F1AB-5CD6BA2A97EF}"/>
                      </a:ext>
                    </a:extLst>
                  </p:cNvPr>
                  <p:cNvSpPr/>
                  <p:nvPr/>
                </p:nvSpPr>
                <p:spPr>
                  <a:xfrm>
                    <a:off x="9206205" y="4470289"/>
                    <a:ext cx="38415" cy="52696"/>
                  </a:xfrm>
                  <a:custGeom>
                    <a:avLst/>
                    <a:gdLst>
                      <a:gd name="connsiteX0" fmla="*/ 27186 w 38415"/>
                      <a:gd name="connsiteY0" fmla="*/ 12232 h 52696"/>
                      <a:gd name="connsiteX1" fmla="*/ 8449 w 38415"/>
                      <a:gd name="connsiteY1" fmla="*/ 38130 h 52696"/>
                      <a:gd name="connsiteX2" fmla="*/ 0 w 38415"/>
                      <a:gd name="connsiteY2" fmla="*/ 51274 h 52696"/>
                      <a:gd name="connsiteX3" fmla="*/ 6990 w 38415"/>
                      <a:gd name="connsiteY3" fmla="*/ 46457 h 52696"/>
                      <a:gd name="connsiteX4" fmla="*/ 20707 w 38415"/>
                      <a:gd name="connsiteY4" fmla="*/ 27554 h 52696"/>
                      <a:gd name="connsiteX5" fmla="*/ 38404 w 38415"/>
                      <a:gd name="connsiteY5" fmla="*/ 1505 h 52696"/>
                      <a:gd name="connsiteX6" fmla="*/ 27186 w 38415"/>
                      <a:gd name="connsiteY6" fmla="*/ 12232 h 5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15" h="52696">
                        <a:moveTo>
                          <a:pt x="27186" y="12232"/>
                        </a:moveTo>
                        <a:cubicBezTo>
                          <a:pt x="20895" y="20833"/>
                          <a:pt x="14685" y="29490"/>
                          <a:pt x="8449" y="38130"/>
                        </a:cubicBezTo>
                        <a:cubicBezTo>
                          <a:pt x="5548" y="42422"/>
                          <a:pt x="2039" y="46485"/>
                          <a:pt x="0" y="51274"/>
                        </a:cubicBezTo>
                        <a:cubicBezTo>
                          <a:pt x="451" y="55971"/>
                          <a:pt x="6065" y="47636"/>
                          <a:pt x="6990" y="46457"/>
                        </a:cubicBezTo>
                        <a:cubicBezTo>
                          <a:pt x="11710" y="40266"/>
                          <a:pt x="16124" y="33847"/>
                          <a:pt x="20707" y="27554"/>
                        </a:cubicBezTo>
                        <a:cubicBezTo>
                          <a:pt x="26660" y="18917"/>
                          <a:pt x="33430" y="10762"/>
                          <a:pt x="38404" y="1505"/>
                        </a:cubicBezTo>
                        <a:cubicBezTo>
                          <a:pt x="38816" y="-4900"/>
                          <a:pt x="28119" y="11144"/>
                          <a:pt x="27186" y="12232"/>
                        </a:cubicBezTo>
                        <a:close/>
                      </a:path>
                    </a:pathLst>
                  </a:custGeom>
                  <a:grpFill/>
                  <a:ln w="2826" cap="flat">
                    <a:noFill/>
                    <a:prstDash val="solid"/>
                    <a:miter/>
                  </a:ln>
                </p:spPr>
                <p:txBody>
                  <a:bodyPr rtlCol="0" anchor="ctr"/>
                  <a:lstStyle/>
                  <a:p>
                    <a:endParaRPr lang="fr-CA"/>
                  </a:p>
                </p:txBody>
              </p:sp>
              <p:grpSp>
                <p:nvGrpSpPr>
                  <p:cNvPr id="1726" name="Graphique 35" descr="Garçon dans un fauteuil roulant">
                    <a:extLst>
                      <a:ext uri="{FF2B5EF4-FFF2-40B4-BE49-F238E27FC236}">
                        <a16:creationId xmlns:a16="http://schemas.microsoft.com/office/drawing/2014/main" id="{B5F0BAEE-E38A-B6F7-1438-B308F37ABE71}"/>
                      </a:ext>
                    </a:extLst>
                  </p:cNvPr>
                  <p:cNvGrpSpPr/>
                  <p:nvPr/>
                </p:nvGrpSpPr>
                <p:grpSpPr>
                  <a:xfrm>
                    <a:off x="9563545" y="4567975"/>
                    <a:ext cx="42855" cy="31190"/>
                    <a:chOff x="9563545" y="4567975"/>
                    <a:chExt cx="42855" cy="31190"/>
                  </a:xfrm>
                  <a:grpFill/>
                </p:grpSpPr>
                <p:sp>
                  <p:nvSpPr>
                    <p:cNvPr id="1728" name="Forme libre : forme 1727">
                      <a:extLst>
                        <a:ext uri="{FF2B5EF4-FFF2-40B4-BE49-F238E27FC236}">
                          <a16:creationId xmlns:a16="http://schemas.microsoft.com/office/drawing/2014/main" id="{9079B0E4-8AF1-617B-959B-B732A668EEFA}"/>
                        </a:ext>
                      </a:extLst>
                    </p:cNvPr>
                    <p:cNvSpPr/>
                    <p:nvPr/>
                  </p:nvSpPr>
                  <p:spPr>
                    <a:xfrm>
                      <a:off x="9563545" y="4567975"/>
                      <a:ext cx="31054" cy="17572"/>
                    </a:xfrm>
                    <a:custGeom>
                      <a:avLst/>
                      <a:gdLst>
                        <a:gd name="connsiteX0" fmla="*/ 16334 w 31054"/>
                        <a:gd name="connsiteY0" fmla="*/ 7665 h 17572"/>
                        <a:gd name="connsiteX1" fmla="*/ 31053 w 31054"/>
                        <a:gd name="connsiteY1" fmla="*/ 5106 h 17572"/>
                        <a:gd name="connsiteX2" fmla="*/ 25165 w 31054"/>
                        <a:gd name="connsiteY2" fmla="*/ 67 h 17572"/>
                        <a:gd name="connsiteX3" fmla="*/ 147 w 31054"/>
                        <a:gd name="connsiteY3" fmla="*/ 16336 h 17572"/>
                        <a:gd name="connsiteX4" fmla="*/ 3516 w 31054"/>
                        <a:gd name="connsiteY4" fmla="*/ 15880 h 17572"/>
                        <a:gd name="connsiteX5" fmla="*/ 16334 w 31054"/>
                        <a:gd name="connsiteY5" fmla="*/ 7665 h 1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54" h="17572">
                          <a:moveTo>
                            <a:pt x="16334" y="7665"/>
                          </a:moveTo>
                          <a:cubicBezTo>
                            <a:pt x="25856" y="2220"/>
                            <a:pt x="30505" y="8219"/>
                            <a:pt x="31053" y="5106"/>
                          </a:cubicBezTo>
                          <a:cubicBezTo>
                            <a:pt x="31136" y="2040"/>
                            <a:pt x="27869" y="369"/>
                            <a:pt x="25165" y="67"/>
                          </a:cubicBezTo>
                          <a:cubicBezTo>
                            <a:pt x="19811" y="-938"/>
                            <a:pt x="-1989" y="9666"/>
                            <a:pt x="147" y="16336"/>
                          </a:cubicBezTo>
                          <a:cubicBezTo>
                            <a:pt x="429" y="18352"/>
                            <a:pt x="3390" y="17687"/>
                            <a:pt x="3516" y="15880"/>
                          </a:cubicBezTo>
                          <a:cubicBezTo>
                            <a:pt x="3882" y="13087"/>
                            <a:pt x="13653" y="9209"/>
                            <a:pt x="16334" y="7665"/>
                          </a:cubicBezTo>
                          <a:close/>
                        </a:path>
                      </a:pathLst>
                    </a:custGeom>
                    <a:grpFill/>
                    <a:ln w="2826" cap="flat">
                      <a:noFill/>
                      <a:prstDash val="solid"/>
                      <a:miter/>
                    </a:ln>
                  </p:spPr>
                  <p:txBody>
                    <a:bodyPr rtlCol="0" anchor="ctr"/>
                    <a:lstStyle/>
                    <a:p>
                      <a:endParaRPr lang="fr-CA"/>
                    </a:p>
                  </p:txBody>
                </p:sp>
                <p:sp>
                  <p:nvSpPr>
                    <p:cNvPr id="1729" name="Forme libre : forme 1728">
                      <a:extLst>
                        <a:ext uri="{FF2B5EF4-FFF2-40B4-BE49-F238E27FC236}">
                          <a16:creationId xmlns:a16="http://schemas.microsoft.com/office/drawing/2014/main" id="{2C43EE92-DBB3-86E8-EB4D-1AC88707B30E}"/>
                        </a:ext>
                      </a:extLst>
                    </p:cNvPr>
                    <p:cNvSpPr/>
                    <p:nvPr/>
                  </p:nvSpPr>
                  <p:spPr>
                    <a:xfrm>
                      <a:off x="9568091" y="4576542"/>
                      <a:ext cx="32668" cy="17540"/>
                    </a:xfrm>
                    <a:custGeom>
                      <a:avLst/>
                      <a:gdLst>
                        <a:gd name="connsiteX0" fmla="*/ 24911 w 32668"/>
                        <a:gd name="connsiteY0" fmla="*/ 49 h 17540"/>
                        <a:gd name="connsiteX1" fmla="*/ 455 w 32668"/>
                        <a:gd name="connsiteY1" fmla="*/ 14372 h 17540"/>
                        <a:gd name="connsiteX2" fmla="*/ 2668 w 32668"/>
                        <a:gd name="connsiteY2" fmla="*/ 17241 h 17540"/>
                        <a:gd name="connsiteX3" fmla="*/ 16802 w 32668"/>
                        <a:gd name="connsiteY3" fmla="*/ 8107 h 17540"/>
                        <a:gd name="connsiteX4" fmla="*/ 27786 w 32668"/>
                        <a:gd name="connsiteY4" fmla="*/ 4915 h 17540"/>
                        <a:gd name="connsiteX5" fmla="*/ 32503 w 32668"/>
                        <a:gd name="connsiteY5" fmla="*/ 2616 h 17540"/>
                        <a:gd name="connsiteX6" fmla="*/ 24911 w 32668"/>
                        <a:gd name="connsiteY6" fmla="*/ 49 h 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68" h="17540">
                          <a:moveTo>
                            <a:pt x="24911" y="49"/>
                          </a:moveTo>
                          <a:cubicBezTo>
                            <a:pt x="15548" y="1474"/>
                            <a:pt x="6802" y="7545"/>
                            <a:pt x="455" y="14372"/>
                          </a:cubicBezTo>
                          <a:cubicBezTo>
                            <a:pt x="-824" y="15865"/>
                            <a:pt x="812" y="18412"/>
                            <a:pt x="2668" y="17241"/>
                          </a:cubicBezTo>
                          <a:cubicBezTo>
                            <a:pt x="7419" y="14243"/>
                            <a:pt x="11839" y="10786"/>
                            <a:pt x="16802" y="8107"/>
                          </a:cubicBezTo>
                          <a:cubicBezTo>
                            <a:pt x="20174" y="6268"/>
                            <a:pt x="23912" y="4946"/>
                            <a:pt x="27786" y="4915"/>
                          </a:cubicBezTo>
                          <a:cubicBezTo>
                            <a:pt x="29522" y="5089"/>
                            <a:pt x="33528" y="5483"/>
                            <a:pt x="32503" y="2616"/>
                          </a:cubicBezTo>
                          <a:cubicBezTo>
                            <a:pt x="31264" y="186"/>
                            <a:pt x="27327" y="-153"/>
                            <a:pt x="24911" y="49"/>
                          </a:cubicBezTo>
                          <a:close/>
                        </a:path>
                      </a:pathLst>
                    </a:custGeom>
                    <a:grpFill/>
                    <a:ln w="2826" cap="flat">
                      <a:noFill/>
                      <a:prstDash val="solid"/>
                      <a:miter/>
                    </a:ln>
                  </p:spPr>
                  <p:txBody>
                    <a:bodyPr rtlCol="0" anchor="ctr"/>
                    <a:lstStyle/>
                    <a:p>
                      <a:endParaRPr lang="fr-CA"/>
                    </a:p>
                  </p:txBody>
                </p:sp>
                <p:sp>
                  <p:nvSpPr>
                    <p:cNvPr id="1730" name="Forme libre : forme 1729">
                      <a:extLst>
                        <a:ext uri="{FF2B5EF4-FFF2-40B4-BE49-F238E27FC236}">
                          <a16:creationId xmlns:a16="http://schemas.microsoft.com/office/drawing/2014/main" id="{491BA59A-07D6-6030-E732-D721AC3A4991}"/>
                        </a:ext>
                      </a:extLst>
                    </p:cNvPr>
                    <p:cNvSpPr/>
                    <p:nvPr/>
                  </p:nvSpPr>
                  <p:spPr>
                    <a:xfrm>
                      <a:off x="9574725" y="4583303"/>
                      <a:ext cx="31675" cy="15862"/>
                    </a:xfrm>
                    <a:custGeom>
                      <a:avLst/>
                      <a:gdLst>
                        <a:gd name="connsiteX0" fmla="*/ 9996 w 31675"/>
                        <a:gd name="connsiteY0" fmla="*/ 4755 h 15862"/>
                        <a:gd name="connsiteX1" fmla="*/ 1630 w 31675"/>
                        <a:gd name="connsiteY1" fmla="*/ 15588 h 15862"/>
                        <a:gd name="connsiteX2" fmla="*/ 3437 w 31675"/>
                        <a:gd name="connsiteY2" fmla="*/ 13246 h 15862"/>
                        <a:gd name="connsiteX3" fmla="*/ 9139 w 31675"/>
                        <a:gd name="connsiteY3" fmla="*/ 10094 h 15862"/>
                        <a:gd name="connsiteX4" fmla="*/ 23388 w 31675"/>
                        <a:gd name="connsiteY4" fmla="*/ 5545 h 15862"/>
                        <a:gd name="connsiteX5" fmla="*/ 30811 w 31675"/>
                        <a:gd name="connsiteY5" fmla="*/ 3692 h 15862"/>
                        <a:gd name="connsiteX6" fmla="*/ 30811 w 31675"/>
                        <a:gd name="connsiteY6" fmla="*/ 634 h 15862"/>
                        <a:gd name="connsiteX7" fmla="*/ 9996 w 31675"/>
                        <a:gd name="connsiteY7" fmla="*/ 4755 h 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75" h="15862">
                          <a:moveTo>
                            <a:pt x="9996" y="4755"/>
                          </a:moveTo>
                          <a:cubicBezTo>
                            <a:pt x="5790" y="6242"/>
                            <a:pt x="-3818" y="10225"/>
                            <a:pt x="1630" y="15588"/>
                          </a:cubicBezTo>
                          <a:cubicBezTo>
                            <a:pt x="3009" y="16639"/>
                            <a:pt x="4574" y="14423"/>
                            <a:pt x="3437" y="13246"/>
                          </a:cubicBezTo>
                          <a:cubicBezTo>
                            <a:pt x="2481" y="12256"/>
                            <a:pt x="8537" y="10320"/>
                            <a:pt x="9139" y="10094"/>
                          </a:cubicBezTo>
                          <a:cubicBezTo>
                            <a:pt x="13805" y="8329"/>
                            <a:pt x="18499" y="6588"/>
                            <a:pt x="23388" y="5545"/>
                          </a:cubicBezTo>
                          <a:cubicBezTo>
                            <a:pt x="25829" y="5009"/>
                            <a:pt x="28644" y="5037"/>
                            <a:pt x="30811" y="3692"/>
                          </a:cubicBezTo>
                          <a:cubicBezTo>
                            <a:pt x="31854" y="3044"/>
                            <a:pt x="32068" y="1225"/>
                            <a:pt x="30811" y="634"/>
                          </a:cubicBezTo>
                          <a:cubicBezTo>
                            <a:pt x="24278" y="-1576"/>
                            <a:pt x="16184" y="2524"/>
                            <a:pt x="9996" y="4755"/>
                          </a:cubicBezTo>
                          <a:close/>
                        </a:path>
                      </a:pathLst>
                    </a:custGeom>
                    <a:grpFill/>
                    <a:ln w="2826" cap="flat">
                      <a:noFill/>
                      <a:prstDash val="solid"/>
                      <a:miter/>
                    </a:ln>
                  </p:spPr>
                  <p:txBody>
                    <a:bodyPr rtlCol="0" anchor="ctr"/>
                    <a:lstStyle/>
                    <a:p>
                      <a:endParaRPr lang="fr-CA"/>
                    </a:p>
                  </p:txBody>
                </p:sp>
              </p:grpSp>
              <p:sp>
                <p:nvSpPr>
                  <p:cNvPr id="1727" name="Forme libre : forme 1726">
                    <a:extLst>
                      <a:ext uri="{FF2B5EF4-FFF2-40B4-BE49-F238E27FC236}">
                        <a16:creationId xmlns:a16="http://schemas.microsoft.com/office/drawing/2014/main" id="{C81B004C-8EA0-289A-B553-2C4081E1150A}"/>
                      </a:ext>
                    </a:extLst>
                  </p:cNvPr>
                  <p:cNvSpPr/>
                  <p:nvPr/>
                </p:nvSpPr>
                <p:spPr>
                  <a:xfrm>
                    <a:off x="9153323" y="3985440"/>
                    <a:ext cx="751062" cy="723778"/>
                  </a:xfrm>
                  <a:custGeom>
                    <a:avLst/>
                    <a:gdLst>
                      <a:gd name="connsiteX0" fmla="*/ 748257 w 751062"/>
                      <a:gd name="connsiteY0" fmla="*/ 625144 h 723778"/>
                      <a:gd name="connsiteX1" fmla="*/ 747120 w 751062"/>
                      <a:gd name="connsiteY1" fmla="*/ 625078 h 723778"/>
                      <a:gd name="connsiteX2" fmla="*/ 744528 w 751062"/>
                      <a:gd name="connsiteY2" fmla="*/ 624544 h 723778"/>
                      <a:gd name="connsiteX3" fmla="*/ 743103 w 751062"/>
                      <a:gd name="connsiteY3" fmla="*/ 624444 h 723778"/>
                      <a:gd name="connsiteX4" fmla="*/ 730288 w 751062"/>
                      <a:gd name="connsiteY4" fmla="*/ 625070 h 723778"/>
                      <a:gd name="connsiteX5" fmla="*/ 723649 w 751062"/>
                      <a:gd name="connsiteY5" fmla="*/ 621843 h 723778"/>
                      <a:gd name="connsiteX6" fmla="*/ 698145 w 751062"/>
                      <a:gd name="connsiteY6" fmla="*/ 623485 h 723778"/>
                      <a:gd name="connsiteX7" fmla="*/ 685850 w 751062"/>
                      <a:gd name="connsiteY7" fmla="*/ 609137 h 723778"/>
                      <a:gd name="connsiteX8" fmla="*/ 637204 w 751062"/>
                      <a:gd name="connsiteY8" fmla="*/ 411350 h 723778"/>
                      <a:gd name="connsiteX9" fmla="*/ 628575 w 751062"/>
                      <a:gd name="connsiteY9" fmla="*/ 388570 h 723778"/>
                      <a:gd name="connsiteX10" fmla="*/ 608918 w 751062"/>
                      <a:gd name="connsiteY10" fmla="*/ 375355 h 723778"/>
                      <a:gd name="connsiteX11" fmla="*/ 596909 w 751062"/>
                      <a:gd name="connsiteY11" fmla="*/ 306844 h 723778"/>
                      <a:gd name="connsiteX12" fmla="*/ 590793 w 751062"/>
                      <a:gd name="connsiteY12" fmla="*/ 298789 h 723778"/>
                      <a:gd name="connsiteX13" fmla="*/ 581616 w 751062"/>
                      <a:gd name="connsiteY13" fmla="*/ 290808 h 723778"/>
                      <a:gd name="connsiteX14" fmla="*/ 579077 w 751062"/>
                      <a:gd name="connsiteY14" fmla="*/ 249394 h 723778"/>
                      <a:gd name="connsiteX15" fmla="*/ 577487 w 751062"/>
                      <a:gd name="connsiteY15" fmla="*/ 247804 h 723778"/>
                      <a:gd name="connsiteX16" fmla="*/ 570702 w 751062"/>
                      <a:gd name="connsiteY16" fmla="*/ 246824 h 723778"/>
                      <a:gd name="connsiteX17" fmla="*/ 563458 w 751062"/>
                      <a:gd name="connsiteY17" fmla="*/ 246545 h 723778"/>
                      <a:gd name="connsiteX18" fmla="*/ 445376 w 751062"/>
                      <a:gd name="connsiteY18" fmla="*/ 212891 h 723778"/>
                      <a:gd name="connsiteX19" fmla="*/ 430285 w 751062"/>
                      <a:gd name="connsiteY19" fmla="*/ 181799 h 723778"/>
                      <a:gd name="connsiteX20" fmla="*/ 419971 w 751062"/>
                      <a:gd name="connsiteY20" fmla="*/ 159057 h 723778"/>
                      <a:gd name="connsiteX21" fmla="*/ 390901 w 751062"/>
                      <a:gd name="connsiteY21" fmla="*/ 100302 h 723778"/>
                      <a:gd name="connsiteX22" fmla="*/ 381727 w 751062"/>
                      <a:gd name="connsiteY22" fmla="*/ 79872 h 723778"/>
                      <a:gd name="connsiteX23" fmla="*/ 349107 w 751062"/>
                      <a:gd name="connsiteY23" fmla="*/ 42190 h 723778"/>
                      <a:gd name="connsiteX24" fmla="*/ 319001 w 751062"/>
                      <a:gd name="connsiteY24" fmla="*/ 40094 h 723778"/>
                      <a:gd name="connsiteX25" fmla="*/ 303025 w 751062"/>
                      <a:gd name="connsiteY25" fmla="*/ 26831 h 723778"/>
                      <a:gd name="connsiteX26" fmla="*/ 297020 w 751062"/>
                      <a:gd name="connsiteY26" fmla="*/ 38095 h 723778"/>
                      <a:gd name="connsiteX27" fmla="*/ 299670 w 751062"/>
                      <a:gd name="connsiteY27" fmla="*/ 51613 h 723778"/>
                      <a:gd name="connsiteX28" fmla="*/ 301851 w 751062"/>
                      <a:gd name="connsiteY28" fmla="*/ 50693 h 723778"/>
                      <a:gd name="connsiteX29" fmla="*/ 301212 w 751062"/>
                      <a:gd name="connsiteY29" fmla="*/ 38761 h 723778"/>
                      <a:gd name="connsiteX30" fmla="*/ 303533 w 751062"/>
                      <a:gd name="connsiteY30" fmla="*/ 76303 h 723778"/>
                      <a:gd name="connsiteX31" fmla="*/ 301086 w 751062"/>
                      <a:gd name="connsiteY31" fmla="*/ 88118 h 723778"/>
                      <a:gd name="connsiteX32" fmla="*/ 280234 w 751062"/>
                      <a:gd name="connsiteY32" fmla="*/ 70067 h 723778"/>
                      <a:gd name="connsiteX33" fmla="*/ 261802 w 751062"/>
                      <a:gd name="connsiteY33" fmla="*/ 58103 h 723778"/>
                      <a:gd name="connsiteX34" fmla="*/ 235270 w 751062"/>
                      <a:gd name="connsiteY34" fmla="*/ 35334 h 723778"/>
                      <a:gd name="connsiteX35" fmla="*/ 237138 w 751062"/>
                      <a:gd name="connsiteY35" fmla="*/ 3469 h 723778"/>
                      <a:gd name="connsiteX36" fmla="*/ 235542 w 751062"/>
                      <a:gd name="connsiteY36" fmla="*/ 333 h 723778"/>
                      <a:gd name="connsiteX37" fmla="*/ 233620 w 751062"/>
                      <a:gd name="connsiteY37" fmla="*/ 2027 h 723778"/>
                      <a:gd name="connsiteX38" fmla="*/ 233292 w 751062"/>
                      <a:gd name="connsiteY38" fmla="*/ 16386 h 723778"/>
                      <a:gd name="connsiteX39" fmla="*/ 215137 w 751062"/>
                      <a:gd name="connsiteY39" fmla="*/ 43572 h 723778"/>
                      <a:gd name="connsiteX40" fmla="*/ 169152 w 751062"/>
                      <a:gd name="connsiteY40" fmla="*/ 80771 h 723778"/>
                      <a:gd name="connsiteX41" fmla="*/ 137929 w 751062"/>
                      <a:gd name="connsiteY41" fmla="*/ 77439 h 723778"/>
                      <a:gd name="connsiteX42" fmla="*/ 129126 w 751062"/>
                      <a:gd name="connsiteY42" fmla="*/ 77414 h 723778"/>
                      <a:gd name="connsiteX43" fmla="*/ 108293 w 751062"/>
                      <a:gd name="connsiteY43" fmla="*/ 58979 h 723778"/>
                      <a:gd name="connsiteX44" fmla="*/ 87766 w 751062"/>
                      <a:gd name="connsiteY44" fmla="*/ 54003 h 723778"/>
                      <a:gd name="connsiteX45" fmla="*/ 68235 w 751062"/>
                      <a:gd name="connsiteY45" fmla="*/ 56898 h 723778"/>
                      <a:gd name="connsiteX46" fmla="*/ 64943 w 751062"/>
                      <a:gd name="connsiteY46" fmla="*/ 76700 h 723778"/>
                      <a:gd name="connsiteX47" fmla="*/ 82803 w 751062"/>
                      <a:gd name="connsiteY47" fmla="*/ 78864 h 723778"/>
                      <a:gd name="connsiteX48" fmla="*/ 103228 w 751062"/>
                      <a:gd name="connsiteY48" fmla="*/ 81166 h 723778"/>
                      <a:gd name="connsiteX49" fmla="*/ 111977 w 751062"/>
                      <a:gd name="connsiteY49" fmla="*/ 106644 h 723778"/>
                      <a:gd name="connsiteX50" fmla="*/ 121810 w 751062"/>
                      <a:gd name="connsiteY50" fmla="*/ 262089 h 723778"/>
                      <a:gd name="connsiteX51" fmla="*/ 122453 w 751062"/>
                      <a:gd name="connsiteY51" fmla="*/ 264530 h 723778"/>
                      <a:gd name="connsiteX52" fmla="*/ 127264 w 751062"/>
                      <a:gd name="connsiteY52" fmla="*/ 264233 h 723778"/>
                      <a:gd name="connsiteX53" fmla="*/ 127618 w 751062"/>
                      <a:gd name="connsiteY53" fmla="*/ 256747 h 723778"/>
                      <a:gd name="connsiteX54" fmla="*/ 120671 w 751062"/>
                      <a:gd name="connsiteY54" fmla="*/ 149083 h 723778"/>
                      <a:gd name="connsiteX55" fmla="*/ 116180 w 751062"/>
                      <a:gd name="connsiteY55" fmla="*/ 96002 h 723778"/>
                      <a:gd name="connsiteX56" fmla="*/ 104950 w 751062"/>
                      <a:gd name="connsiteY56" fmla="*/ 76600 h 723778"/>
                      <a:gd name="connsiteX57" fmla="*/ 106529 w 751062"/>
                      <a:gd name="connsiteY57" fmla="*/ 63377 h 723778"/>
                      <a:gd name="connsiteX58" fmla="*/ 131087 w 751062"/>
                      <a:gd name="connsiteY58" fmla="*/ 117691 h 723778"/>
                      <a:gd name="connsiteX59" fmla="*/ 133971 w 751062"/>
                      <a:gd name="connsiteY59" fmla="*/ 180306 h 723778"/>
                      <a:gd name="connsiteX60" fmla="*/ 132669 w 751062"/>
                      <a:gd name="connsiteY60" fmla="*/ 256467 h 723778"/>
                      <a:gd name="connsiteX61" fmla="*/ 131950 w 751062"/>
                      <a:gd name="connsiteY61" fmla="*/ 260753 h 723778"/>
                      <a:gd name="connsiteX62" fmla="*/ 132407 w 751062"/>
                      <a:gd name="connsiteY62" fmla="*/ 271637 h 723778"/>
                      <a:gd name="connsiteX63" fmla="*/ 122821 w 751062"/>
                      <a:gd name="connsiteY63" fmla="*/ 268134 h 723778"/>
                      <a:gd name="connsiteX64" fmla="*/ 121833 w 751062"/>
                      <a:gd name="connsiteY64" fmla="*/ 263183 h 723778"/>
                      <a:gd name="connsiteX65" fmla="*/ 119832 w 751062"/>
                      <a:gd name="connsiteY65" fmla="*/ 263183 h 723778"/>
                      <a:gd name="connsiteX66" fmla="*/ 118884 w 751062"/>
                      <a:gd name="connsiteY66" fmla="*/ 267077 h 723778"/>
                      <a:gd name="connsiteX67" fmla="*/ 38391 w 751062"/>
                      <a:gd name="connsiteY67" fmla="*/ 306230 h 723778"/>
                      <a:gd name="connsiteX68" fmla="*/ 55244 w 751062"/>
                      <a:gd name="connsiteY68" fmla="*/ 616010 h 723778"/>
                      <a:gd name="connsiteX69" fmla="*/ 55121 w 751062"/>
                      <a:gd name="connsiteY69" fmla="*/ 616118 h 723778"/>
                      <a:gd name="connsiteX70" fmla="*/ 200638 w 751062"/>
                      <a:gd name="connsiteY70" fmla="*/ 627174 h 723778"/>
                      <a:gd name="connsiteX71" fmla="*/ 238677 w 751062"/>
                      <a:gd name="connsiteY71" fmla="*/ 633256 h 723778"/>
                      <a:gd name="connsiteX72" fmla="*/ 276296 w 751062"/>
                      <a:gd name="connsiteY72" fmla="*/ 723748 h 723778"/>
                      <a:gd name="connsiteX73" fmla="*/ 307374 w 751062"/>
                      <a:gd name="connsiteY73" fmla="*/ 627671 h 723778"/>
                      <a:gd name="connsiteX74" fmla="*/ 317262 w 751062"/>
                      <a:gd name="connsiteY74" fmla="*/ 601839 h 723778"/>
                      <a:gd name="connsiteX75" fmla="*/ 319092 w 751062"/>
                      <a:gd name="connsiteY75" fmla="*/ 590286 h 723778"/>
                      <a:gd name="connsiteX76" fmla="*/ 319766 w 751062"/>
                      <a:gd name="connsiteY76" fmla="*/ 582311 h 723778"/>
                      <a:gd name="connsiteX77" fmla="*/ 378509 w 751062"/>
                      <a:gd name="connsiteY77" fmla="*/ 596082 h 723778"/>
                      <a:gd name="connsiteX78" fmla="*/ 381173 w 751062"/>
                      <a:gd name="connsiteY78" fmla="*/ 638079 h 723778"/>
                      <a:gd name="connsiteX79" fmla="*/ 386096 w 751062"/>
                      <a:gd name="connsiteY79" fmla="*/ 657567 h 723778"/>
                      <a:gd name="connsiteX80" fmla="*/ 401851 w 751062"/>
                      <a:gd name="connsiteY80" fmla="*/ 665087 h 723778"/>
                      <a:gd name="connsiteX81" fmla="*/ 404264 w 751062"/>
                      <a:gd name="connsiteY81" fmla="*/ 678456 h 723778"/>
                      <a:gd name="connsiteX82" fmla="*/ 404496 w 751062"/>
                      <a:gd name="connsiteY82" fmla="*/ 679487 h 723778"/>
                      <a:gd name="connsiteX83" fmla="*/ 409178 w 751062"/>
                      <a:gd name="connsiteY83" fmla="*/ 680803 h 723778"/>
                      <a:gd name="connsiteX84" fmla="*/ 410595 w 751062"/>
                      <a:gd name="connsiteY84" fmla="*/ 686468 h 723778"/>
                      <a:gd name="connsiteX85" fmla="*/ 419320 w 751062"/>
                      <a:gd name="connsiteY85" fmla="*/ 685212 h 723778"/>
                      <a:gd name="connsiteX86" fmla="*/ 419523 w 751062"/>
                      <a:gd name="connsiteY86" fmla="*/ 680332 h 723778"/>
                      <a:gd name="connsiteX87" fmla="*/ 420014 w 751062"/>
                      <a:gd name="connsiteY87" fmla="*/ 673345 h 723778"/>
                      <a:gd name="connsiteX88" fmla="*/ 441855 w 751062"/>
                      <a:gd name="connsiteY88" fmla="*/ 670875 h 723778"/>
                      <a:gd name="connsiteX89" fmla="*/ 462196 w 751062"/>
                      <a:gd name="connsiteY89" fmla="*/ 663580 h 723778"/>
                      <a:gd name="connsiteX90" fmla="*/ 501235 w 751062"/>
                      <a:gd name="connsiteY90" fmla="*/ 658178 h 723778"/>
                      <a:gd name="connsiteX91" fmla="*/ 515857 w 751062"/>
                      <a:gd name="connsiteY91" fmla="*/ 679621 h 723778"/>
                      <a:gd name="connsiteX92" fmla="*/ 582549 w 751062"/>
                      <a:gd name="connsiteY92" fmla="*/ 672434 h 723778"/>
                      <a:gd name="connsiteX93" fmla="*/ 598071 w 751062"/>
                      <a:gd name="connsiteY93" fmla="*/ 677043 h 723778"/>
                      <a:gd name="connsiteX94" fmla="*/ 614578 w 751062"/>
                      <a:gd name="connsiteY94" fmla="*/ 674936 h 723778"/>
                      <a:gd name="connsiteX95" fmla="*/ 709358 w 751062"/>
                      <a:gd name="connsiteY95" fmla="*/ 657475 h 723778"/>
                      <a:gd name="connsiteX96" fmla="*/ 742469 w 751062"/>
                      <a:gd name="connsiteY96" fmla="*/ 648481 h 723778"/>
                      <a:gd name="connsiteX97" fmla="*/ 743285 w 751062"/>
                      <a:gd name="connsiteY97" fmla="*/ 644749 h 723778"/>
                      <a:gd name="connsiteX98" fmla="*/ 730610 w 751062"/>
                      <a:gd name="connsiteY98" fmla="*/ 642102 h 723778"/>
                      <a:gd name="connsiteX99" fmla="*/ 731059 w 751062"/>
                      <a:gd name="connsiteY99" fmla="*/ 640157 h 723778"/>
                      <a:gd name="connsiteX100" fmla="*/ 745661 w 751062"/>
                      <a:gd name="connsiteY100" fmla="*/ 639812 h 723778"/>
                      <a:gd name="connsiteX101" fmla="*/ 748257 w 751062"/>
                      <a:gd name="connsiteY101" fmla="*/ 625144 h 723778"/>
                      <a:gd name="connsiteX102" fmla="*/ 96509 w 751062"/>
                      <a:gd name="connsiteY102" fmla="*/ 73656 h 723778"/>
                      <a:gd name="connsiteX103" fmla="*/ 73058 w 751062"/>
                      <a:gd name="connsiteY103" fmla="*/ 71623 h 723778"/>
                      <a:gd name="connsiteX104" fmla="*/ 68081 w 751062"/>
                      <a:gd name="connsiteY104" fmla="*/ 70624 h 723778"/>
                      <a:gd name="connsiteX105" fmla="*/ 73098 w 751062"/>
                      <a:gd name="connsiteY105" fmla="*/ 61387 h 723778"/>
                      <a:gd name="connsiteX106" fmla="*/ 98576 w 751062"/>
                      <a:gd name="connsiteY106" fmla="*/ 62397 h 723778"/>
                      <a:gd name="connsiteX107" fmla="*/ 96509 w 751062"/>
                      <a:gd name="connsiteY107" fmla="*/ 73656 h 723778"/>
                      <a:gd name="connsiteX108" fmla="*/ 607379 w 751062"/>
                      <a:gd name="connsiteY108" fmla="*/ 388147 h 723778"/>
                      <a:gd name="connsiteX109" fmla="*/ 608427 w 751062"/>
                      <a:gd name="connsiteY109" fmla="*/ 379318 h 723778"/>
                      <a:gd name="connsiteX110" fmla="*/ 630927 w 751062"/>
                      <a:gd name="connsiteY110" fmla="*/ 410622 h 723778"/>
                      <a:gd name="connsiteX111" fmla="*/ 678660 w 751062"/>
                      <a:gd name="connsiteY111" fmla="*/ 607478 h 723778"/>
                      <a:gd name="connsiteX112" fmla="*/ 670720 w 751062"/>
                      <a:gd name="connsiteY112" fmla="*/ 607295 h 723778"/>
                      <a:gd name="connsiteX113" fmla="*/ 617376 w 751062"/>
                      <a:gd name="connsiteY113" fmla="*/ 405836 h 723778"/>
                      <a:gd name="connsiteX114" fmla="*/ 606900 w 751062"/>
                      <a:gd name="connsiteY114" fmla="*/ 392630 h 723778"/>
                      <a:gd name="connsiteX115" fmla="*/ 607379 w 751062"/>
                      <a:gd name="connsiteY115" fmla="*/ 388147 h 723778"/>
                      <a:gd name="connsiteX116" fmla="*/ 617108 w 751062"/>
                      <a:gd name="connsiteY116" fmla="*/ 538895 h 723778"/>
                      <a:gd name="connsiteX117" fmla="*/ 650852 w 751062"/>
                      <a:gd name="connsiteY117" fmla="*/ 543107 h 723778"/>
                      <a:gd name="connsiteX118" fmla="*/ 666588 w 751062"/>
                      <a:gd name="connsiteY118" fmla="*/ 607692 h 723778"/>
                      <a:gd name="connsiteX119" fmla="*/ 618649 w 751062"/>
                      <a:gd name="connsiteY119" fmla="*/ 598198 h 723778"/>
                      <a:gd name="connsiteX120" fmla="*/ 615429 w 751062"/>
                      <a:gd name="connsiteY120" fmla="*/ 566981 h 723778"/>
                      <a:gd name="connsiteX121" fmla="*/ 617108 w 751062"/>
                      <a:gd name="connsiteY121" fmla="*/ 538895 h 723778"/>
                      <a:gd name="connsiteX122" fmla="*/ 614098 w 751062"/>
                      <a:gd name="connsiteY122" fmla="*/ 407752 h 723778"/>
                      <a:gd name="connsiteX123" fmla="*/ 649961 w 751062"/>
                      <a:gd name="connsiteY123" fmla="*/ 539024 h 723778"/>
                      <a:gd name="connsiteX124" fmla="*/ 609324 w 751062"/>
                      <a:gd name="connsiteY124" fmla="*/ 533927 h 723778"/>
                      <a:gd name="connsiteX125" fmla="*/ 599236 w 751062"/>
                      <a:gd name="connsiteY125" fmla="*/ 509908 h 723778"/>
                      <a:gd name="connsiteX126" fmla="*/ 607294 w 751062"/>
                      <a:gd name="connsiteY126" fmla="*/ 510356 h 723778"/>
                      <a:gd name="connsiteX127" fmla="*/ 607459 w 751062"/>
                      <a:gd name="connsiteY127" fmla="*/ 519764 h 723778"/>
                      <a:gd name="connsiteX128" fmla="*/ 644647 w 751062"/>
                      <a:gd name="connsiteY128" fmla="*/ 525735 h 723778"/>
                      <a:gd name="connsiteX129" fmla="*/ 644647 w 751062"/>
                      <a:gd name="connsiteY129" fmla="*/ 522012 h 723778"/>
                      <a:gd name="connsiteX130" fmla="*/ 610152 w 751062"/>
                      <a:gd name="connsiteY130" fmla="*/ 519290 h 723778"/>
                      <a:gd name="connsiteX131" fmla="*/ 610717 w 751062"/>
                      <a:gd name="connsiteY131" fmla="*/ 510025 h 723778"/>
                      <a:gd name="connsiteX132" fmla="*/ 611954 w 751062"/>
                      <a:gd name="connsiteY132" fmla="*/ 508669 h 723778"/>
                      <a:gd name="connsiteX133" fmla="*/ 610849 w 751062"/>
                      <a:gd name="connsiteY133" fmla="*/ 501116 h 723778"/>
                      <a:gd name="connsiteX134" fmla="*/ 607551 w 751062"/>
                      <a:gd name="connsiteY134" fmla="*/ 492519 h 723778"/>
                      <a:gd name="connsiteX135" fmla="*/ 599110 w 751062"/>
                      <a:gd name="connsiteY135" fmla="*/ 487059 h 723778"/>
                      <a:gd name="connsiteX136" fmla="*/ 606471 w 751062"/>
                      <a:gd name="connsiteY136" fmla="*/ 396682 h 723778"/>
                      <a:gd name="connsiteX137" fmla="*/ 614098 w 751062"/>
                      <a:gd name="connsiteY137" fmla="*/ 407752 h 723778"/>
                      <a:gd name="connsiteX138" fmla="*/ 602380 w 751062"/>
                      <a:gd name="connsiteY138" fmla="*/ 576372 h 723778"/>
                      <a:gd name="connsiteX139" fmla="*/ 602083 w 751062"/>
                      <a:gd name="connsiteY139" fmla="*/ 547127 h 723778"/>
                      <a:gd name="connsiteX140" fmla="*/ 608179 w 751062"/>
                      <a:gd name="connsiteY140" fmla="*/ 537425 h 723778"/>
                      <a:gd name="connsiteX141" fmla="*/ 613924 w 751062"/>
                      <a:gd name="connsiteY141" fmla="*/ 538444 h 723778"/>
                      <a:gd name="connsiteX142" fmla="*/ 611865 w 751062"/>
                      <a:gd name="connsiteY142" fmla="*/ 568126 h 723778"/>
                      <a:gd name="connsiteX143" fmla="*/ 614355 w 751062"/>
                      <a:gd name="connsiteY143" fmla="*/ 594960 h 723778"/>
                      <a:gd name="connsiteX144" fmla="*/ 602334 w 751062"/>
                      <a:gd name="connsiteY144" fmla="*/ 579604 h 723778"/>
                      <a:gd name="connsiteX145" fmla="*/ 602380 w 751062"/>
                      <a:gd name="connsiteY145" fmla="*/ 576372 h 723778"/>
                      <a:gd name="connsiteX146" fmla="*/ 598833 w 751062"/>
                      <a:gd name="connsiteY146" fmla="*/ 507229 h 723778"/>
                      <a:gd name="connsiteX147" fmla="*/ 598942 w 751062"/>
                      <a:gd name="connsiteY147" fmla="*/ 489923 h 723778"/>
                      <a:gd name="connsiteX148" fmla="*/ 604510 w 751062"/>
                      <a:gd name="connsiteY148" fmla="*/ 495123 h 723778"/>
                      <a:gd name="connsiteX149" fmla="*/ 608596 w 751062"/>
                      <a:gd name="connsiteY149" fmla="*/ 503398 h 723778"/>
                      <a:gd name="connsiteX150" fmla="*/ 608896 w 751062"/>
                      <a:gd name="connsiteY150" fmla="*/ 506787 h 723778"/>
                      <a:gd name="connsiteX151" fmla="*/ 598833 w 751062"/>
                      <a:gd name="connsiteY151" fmla="*/ 507229 h 723778"/>
                      <a:gd name="connsiteX152" fmla="*/ 579003 w 751062"/>
                      <a:gd name="connsiteY152" fmla="*/ 296887 h 723778"/>
                      <a:gd name="connsiteX153" fmla="*/ 588243 w 751062"/>
                      <a:gd name="connsiteY153" fmla="*/ 306398 h 723778"/>
                      <a:gd name="connsiteX154" fmla="*/ 603919 w 751062"/>
                      <a:gd name="connsiteY154" fmla="*/ 341259 h 723778"/>
                      <a:gd name="connsiteX155" fmla="*/ 601654 w 751062"/>
                      <a:gd name="connsiteY155" fmla="*/ 379167 h 723778"/>
                      <a:gd name="connsiteX156" fmla="*/ 591081 w 751062"/>
                      <a:gd name="connsiteY156" fmla="*/ 496476 h 723778"/>
                      <a:gd name="connsiteX157" fmla="*/ 598562 w 751062"/>
                      <a:gd name="connsiteY157" fmla="*/ 525698 h 723778"/>
                      <a:gd name="connsiteX158" fmla="*/ 601929 w 751062"/>
                      <a:gd name="connsiteY158" fmla="*/ 531094 h 723778"/>
                      <a:gd name="connsiteX159" fmla="*/ 580411 w 751062"/>
                      <a:gd name="connsiteY159" fmla="*/ 555625 h 723778"/>
                      <a:gd name="connsiteX160" fmla="*/ 525694 w 751062"/>
                      <a:gd name="connsiteY160" fmla="*/ 556718 h 723778"/>
                      <a:gd name="connsiteX161" fmla="*/ 518472 w 751062"/>
                      <a:gd name="connsiteY161" fmla="*/ 527400 h 723778"/>
                      <a:gd name="connsiteX162" fmla="*/ 519343 w 751062"/>
                      <a:gd name="connsiteY162" fmla="*/ 381802 h 723778"/>
                      <a:gd name="connsiteX163" fmla="*/ 520685 w 751062"/>
                      <a:gd name="connsiteY163" fmla="*/ 372417 h 723778"/>
                      <a:gd name="connsiteX164" fmla="*/ 519903 w 751062"/>
                      <a:gd name="connsiteY164" fmla="*/ 358020 h 723778"/>
                      <a:gd name="connsiteX165" fmla="*/ 512131 w 751062"/>
                      <a:gd name="connsiteY165" fmla="*/ 358020 h 723778"/>
                      <a:gd name="connsiteX166" fmla="*/ 512956 w 751062"/>
                      <a:gd name="connsiteY166" fmla="*/ 374653 h 723778"/>
                      <a:gd name="connsiteX167" fmla="*/ 437084 w 751062"/>
                      <a:gd name="connsiteY167" fmla="*/ 346425 h 723778"/>
                      <a:gd name="connsiteX168" fmla="*/ 424980 w 751062"/>
                      <a:gd name="connsiteY168" fmla="*/ 309182 h 723778"/>
                      <a:gd name="connsiteX169" fmla="*/ 418664 w 751062"/>
                      <a:gd name="connsiteY169" fmla="*/ 298797 h 723778"/>
                      <a:gd name="connsiteX170" fmla="*/ 388477 w 751062"/>
                      <a:gd name="connsiteY170" fmla="*/ 279307 h 723778"/>
                      <a:gd name="connsiteX171" fmla="*/ 387095 w 751062"/>
                      <a:gd name="connsiteY171" fmla="*/ 284321 h 723778"/>
                      <a:gd name="connsiteX172" fmla="*/ 403568 w 751062"/>
                      <a:gd name="connsiteY172" fmla="*/ 292941 h 723778"/>
                      <a:gd name="connsiteX173" fmla="*/ 407719 w 751062"/>
                      <a:gd name="connsiteY173" fmla="*/ 296887 h 723778"/>
                      <a:gd name="connsiteX174" fmla="*/ 430525 w 751062"/>
                      <a:gd name="connsiteY174" fmla="*/ 347870 h 723778"/>
                      <a:gd name="connsiteX175" fmla="*/ 434362 w 751062"/>
                      <a:gd name="connsiteY175" fmla="*/ 448723 h 723778"/>
                      <a:gd name="connsiteX176" fmla="*/ 432792 w 751062"/>
                      <a:gd name="connsiteY176" fmla="*/ 512186 h 723778"/>
                      <a:gd name="connsiteX177" fmla="*/ 429388 w 751062"/>
                      <a:gd name="connsiteY177" fmla="*/ 551462 h 723778"/>
                      <a:gd name="connsiteX178" fmla="*/ 414215 w 751062"/>
                      <a:gd name="connsiteY178" fmla="*/ 561093 h 723778"/>
                      <a:gd name="connsiteX179" fmla="*/ 404358 w 751062"/>
                      <a:gd name="connsiteY179" fmla="*/ 561207 h 723778"/>
                      <a:gd name="connsiteX180" fmla="*/ 400584 w 751062"/>
                      <a:gd name="connsiteY180" fmla="*/ 560596 h 723778"/>
                      <a:gd name="connsiteX181" fmla="*/ 379308 w 751062"/>
                      <a:gd name="connsiteY181" fmla="*/ 455245 h 723778"/>
                      <a:gd name="connsiteX182" fmla="*/ 347771 w 751062"/>
                      <a:gd name="connsiteY182" fmla="*/ 414650 h 723778"/>
                      <a:gd name="connsiteX183" fmla="*/ 345755 w 751062"/>
                      <a:gd name="connsiteY183" fmla="*/ 380949 h 723778"/>
                      <a:gd name="connsiteX184" fmla="*/ 345093 w 751062"/>
                      <a:gd name="connsiteY184" fmla="*/ 362586 h 723778"/>
                      <a:gd name="connsiteX185" fmla="*/ 341287 w 751062"/>
                      <a:gd name="connsiteY185" fmla="*/ 362072 h 723778"/>
                      <a:gd name="connsiteX186" fmla="*/ 340419 w 751062"/>
                      <a:gd name="connsiteY186" fmla="*/ 378405 h 723778"/>
                      <a:gd name="connsiteX187" fmla="*/ 330368 w 751062"/>
                      <a:gd name="connsiteY187" fmla="*/ 374356 h 723778"/>
                      <a:gd name="connsiteX188" fmla="*/ 329643 w 751062"/>
                      <a:gd name="connsiteY188" fmla="*/ 378921 h 723778"/>
                      <a:gd name="connsiteX189" fmla="*/ 339922 w 751062"/>
                      <a:gd name="connsiteY189" fmla="*/ 385166 h 723778"/>
                      <a:gd name="connsiteX190" fmla="*/ 340424 w 751062"/>
                      <a:gd name="connsiteY190" fmla="*/ 389897 h 723778"/>
                      <a:gd name="connsiteX191" fmla="*/ 328044 w 751062"/>
                      <a:gd name="connsiteY191" fmla="*/ 393004 h 723778"/>
                      <a:gd name="connsiteX192" fmla="*/ 325445 w 751062"/>
                      <a:gd name="connsiteY192" fmla="*/ 283947 h 723778"/>
                      <a:gd name="connsiteX193" fmla="*/ 324868 w 751062"/>
                      <a:gd name="connsiteY193" fmla="*/ 266586 h 723778"/>
                      <a:gd name="connsiteX194" fmla="*/ 329177 w 751062"/>
                      <a:gd name="connsiteY194" fmla="*/ 266364 h 723778"/>
                      <a:gd name="connsiteX195" fmla="*/ 335368 w 751062"/>
                      <a:gd name="connsiteY195" fmla="*/ 265969 h 723778"/>
                      <a:gd name="connsiteX196" fmla="*/ 352463 w 751062"/>
                      <a:gd name="connsiteY196" fmla="*/ 277871 h 723778"/>
                      <a:gd name="connsiteX197" fmla="*/ 359038 w 751062"/>
                      <a:gd name="connsiteY197" fmla="*/ 279338 h 723778"/>
                      <a:gd name="connsiteX198" fmla="*/ 359432 w 751062"/>
                      <a:gd name="connsiteY198" fmla="*/ 267534 h 723778"/>
                      <a:gd name="connsiteX199" fmla="*/ 369620 w 751062"/>
                      <a:gd name="connsiteY199" fmla="*/ 268982 h 723778"/>
                      <a:gd name="connsiteX200" fmla="*/ 370283 w 751062"/>
                      <a:gd name="connsiteY200" fmla="*/ 267606 h 723778"/>
                      <a:gd name="connsiteX201" fmla="*/ 370979 w 751062"/>
                      <a:gd name="connsiteY201" fmla="*/ 268148 h 723778"/>
                      <a:gd name="connsiteX202" fmla="*/ 377081 w 751062"/>
                      <a:gd name="connsiteY202" fmla="*/ 260450 h 723778"/>
                      <a:gd name="connsiteX203" fmla="*/ 378489 w 751062"/>
                      <a:gd name="connsiteY203" fmla="*/ 257900 h 723778"/>
                      <a:gd name="connsiteX204" fmla="*/ 426416 w 751062"/>
                      <a:gd name="connsiteY204" fmla="*/ 251841 h 723778"/>
                      <a:gd name="connsiteX205" fmla="*/ 427521 w 751062"/>
                      <a:gd name="connsiteY205" fmla="*/ 251656 h 723778"/>
                      <a:gd name="connsiteX206" fmla="*/ 449227 w 751062"/>
                      <a:gd name="connsiteY206" fmla="*/ 258080 h 723778"/>
                      <a:gd name="connsiteX207" fmla="*/ 509826 w 751062"/>
                      <a:gd name="connsiteY207" fmla="*/ 272380 h 723778"/>
                      <a:gd name="connsiteX208" fmla="*/ 570708 w 751062"/>
                      <a:gd name="connsiteY208" fmla="*/ 291368 h 723778"/>
                      <a:gd name="connsiteX209" fmla="*/ 579003 w 751062"/>
                      <a:gd name="connsiteY209" fmla="*/ 296887 h 723778"/>
                      <a:gd name="connsiteX210" fmla="*/ 598351 w 751062"/>
                      <a:gd name="connsiteY210" fmla="*/ 569867 h 723778"/>
                      <a:gd name="connsiteX211" fmla="*/ 592283 w 751062"/>
                      <a:gd name="connsiteY211" fmla="*/ 561584 h 723778"/>
                      <a:gd name="connsiteX212" fmla="*/ 593602 w 751062"/>
                      <a:gd name="connsiteY212" fmla="*/ 554691 h 723778"/>
                      <a:gd name="connsiteX213" fmla="*/ 598465 w 751062"/>
                      <a:gd name="connsiteY213" fmla="*/ 550782 h 723778"/>
                      <a:gd name="connsiteX214" fmla="*/ 598351 w 751062"/>
                      <a:gd name="connsiteY214" fmla="*/ 569867 h 723778"/>
                      <a:gd name="connsiteX215" fmla="*/ 588289 w 751062"/>
                      <a:gd name="connsiteY215" fmla="*/ 560659 h 723778"/>
                      <a:gd name="connsiteX216" fmla="*/ 579348 w 751062"/>
                      <a:gd name="connsiteY216" fmla="*/ 576172 h 723778"/>
                      <a:gd name="connsiteX217" fmla="*/ 569992 w 751062"/>
                      <a:gd name="connsiteY217" fmla="*/ 579590 h 723778"/>
                      <a:gd name="connsiteX218" fmla="*/ 560666 w 751062"/>
                      <a:gd name="connsiteY218" fmla="*/ 581803 h 723778"/>
                      <a:gd name="connsiteX219" fmla="*/ 528489 w 751062"/>
                      <a:gd name="connsiteY219" fmla="*/ 583170 h 723778"/>
                      <a:gd name="connsiteX220" fmla="*/ 525731 w 751062"/>
                      <a:gd name="connsiteY220" fmla="*/ 575558 h 723778"/>
                      <a:gd name="connsiteX221" fmla="*/ 525925 w 751062"/>
                      <a:gd name="connsiteY221" fmla="*/ 560770 h 723778"/>
                      <a:gd name="connsiteX222" fmla="*/ 560046 w 751062"/>
                      <a:gd name="connsiteY222" fmla="*/ 564088 h 723778"/>
                      <a:gd name="connsiteX223" fmla="*/ 588309 w 751062"/>
                      <a:gd name="connsiteY223" fmla="*/ 558160 h 723778"/>
                      <a:gd name="connsiteX224" fmla="*/ 588289 w 751062"/>
                      <a:gd name="connsiteY224" fmla="*/ 560659 h 723778"/>
                      <a:gd name="connsiteX225" fmla="*/ 527887 w 751062"/>
                      <a:gd name="connsiteY225" fmla="*/ 586457 h 723778"/>
                      <a:gd name="connsiteX226" fmla="*/ 559658 w 751062"/>
                      <a:gd name="connsiteY226" fmla="*/ 586431 h 723778"/>
                      <a:gd name="connsiteX227" fmla="*/ 541695 w 751062"/>
                      <a:gd name="connsiteY227" fmla="*/ 600260 h 723778"/>
                      <a:gd name="connsiteX228" fmla="*/ 524417 w 751062"/>
                      <a:gd name="connsiteY228" fmla="*/ 605965 h 723778"/>
                      <a:gd name="connsiteX229" fmla="*/ 527887 w 751062"/>
                      <a:gd name="connsiteY229" fmla="*/ 586457 h 723778"/>
                      <a:gd name="connsiteX230" fmla="*/ 451752 w 751062"/>
                      <a:gd name="connsiteY230" fmla="*/ 357586 h 723778"/>
                      <a:gd name="connsiteX231" fmla="*/ 467779 w 751062"/>
                      <a:gd name="connsiteY231" fmla="*/ 361364 h 723778"/>
                      <a:gd name="connsiteX232" fmla="*/ 484297 w 751062"/>
                      <a:gd name="connsiteY232" fmla="*/ 369844 h 723778"/>
                      <a:gd name="connsiteX233" fmla="*/ 439862 w 751062"/>
                      <a:gd name="connsiteY233" fmla="*/ 375915 h 723778"/>
                      <a:gd name="connsiteX234" fmla="*/ 438714 w 751062"/>
                      <a:gd name="connsiteY234" fmla="*/ 359485 h 723778"/>
                      <a:gd name="connsiteX235" fmla="*/ 451752 w 751062"/>
                      <a:gd name="connsiteY235" fmla="*/ 357586 h 723778"/>
                      <a:gd name="connsiteX236" fmla="*/ 438488 w 751062"/>
                      <a:gd name="connsiteY236" fmla="*/ 357232 h 723778"/>
                      <a:gd name="connsiteX237" fmla="*/ 437840 w 751062"/>
                      <a:gd name="connsiteY237" fmla="*/ 351693 h 723778"/>
                      <a:gd name="connsiteX238" fmla="*/ 451312 w 751062"/>
                      <a:gd name="connsiteY238" fmla="*/ 354748 h 723778"/>
                      <a:gd name="connsiteX239" fmla="*/ 438488 w 751062"/>
                      <a:gd name="connsiteY239" fmla="*/ 357232 h 723778"/>
                      <a:gd name="connsiteX240" fmla="*/ 469806 w 751062"/>
                      <a:gd name="connsiteY240" fmla="*/ 652932 h 723778"/>
                      <a:gd name="connsiteX241" fmla="*/ 453139 w 751062"/>
                      <a:gd name="connsiteY241" fmla="*/ 655628 h 723778"/>
                      <a:gd name="connsiteX242" fmla="*/ 448285 w 751062"/>
                      <a:gd name="connsiteY242" fmla="*/ 656430 h 723778"/>
                      <a:gd name="connsiteX243" fmla="*/ 452968 w 751062"/>
                      <a:gd name="connsiteY243" fmla="*/ 642119 h 723778"/>
                      <a:gd name="connsiteX244" fmla="*/ 468638 w 751062"/>
                      <a:gd name="connsiteY244" fmla="*/ 642296 h 723778"/>
                      <a:gd name="connsiteX245" fmla="*/ 469806 w 751062"/>
                      <a:gd name="connsiteY245" fmla="*/ 652932 h 723778"/>
                      <a:gd name="connsiteX246" fmla="*/ 470460 w 751062"/>
                      <a:gd name="connsiteY246" fmla="*/ 642416 h 723778"/>
                      <a:gd name="connsiteX247" fmla="*/ 475205 w 751062"/>
                      <a:gd name="connsiteY247" fmla="*/ 644912 h 723778"/>
                      <a:gd name="connsiteX248" fmla="*/ 474857 w 751062"/>
                      <a:gd name="connsiteY248" fmla="*/ 651388 h 723778"/>
                      <a:gd name="connsiteX249" fmla="*/ 470460 w 751062"/>
                      <a:gd name="connsiteY249" fmla="*/ 642416 h 723778"/>
                      <a:gd name="connsiteX250" fmla="*/ 472119 w 751062"/>
                      <a:gd name="connsiteY250" fmla="*/ 639703 h 723778"/>
                      <a:gd name="connsiteX251" fmla="*/ 462565 w 751062"/>
                      <a:gd name="connsiteY251" fmla="*/ 639372 h 723778"/>
                      <a:gd name="connsiteX252" fmla="*/ 457145 w 751062"/>
                      <a:gd name="connsiteY252" fmla="*/ 639678 h 723778"/>
                      <a:gd name="connsiteX253" fmla="*/ 434240 w 751062"/>
                      <a:gd name="connsiteY253" fmla="*/ 639835 h 723778"/>
                      <a:gd name="connsiteX254" fmla="*/ 461957 w 751062"/>
                      <a:gd name="connsiteY254" fmla="*/ 625552 h 723778"/>
                      <a:gd name="connsiteX255" fmla="*/ 486513 w 751062"/>
                      <a:gd name="connsiteY255" fmla="*/ 631500 h 723778"/>
                      <a:gd name="connsiteX256" fmla="*/ 485490 w 751062"/>
                      <a:gd name="connsiteY256" fmla="*/ 638624 h 723778"/>
                      <a:gd name="connsiteX257" fmla="*/ 477218 w 751062"/>
                      <a:gd name="connsiteY257" fmla="*/ 642387 h 723778"/>
                      <a:gd name="connsiteX258" fmla="*/ 472119 w 751062"/>
                      <a:gd name="connsiteY258" fmla="*/ 639703 h 723778"/>
                      <a:gd name="connsiteX259" fmla="*/ 476876 w 751062"/>
                      <a:gd name="connsiteY259" fmla="*/ 619876 h 723778"/>
                      <a:gd name="connsiteX260" fmla="*/ 429703 w 751062"/>
                      <a:gd name="connsiteY260" fmla="*/ 638050 h 723778"/>
                      <a:gd name="connsiteX261" fmla="*/ 429554 w 751062"/>
                      <a:gd name="connsiteY261" fmla="*/ 640406 h 723778"/>
                      <a:gd name="connsiteX262" fmla="*/ 415934 w 751062"/>
                      <a:gd name="connsiteY262" fmla="*/ 642633 h 723778"/>
                      <a:gd name="connsiteX263" fmla="*/ 403773 w 751062"/>
                      <a:gd name="connsiteY263" fmla="*/ 577348 h 723778"/>
                      <a:gd name="connsiteX264" fmla="*/ 433988 w 751062"/>
                      <a:gd name="connsiteY264" fmla="*/ 571575 h 723778"/>
                      <a:gd name="connsiteX265" fmla="*/ 436841 w 751062"/>
                      <a:gd name="connsiteY265" fmla="*/ 572740 h 723778"/>
                      <a:gd name="connsiteX266" fmla="*/ 446106 w 751062"/>
                      <a:gd name="connsiteY266" fmla="*/ 588210 h 723778"/>
                      <a:gd name="connsiteX267" fmla="*/ 466982 w 751062"/>
                      <a:gd name="connsiteY267" fmla="*/ 611615 h 723778"/>
                      <a:gd name="connsiteX268" fmla="*/ 483414 w 751062"/>
                      <a:gd name="connsiteY268" fmla="*/ 621975 h 723778"/>
                      <a:gd name="connsiteX269" fmla="*/ 476876 w 751062"/>
                      <a:gd name="connsiteY269" fmla="*/ 619876 h 723778"/>
                      <a:gd name="connsiteX270" fmla="*/ 403153 w 751062"/>
                      <a:gd name="connsiteY270" fmla="*/ 574096 h 723778"/>
                      <a:gd name="connsiteX271" fmla="*/ 401574 w 751062"/>
                      <a:gd name="connsiteY271" fmla="*/ 565821 h 723778"/>
                      <a:gd name="connsiteX272" fmla="*/ 417484 w 751062"/>
                      <a:gd name="connsiteY272" fmla="*/ 566310 h 723778"/>
                      <a:gd name="connsiteX273" fmla="*/ 434322 w 751062"/>
                      <a:gd name="connsiteY273" fmla="*/ 557878 h 723778"/>
                      <a:gd name="connsiteX274" fmla="*/ 433857 w 751062"/>
                      <a:gd name="connsiteY274" fmla="*/ 566118 h 723778"/>
                      <a:gd name="connsiteX275" fmla="*/ 403153 w 751062"/>
                      <a:gd name="connsiteY275" fmla="*/ 574096 h 723778"/>
                      <a:gd name="connsiteX276" fmla="*/ 328540 w 751062"/>
                      <a:gd name="connsiteY276" fmla="*/ 407589 h 723778"/>
                      <a:gd name="connsiteX277" fmla="*/ 328138 w 751062"/>
                      <a:gd name="connsiteY277" fmla="*/ 395682 h 723778"/>
                      <a:gd name="connsiteX278" fmla="*/ 340781 w 751062"/>
                      <a:gd name="connsiteY278" fmla="*/ 393218 h 723778"/>
                      <a:gd name="connsiteX279" fmla="*/ 342355 w 751062"/>
                      <a:gd name="connsiteY279" fmla="*/ 412872 h 723778"/>
                      <a:gd name="connsiteX280" fmla="*/ 328406 w 751062"/>
                      <a:gd name="connsiteY280" fmla="*/ 410656 h 723778"/>
                      <a:gd name="connsiteX281" fmla="*/ 328540 w 751062"/>
                      <a:gd name="connsiteY281" fmla="*/ 407589 h 723778"/>
                      <a:gd name="connsiteX282" fmla="*/ 569677 w 751062"/>
                      <a:gd name="connsiteY282" fmla="*/ 251276 h 723778"/>
                      <a:gd name="connsiteX283" fmla="*/ 574891 w 751062"/>
                      <a:gd name="connsiteY283" fmla="*/ 252013 h 723778"/>
                      <a:gd name="connsiteX284" fmla="*/ 574971 w 751062"/>
                      <a:gd name="connsiteY284" fmla="*/ 252581 h 723778"/>
                      <a:gd name="connsiteX285" fmla="*/ 577818 w 751062"/>
                      <a:gd name="connsiteY285" fmla="*/ 288113 h 723778"/>
                      <a:gd name="connsiteX286" fmla="*/ 569143 w 751062"/>
                      <a:gd name="connsiteY286" fmla="*/ 283062 h 723778"/>
                      <a:gd name="connsiteX287" fmla="*/ 567350 w 751062"/>
                      <a:gd name="connsiteY287" fmla="*/ 269873 h 723778"/>
                      <a:gd name="connsiteX288" fmla="*/ 563630 w 751062"/>
                      <a:gd name="connsiteY288" fmla="*/ 250125 h 723778"/>
                      <a:gd name="connsiteX289" fmla="*/ 569677 w 751062"/>
                      <a:gd name="connsiteY289" fmla="*/ 251276 h 723778"/>
                      <a:gd name="connsiteX290" fmla="*/ 559809 w 751062"/>
                      <a:gd name="connsiteY290" fmla="*/ 257518 h 723778"/>
                      <a:gd name="connsiteX291" fmla="*/ 564144 w 751062"/>
                      <a:gd name="connsiteY291" fmla="*/ 280712 h 723778"/>
                      <a:gd name="connsiteX292" fmla="*/ 521305 w 751062"/>
                      <a:gd name="connsiteY292" fmla="*/ 269667 h 723778"/>
                      <a:gd name="connsiteX293" fmla="*/ 428689 w 751062"/>
                      <a:gd name="connsiteY293" fmla="*/ 249217 h 723778"/>
                      <a:gd name="connsiteX294" fmla="*/ 426062 w 751062"/>
                      <a:gd name="connsiteY294" fmla="*/ 244149 h 723778"/>
                      <a:gd name="connsiteX295" fmla="*/ 512328 w 751062"/>
                      <a:gd name="connsiteY295" fmla="*/ 256898 h 723778"/>
                      <a:gd name="connsiteX296" fmla="*/ 559809 w 751062"/>
                      <a:gd name="connsiteY296" fmla="*/ 257518 h 723778"/>
                      <a:gd name="connsiteX297" fmla="*/ 444713 w 751062"/>
                      <a:gd name="connsiteY297" fmla="*/ 218028 h 723778"/>
                      <a:gd name="connsiteX298" fmla="*/ 535799 w 751062"/>
                      <a:gd name="connsiteY298" fmla="*/ 232773 h 723778"/>
                      <a:gd name="connsiteX299" fmla="*/ 558396 w 751062"/>
                      <a:gd name="connsiteY299" fmla="*/ 247767 h 723778"/>
                      <a:gd name="connsiteX300" fmla="*/ 558504 w 751062"/>
                      <a:gd name="connsiteY300" fmla="*/ 247761 h 723778"/>
                      <a:gd name="connsiteX301" fmla="*/ 557068 w 751062"/>
                      <a:gd name="connsiteY301" fmla="*/ 253583 h 723778"/>
                      <a:gd name="connsiteX302" fmla="*/ 515369 w 751062"/>
                      <a:gd name="connsiteY302" fmla="*/ 252469 h 723778"/>
                      <a:gd name="connsiteX303" fmla="*/ 423432 w 751062"/>
                      <a:gd name="connsiteY303" fmla="*/ 238861 h 723778"/>
                      <a:gd name="connsiteX304" fmla="*/ 419946 w 751062"/>
                      <a:gd name="connsiteY304" fmla="*/ 231311 h 723778"/>
                      <a:gd name="connsiteX305" fmla="*/ 536630 w 751062"/>
                      <a:gd name="connsiteY305" fmla="*/ 245996 h 723778"/>
                      <a:gd name="connsiteX306" fmla="*/ 537178 w 751062"/>
                      <a:gd name="connsiteY306" fmla="*/ 245959 h 723778"/>
                      <a:gd name="connsiteX307" fmla="*/ 537912 w 751062"/>
                      <a:gd name="connsiteY307" fmla="*/ 245896 h 723778"/>
                      <a:gd name="connsiteX308" fmla="*/ 537535 w 751062"/>
                      <a:gd name="connsiteY308" fmla="*/ 242747 h 723778"/>
                      <a:gd name="connsiteX309" fmla="*/ 417779 w 751062"/>
                      <a:gd name="connsiteY309" fmla="*/ 226320 h 723778"/>
                      <a:gd name="connsiteX310" fmla="*/ 413476 w 751062"/>
                      <a:gd name="connsiteY310" fmla="*/ 215838 h 723778"/>
                      <a:gd name="connsiteX311" fmla="*/ 441432 w 751062"/>
                      <a:gd name="connsiteY311" fmla="*/ 217754 h 723778"/>
                      <a:gd name="connsiteX312" fmla="*/ 444713 w 751062"/>
                      <a:gd name="connsiteY312" fmla="*/ 218028 h 723778"/>
                      <a:gd name="connsiteX313" fmla="*/ 438466 w 751062"/>
                      <a:gd name="connsiteY313" fmla="*/ 212329 h 723778"/>
                      <a:gd name="connsiteX314" fmla="*/ 411428 w 751062"/>
                      <a:gd name="connsiteY314" fmla="*/ 210556 h 723778"/>
                      <a:gd name="connsiteX315" fmla="*/ 405401 w 751062"/>
                      <a:gd name="connsiteY315" fmla="*/ 193763 h 723778"/>
                      <a:gd name="connsiteX316" fmla="*/ 425597 w 751062"/>
                      <a:gd name="connsiteY316" fmla="*/ 185817 h 723778"/>
                      <a:gd name="connsiteX317" fmla="*/ 438466 w 751062"/>
                      <a:gd name="connsiteY317" fmla="*/ 212329 h 723778"/>
                      <a:gd name="connsiteX318" fmla="*/ 305909 w 751062"/>
                      <a:gd name="connsiteY318" fmla="*/ 79267 h 723778"/>
                      <a:gd name="connsiteX319" fmla="*/ 302677 w 751062"/>
                      <a:gd name="connsiteY319" fmla="*/ 34049 h 723778"/>
                      <a:gd name="connsiteX320" fmla="*/ 304524 w 751062"/>
                      <a:gd name="connsiteY320" fmla="*/ 30951 h 723778"/>
                      <a:gd name="connsiteX321" fmla="*/ 315640 w 751062"/>
                      <a:gd name="connsiteY321" fmla="*/ 93669 h 723778"/>
                      <a:gd name="connsiteX322" fmla="*/ 311471 w 751062"/>
                      <a:gd name="connsiteY322" fmla="*/ 81448 h 723778"/>
                      <a:gd name="connsiteX323" fmla="*/ 304524 w 751062"/>
                      <a:gd name="connsiteY323" fmla="*/ 83033 h 723778"/>
                      <a:gd name="connsiteX324" fmla="*/ 305909 w 751062"/>
                      <a:gd name="connsiteY324" fmla="*/ 79267 h 723778"/>
                      <a:gd name="connsiteX325" fmla="*/ 221059 w 751062"/>
                      <a:gd name="connsiteY325" fmla="*/ 47744 h 723778"/>
                      <a:gd name="connsiteX326" fmla="*/ 232966 w 751062"/>
                      <a:gd name="connsiteY326" fmla="*/ 21948 h 723778"/>
                      <a:gd name="connsiteX327" fmla="*/ 232072 w 751062"/>
                      <a:gd name="connsiteY327" fmla="*/ 29181 h 723778"/>
                      <a:gd name="connsiteX328" fmla="*/ 229100 w 751062"/>
                      <a:gd name="connsiteY328" fmla="*/ 26426 h 723778"/>
                      <a:gd name="connsiteX329" fmla="*/ 298651 w 751062"/>
                      <a:gd name="connsiteY329" fmla="*/ 90248 h 723778"/>
                      <a:gd name="connsiteX330" fmla="*/ 265360 w 751062"/>
                      <a:gd name="connsiteY330" fmla="*/ 99197 h 723778"/>
                      <a:gd name="connsiteX331" fmla="*/ 223406 w 751062"/>
                      <a:gd name="connsiteY331" fmla="*/ 56590 h 723778"/>
                      <a:gd name="connsiteX332" fmla="*/ 221059 w 751062"/>
                      <a:gd name="connsiteY332" fmla="*/ 47744 h 723778"/>
                      <a:gd name="connsiteX333" fmla="*/ 279785 w 751062"/>
                      <a:gd name="connsiteY333" fmla="*/ 87958 h 723778"/>
                      <a:gd name="connsiteX334" fmla="*/ 279785 w 751062"/>
                      <a:gd name="connsiteY334" fmla="*/ 87958 h 723778"/>
                      <a:gd name="connsiteX335" fmla="*/ 279785 w 751062"/>
                      <a:gd name="connsiteY335" fmla="*/ 87958 h 723778"/>
                      <a:gd name="connsiteX336" fmla="*/ 187329 w 751062"/>
                      <a:gd name="connsiteY336" fmla="*/ 69898 h 723778"/>
                      <a:gd name="connsiteX337" fmla="*/ 214352 w 751062"/>
                      <a:gd name="connsiteY337" fmla="*/ 49166 h 723778"/>
                      <a:gd name="connsiteX338" fmla="*/ 219612 w 751062"/>
                      <a:gd name="connsiteY338" fmla="*/ 62474 h 723778"/>
                      <a:gd name="connsiteX339" fmla="*/ 264269 w 751062"/>
                      <a:gd name="connsiteY339" fmla="*/ 106181 h 723778"/>
                      <a:gd name="connsiteX340" fmla="*/ 268826 w 751062"/>
                      <a:gd name="connsiteY340" fmla="*/ 105584 h 723778"/>
                      <a:gd name="connsiteX341" fmla="*/ 278415 w 751062"/>
                      <a:gd name="connsiteY341" fmla="*/ 88275 h 723778"/>
                      <a:gd name="connsiteX342" fmla="*/ 291766 w 751062"/>
                      <a:gd name="connsiteY342" fmla="*/ 92884 h 723778"/>
                      <a:gd name="connsiteX343" fmla="*/ 297991 w 751062"/>
                      <a:gd name="connsiteY343" fmla="*/ 96496 h 723778"/>
                      <a:gd name="connsiteX344" fmla="*/ 301566 w 751062"/>
                      <a:gd name="connsiteY344" fmla="*/ 97747 h 723778"/>
                      <a:gd name="connsiteX345" fmla="*/ 329491 w 751062"/>
                      <a:gd name="connsiteY345" fmla="*/ 175189 h 723778"/>
                      <a:gd name="connsiteX346" fmla="*/ 335536 w 751062"/>
                      <a:gd name="connsiteY346" fmla="*/ 189532 h 723778"/>
                      <a:gd name="connsiteX347" fmla="*/ 358930 w 751062"/>
                      <a:gd name="connsiteY347" fmla="*/ 231623 h 723778"/>
                      <a:gd name="connsiteX348" fmla="*/ 361799 w 751062"/>
                      <a:gd name="connsiteY348" fmla="*/ 229410 h 723778"/>
                      <a:gd name="connsiteX349" fmla="*/ 333343 w 751062"/>
                      <a:gd name="connsiteY349" fmla="*/ 171389 h 723778"/>
                      <a:gd name="connsiteX350" fmla="*/ 329174 w 751062"/>
                      <a:gd name="connsiteY350" fmla="*/ 161061 h 723778"/>
                      <a:gd name="connsiteX351" fmla="*/ 304815 w 751062"/>
                      <a:gd name="connsiteY351" fmla="*/ 96490 h 723778"/>
                      <a:gd name="connsiteX352" fmla="*/ 308613 w 751062"/>
                      <a:gd name="connsiteY352" fmla="*/ 86128 h 723778"/>
                      <a:gd name="connsiteX353" fmla="*/ 314843 w 751062"/>
                      <a:gd name="connsiteY353" fmla="*/ 101810 h 723778"/>
                      <a:gd name="connsiteX354" fmla="*/ 318675 w 751062"/>
                      <a:gd name="connsiteY354" fmla="*/ 100805 h 723778"/>
                      <a:gd name="connsiteX355" fmla="*/ 320848 w 751062"/>
                      <a:gd name="connsiteY355" fmla="*/ 44426 h 723778"/>
                      <a:gd name="connsiteX356" fmla="*/ 332287 w 751062"/>
                      <a:gd name="connsiteY356" fmla="*/ 44323 h 723778"/>
                      <a:gd name="connsiteX357" fmla="*/ 375040 w 751062"/>
                      <a:gd name="connsiteY357" fmla="*/ 81671 h 723778"/>
                      <a:gd name="connsiteX358" fmla="*/ 384351 w 751062"/>
                      <a:gd name="connsiteY358" fmla="*/ 102215 h 723778"/>
                      <a:gd name="connsiteX359" fmla="*/ 422210 w 751062"/>
                      <a:gd name="connsiteY359" fmla="*/ 179732 h 723778"/>
                      <a:gd name="connsiteX360" fmla="*/ 403293 w 751062"/>
                      <a:gd name="connsiteY360" fmla="*/ 187499 h 723778"/>
                      <a:gd name="connsiteX361" fmla="*/ 378463 w 751062"/>
                      <a:gd name="connsiteY361" fmla="*/ 102215 h 723778"/>
                      <a:gd name="connsiteX362" fmla="*/ 377512 w 751062"/>
                      <a:gd name="connsiteY362" fmla="*/ 98009 h 723778"/>
                      <a:gd name="connsiteX363" fmla="*/ 374780 w 751062"/>
                      <a:gd name="connsiteY363" fmla="*/ 92024 h 723778"/>
                      <a:gd name="connsiteX364" fmla="*/ 370051 w 751062"/>
                      <a:gd name="connsiteY364" fmla="*/ 95691 h 723778"/>
                      <a:gd name="connsiteX365" fmla="*/ 371967 w 751062"/>
                      <a:gd name="connsiteY365" fmla="*/ 100308 h 723778"/>
                      <a:gd name="connsiteX366" fmla="*/ 371907 w 751062"/>
                      <a:gd name="connsiteY366" fmla="*/ 100308 h 723778"/>
                      <a:gd name="connsiteX367" fmla="*/ 408062 w 751062"/>
                      <a:gd name="connsiteY367" fmla="*/ 218808 h 723778"/>
                      <a:gd name="connsiteX368" fmla="*/ 422807 w 751062"/>
                      <a:gd name="connsiteY368" fmla="*/ 248098 h 723778"/>
                      <a:gd name="connsiteX369" fmla="*/ 378823 w 751062"/>
                      <a:gd name="connsiteY369" fmla="*/ 256575 h 723778"/>
                      <a:gd name="connsiteX370" fmla="*/ 366488 w 751062"/>
                      <a:gd name="connsiteY370" fmla="*/ 237836 h 723778"/>
                      <a:gd name="connsiteX371" fmla="*/ 345073 w 751062"/>
                      <a:gd name="connsiteY371" fmla="*/ 228933 h 723778"/>
                      <a:gd name="connsiteX372" fmla="*/ 335536 w 751062"/>
                      <a:gd name="connsiteY372" fmla="*/ 227474 h 723778"/>
                      <a:gd name="connsiteX373" fmla="*/ 303719 w 751062"/>
                      <a:gd name="connsiteY373" fmla="*/ 233281 h 723778"/>
                      <a:gd name="connsiteX374" fmla="*/ 215234 w 751062"/>
                      <a:gd name="connsiteY374" fmla="*/ 227682 h 723778"/>
                      <a:gd name="connsiteX375" fmla="*/ 218067 w 751062"/>
                      <a:gd name="connsiteY375" fmla="*/ 215587 h 723778"/>
                      <a:gd name="connsiteX376" fmla="*/ 219552 w 751062"/>
                      <a:gd name="connsiteY376" fmla="*/ 143832 h 723778"/>
                      <a:gd name="connsiteX377" fmla="*/ 217342 w 751062"/>
                      <a:gd name="connsiteY377" fmla="*/ 122662 h 723778"/>
                      <a:gd name="connsiteX378" fmla="*/ 212291 w 751062"/>
                      <a:gd name="connsiteY378" fmla="*/ 123345 h 723778"/>
                      <a:gd name="connsiteX379" fmla="*/ 210003 w 751062"/>
                      <a:gd name="connsiteY379" fmla="*/ 190340 h 723778"/>
                      <a:gd name="connsiteX380" fmla="*/ 210203 w 751062"/>
                      <a:gd name="connsiteY380" fmla="*/ 226463 h 723778"/>
                      <a:gd name="connsiteX381" fmla="*/ 151289 w 751062"/>
                      <a:gd name="connsiteY381" fmla="*/ 236742 h 723778"/>
                      <a:gd name="connsiteX382" fmla="*/ 143354 w 751062"/>
                      <a:gd name="connsiteY382" fmla="*/ 239723 h 723778"/>
                      <a:gd name="connsiteX383" fmla="*/ 144619 w 751062"/>
                      <a:gd name="connsiteY383" fmla="*/ 240988 h 723778"/>
                      <a:gd name="connsiteX384" fmla="*/ 206149 w 751062"/>
                      <a:gd name="connsiteY384" fmla="*/ 230794 h 723778"/>
                      <a:gd name="connsiteX385" fmla="*/ 228118 w 751062"/>
                      <a:gd name="connsiteY385" fmla="*/ 232553 h 723778"/>
                      <a:gd name="connsiteX386" fmla="*/ 286378 w 751062"/>
                      <a:gd name="connsiteY386" fmla="*/ 241334 h 723778"/>
                      <a:gd name="connsiteX387" fmla="*/ 305635 w 751062"/>
                      <a:gd name="connsiteY387" fmla="*/ 237567 h 723778"/>
                      <a:gd name="connsiteX388" fmla="*/ 329177 w 751062"/>
                      <a:gd name="connsiteY388" fmla="*/ 231994 h 723778"/>
                      <a:gd name="connsiteX389" fmla="*/ 346675 w 751062"/>
                      <a:gd name="connsiteY389" fmla="*/ 234261 h 723778"/>
                      <a:gd name="connsiteX390" fmla="*/ 363930 w 751062"/>
                      <a:gd name="connsiteY390" fmla="*/ 241836 h 723778"/>
                      <a:gd name="connsiteX391" fmla="*/ 375057 w 751062"/>
                      <a:gd name="connsiteY391" fmla="*/ 256515 h 723778"/>
                      <a:gd name="connsiteX392" fmla="*/ 357719 w 751062"/>
                      <a:gd name="connsiteY392" fmla="*/ 239629 h 723778"/>
                      <a:gd name="connsiteX393" fmla="*/ 356289 w 751062"/>
                      <a:gd name="connsiteY393" fmla="*/ 242076 h 723778"/>
                      <a:gd name="connsiteX394" fmla="*/ 374617 w 751062"/>
                      <a:gd name="connsiteY394" fmla="*/ 262403 h 723778"/>
                      <a:gd name="connsiteX395" fmla="*/ 371468 w 751062"/>
                      <a:gd name="connsiteY395" fmla="*/ 266595 h 723778"/>
                      <a:gd name="connsiteX396" fmla="*/ 370437 w 751062"/>
                      <a:gd name="connsiteY396" fmla="*/ 266855 h 723778"/>
                      <a:gd name="connsiteX397" fmla="*/ 359324 w 751062"/>
                      <a:gd name="connsiteY397" fmla="*/ 252435 h 723778"/>
                      <a:gd name="connsiteX398" fmla="*/ 349767 w 751062"/>
                      <a:gd name="connsiteY398" fmla="*/ 245594 h 723778"/>
                      <a:gd name="connsiteX399" fmla="*/ 348337 w 751062"/>
                      <a:gd name="connsiteY399" fmla="*/ 248041 h 723778"/>
                      <a:gd name="connsiteX400" fmla="*/ 367579 w 751062"/>
                      <a:gd name="connsiteY400" fmla="*/ 266412 h 723778"/>
                      <a:gd name="connsiteX401" fmla="*/ 364709 w 751062"/>
                      <a:gd name="connsiteY401" fmla="*/ 267608 h 723778"/>
                      <a:gd name="connsiteX402" fmla="*/ 361919 w 751062"/>
                      <a:gd name="connsiteY402" fmla="*/ 265801 h 723778"/>
                      <a:gd name="connsiteX403" fmla="*/ 354484 w 751062"/>
                      <a:gd name="connsiteY403" fmla="*/ 260473 h 723778"/>
                      <a:gd name="connsiteX404" fmla="*/ 353739 w 751062"/>
                      <a:gd name="connsiteY404" fmla="*/ 260262 h 723778"/>
                      <a:gd name="connsiteX405" fmla="*/ 341338 w 751062"/>
                      <a:gd name="connsiteY405" fmla="*/ 253029 h 723778"/>
                      <a:gd name="connsiteX406" fmla="*/ 340427 w 751062"/>
                      <a:gd name="connsiteY406" fmla="*/ 256336 h 723778"/>
                      <a:gd name="connsiteX407" fmla="*/ 356948 w 751062"/>
                      <a:gd name="connsiteY407" fmla="*/ 277023 h 723778"/>
                      <a:gd name="connsiteX408" fmla="*/ 339756 w 751062"/>
                      <a:gd name="connsiteY408" fmla="*/ 264062 h 723778"/>
                      <a:gd name="connsiteX409" fmla="*/ 335999 w 751062"/>
                      <a:gd name="connsiteY409" fmla="*/ 261866 h 723778"/>
                      <a:gd name="connsiteX410" fmla="*/ 335542 w 751062"/>
                      <a:gd name="connsiteY410" fmla="*/ 261781 h 723778"/>
                      <a:gd name="connsiteX411" fmla="*/ 331601 w 751062"/>
                      <a:gd name="connsiteY411" fmla="*/ 262335 h 723778"/>
                      <a:gd name="connsiteX412" fmla="*/ 314189 w 751062"/>
                      <a:gd name="connsiteY412" fmla="*/ 262712 h 723778"/>
                      <a:gd name="connsiteX413" fmla="*/ 309001 w 751062"/>
                      <a:gd name="connsiteY413" fmla="*/ 262101 h 723778"/>
                      <a:gd name="connsiteX414" fmla="*/ 307374 w 751062"/>
                      <a:gd name="connsiteY414" fmla="*/ 262395 h 723778"/>
                      <a:gd name="connsiteX415" fmla="*/ 279825 w 751062"/>
                      <a:gd name="connsiteY415" fmla="*/ 264667 h 723778"/>
                      <a:gd name="connsiteX416" fmla="*/ 268744 w 751062"/>
                      <a:gd name="connsiteY416" fmla="*/ 264836 h 723778"/>
                      <a:gd name="connsiteX417" fmla="*/ 257248 w 751062"/>
                      <a:gd name="connsiteY417" fmla="*/ 266052 h 723778"/>
                      <a:gd name="connsiteX418" fmla="*/ 139990 w 751062"/>
                      <a:gd name="connsiteY418" fmla="*/ 259111 h 723778"/>
                      <a:gd name="connsiteX419" fmla="*/ 141004 w 751062"/>
                      <a:gd name="connsiteY419" fmla="*/ 249457 h 723778"/>
                      <a:gd name="connsiteX420" fmla="*/ 146061 w 751062"/>
                      <a:gd name="connsiteY420" fmla="*/ 146573 h 723778"/>
                      <a:gd name="connsiteX421" fmla="*/ 187329 w 751062"/>
                      <a:gd name="connsiteY421" fmla="*/ 69898 h 723778"/>
                      <a:gd name="connsiteX422" fmla="*/ 137952 w 751062"/>
                      <a:gd name="connsiteY422" fmla="*/ 266409 h 723778"/>
                      <a:gd name="connsiteX423" fmla="*/ 137549 w 751062"/>
                      <a:gd name="connsiteY423" fmla="*/ 261127 h 723778"/>
                      <a:gd name="connsiteX424" fmla="*/ 252582 w 751062"/>
                      <a:gd name="connsiteY424" fmla="*/ 271903 h 723778"/>
                      <a:gd name="connsiteX425" fmla="*/ 272918 w 751062"/>
                      <a:gd name="connsiteY425" fmla="*/ 269193 h 723778"/>
                      <a:gd name="connsiteX426" fmla="*/ 281673 w 751062"/>
                      <a:gd name="connsiteY426" fmla="*/ 270741 h 723778"/>
                      <a:gd name="connsiteX427" fmla="*/ 241801 w 751062"/>
                      <a:gd name="connsiteY427" fmla="*/ 283501 h 723778"/>
                      <a:gd name="connsiteX428" fmla="*/ 159727 w 751062"/>
                      <a:gd name="connsiteY428" fmla="*/ 276346 h 723778"/>
                      <a:gd name="connsiteX429" fmla="*/ 138120 w 751062"/>
                      <a:gd name="connsiteY429" fmla="*/ 272211 h 723778"/>
                      <a:gd name="connsiteX430" fmla="*/ 137952 w 751062"/>
                      <a:gd name="connsiteY430" fmla="*/ 266409 h 723778"/>
                      <a:gd name="connsiteX431" fmla="*/ 240464 w 751062"/>
                      <a:gd name="connsiteY431" fmla="*/ 289900 h 723778"/>
                      <a:gd name="connsiteX432" fmla="*/ 285230 w 751062"/>
                      <a:gd name="connsiteY432" fmla="*/ 278070 h 723778"/>
                      <a:gd name="connsiteX433" fmla="*/ 306608 w 751062"/>
                      <a:gd name="connsiteY433" fmla="*/ 281220 h 723778"/>
                      <a:gd name="connsiteX434" fmla="*/ 305466 w 751062"/>
                      <a:gd name="connsiteY434" fmla="*/ 367095 h 723778"/>
                      <a:gd name="connsiteX435" fmla="*/ 303765 w 751062"/>
                      <a:gd name="connsiteY435" fmla="*/ 380538 h 723778"/>
                      <a:gd name="connsiteX436" fmla="*/ 212528 w 751062"/>
                      <a:gd name="connsiteY436" fmla="*/ 365827 h 723778"/>
                      <a:gd name="connsiteX437" fmla="*/ 149893 w 751062"/>
                      <a:gd name="connsiteY437" fmla="*/ 281445 h 723778"/>
                      <a:gd name="connsiteX438" fmla="*/ 240464 w 751062"/>
                      <a:gd name="connsiteY438" fmla="*/ 289900 h 723778"/>
                      <a:gd name="connsiteX439" fmla="*/ 286344 w 751062"/>
                      <a:gd name="connsiteY439" fmla="*/ 274541 h 723778"/>
                      <a:gd name="connsiteX440" fmla="*/ 286944 w 751062"/>
                      <a:gd name="connsiteY440" fmla="*/ 271466 h 723778"/>
                      <a:gd name="connsiteX441" fmla="*/ 306534 w 751062"/>
                      <a:gd name="connsiteY441" fmla="*/ 274147 h 723778"/>
                      <a:gd name="connsiteX442" fmla="*/ 306586 w 751062"/>
                      <a:gd name="connsiteY442" fmla="*/ 277374 h 723778"/>
                      <a:gd name="connsiteX443" fmla="*/ 286344 w 751062"/>
                      <a:gd name="connsiteY443" fmla="*/ 274541 h 723778"/>
                      <a:gd name="connsiteX444" fmla="*/ 306483 w 751062"/>
                      <a:gd name="connsiteY444" fmla="*/ 269896 h 723778"/>
                      <a:gd name="connsiteX445" fmla="*/ 289242 w 751062"/>
                      <a:gd name="connsiteY445" fmla="*/ 267531 h 723778"/>
                      <a:gd name="connsiteX446" fmla="*/ 306766 w 751062"/>
                      <a:gd name="connsiteY446" fmla="*/ 265830 h 723778"/>
                      <a:gd name="connsiteX447" fmla="*/ 306483 w 751062"/>
                      <a:gd name="connsiteY447" fmla="*/ 269896 h 723778"/>
                      <a:gd name="connsiteX448" fmla="*/ 133175 w 751062"/>
                      <a:gd name="connsiteY448" fmla="*/ 88758 h 723778"/>
                      <a:gd name="connsiteX449" fmla="*/ 130936 w 751062"/>
                      <a:gd name="connsiteY449" fmla="*/ 81591 h 723778"/>
                      <a:gd name="connsiteX450" fmla="*/ 165140 w 751062"/>
                      <a:gd name="connsiteY450" fmla="*/ 85837 h 723778"/>
                      <a:gd name="connsiteX451" fmla="*/ 138237 w 751062"/>
                      <a:gd name="connsiteY451" fmla="*/ 142932 h 723778"/>
                      <a:gd name="connsiteX452" fmla="*/ 133175 w 751062"/>
                      <a:gd name="connsiteY452" fmla="*/ 88758 h 723778"/>
                      <a:gd name="connsiteX453" fmla="*/ 7014 w 751062"/>
                      <a:gd name="connsiteY453" fmla="*/ 477659 h 723778"/>
                      <a:gd name="connsiteX454" fmla="*/ 36153 w 751062"/>
                      <a:gd name="connsiteY454" fmla="*/ 336451 h 723778"/>
                      <a:gd name="connsiteX455" fmla="*/ 96323 w 751062"/>
                      <a:gd name="connsiteY455" fmla="*/ 634644 h 723778"/>
                      <a:gd name="connsiteX456" fmla="*/ 7014 w 751062"/>
                      <a:gd name="connsiteY456" fmla="*/ 477659 h 723778"/>
                      <a:gd name="connsiteX457" fmla="*/ 49893 w 751062"/>
                      <a:gd name="connsiteY457" fmla="*/ 320498 h 723778"/>
                      <a:gd name="connsiteX458" fmla="*/ 120251 w 751062"/>
                      <a:gd name="connsiteY458" fmla="*/ 313662 h 723778"/>
                      <a:gd name="connsiteX459" fmla="*/ 121779 w 751062"/>
                      <a:gd name="connsiteY459" fmla="*/ 343475 h 723778"/>
                      <a:gd name="connsiteX460" fmla="*/ 123224 w 751062"/>
                      <a:gd name="connsiteY460" fmla="*/ 352290 h 723778"/>
                      <a:gd name="connsiteX461" fmla="*/ 125083 w 751062"/>
                      <a:gd name="connsiteY461" fmla="*/ 354114 h 723778"/>
                      <a:gd name="connsiteX462" fmla="*/ 126405 w 751062"/>
                      <a:gd name="connsiteY462" fmla="*/ 375050 h 723778"/>
                      <a:gd name="connsiteX463" fmla="*/ 124791 w 751062"/>
                      <a:gd name="connsiteY463" fmla="*/ 444203 h 723778"/>
                      <a:gd name="connsiteX464" fmla="*/ 118918 w 751062"/>
                      <a:gd name="connsiteY464" fmla="*/ 455528 h 723778"/>
                      <a:gd name="connsiteX465" fmla="*/ 107205 w 751062"/>
                      <a:gd name="connsiteY465" fmla="*/ 452507 h 723778"/>
                      <a:gd name="connsiteX466" fmla="*/ 88785 w 751062"/>
                      <a:gd name="connsiteY466" fmla="*/ 466001 h 723778"/>
                      <a:gd name="connsiteX467" fmla="*/ 91906 w 751062"/>
                      <a:gd name="connsiteY467" fmla="*/ 475232 h 723778"/>
                      <a:gd name="connsiteX468" fmla="*/ 100361 w 751062"/>
                      <a:gd name="connsiteY468" fmla="*/ 485437 h 723778"/>
                      <a:gd name="connsiteX469" fmla="*/ 110689 w 751062"/>
                      <a:gd name="connsiteY469" fmla="*/ 475152 h 723778"/>
                      <a:gd name="connsiteX470" fmla="*/ 120017 w 751062"/>
                      <a:gd name="connsiteY470" fmla="*/ 472297 h 723778"/>
                      <a:gd name="connsiteX471" fmla="*/ 127267 w 751062"/>
                      <a:gd name="connsiteY471" fmla="*/ 480129 h 723778"/>
                      <a:gd name="connsiteX472" fmla="*/ 129514 w 751062"/>
                      <a:gd name="connsiteY472" fmla="*/ 483173 h 723778"/>
                      <a:gd name="connsiteX473" fmla="*/ 141752 w 751062"/>
                      <a:gd name="connsiteY473" fmla="*/ 478687 h 723778"/>
                      <a:gd name="connsiteX474" fmla="*/ 144448 w 751062"/>
                      <a:gd name="connsiteY474" fmla="*/ 463400 h 723778"/>
                      <a:gd name="connsiteX475" fmla="*/ 144482 w 751062"/>
                      <a:gd name="connsiteY475" fmla="*/ 463400 h 723778"/>
                      <a:gd name="connsiteX476" fmla="*/ 145141 w 751062"/>
                      <a:gd name="connsiteY476" fmla="*/ 445785 h 723778"/>
                      <a:gd name="connsiteX477" fmla="*/ 122290 w 751062"/>
                      <a:gd name="connsiteY477" fmla="*/ 478428 h 723778"/>
                      <a:gd name="connsiteX478" fmla="*/ 119263 w 751062"/>
                      <a:gd name="connsiteY478" fmla="*/ 476940 h 723778"/>
                      <a:gd name="connsiteX479" fmla="*/ 117776 w 751062"/>
                      <a:gd name="connsiteY479" fmla="*/ 479969 h 723778"/>
                      <a:gd name="connsiteX480" fmla="*/ 136852 w 751062"/>
                      <a:gd name="connsiteY480" fmla="*/ 496745 h 723778"/>
                      <a:gd name="connsiteX481" fmla="*/ 152086 w 751062"/>
                      <a:gd name="connsiteY481" fmla="*/ 487725 h 723778"/>
                      <a:gd name="connsiteX482" fmla="*/ 145373 w 751062"/>
                      <a:gd name="connsiteY482" fmla="*/ 439601 h 723778"/>
                      <a:gd name="connsiteX483" fmla="*/ 147614 w 751062"/>
                      <a:gd name="connsiteY483" fmla="*/ 379652 h 723778"/>
                      <a:gd name="connsiteX484" fmla="*/ 171907 w 751062"/>
                      <a:gd name="connsiteY484" fmla="*/ 383356 h 723778"/>
                      <a:gd name="connsiteX485" fmla="*/ 165092 w 751062"/>
                      <a:gd name="connsiteY485" fmla="*/ 596919 h 723778"/>
                      <a:gd name="connsiteX486" fmla="*/ 163576 w 751062"/>
                      <a:gd name="connsiteY486" fmla="*/ 595708 h 723778"/>
                      <a:gd name="connsiteX487" fmla="*/ 125782 w 751062"/>
                      <a:gd name="connsiteY487" fmla="*/ 587808 h 723778"/>
                      <a:gd name="connsiteX488" fmla="*/ 97531 w 751062"/>
                      <a:gd name="connsiteY488" fmla="*/ 589601 h 723778"/>
                      <a:gd name="connsiteX489" fmla="*/ 101769 w 751062"/>
                      <a:gd name="connsiteY489" fmla="*/ 602618 h 723778"/>
                      <a:gd name="connsiteX490" fmla="*/ 113201 w 751062"/>
                      <a:gd name="connsiteY490" fmla="*/ 606267 h 723778"/>
                      <a:gd name="connsiteX491" fmla="*/ 132078 w 751062"/>
                      <a:gd name="connsiteY491" fmla="*/ 611947 h 723778"/>
                      <a:gd name="connsiteX492" fmla="*/ 149701 w 751062"/>
                      <a:gd name="connsiteY492" fmla="*/ 617021 h 723778"/>
                      <a:gd name="connsiteX493" fmla="*/ 104621 w 751062"/>
                      <a:gd name="connsiteY493" fmla="*/ 635852 h 723778"/>
                      <a:gd name="connsiteX494" fmla="*/ 104644 w 751062"/>
                      <a:gd name="connsiteY494" fmla="*/ 635817 h 723778"/>
                      <a:gd name="connsiteX495" fmla="*/ 49901 w 751062"/>
                      <a:gd name="connsiteY495" fmla="*/ 320501 h 723778"/>
                      <a:gd name="connsiteX496" fmla="*/ 49893 w 751062"/>
                      <a:gd name="connsiteY496" fmla="*/ 320498 h 723778"/>
                      <a:gd name="connsiteX497" fmla="*/ 119769 w 751062"/>
                      <a:gd name="connsiteY497" fmla="*/ 294574 h 723778"/>
                      <a:gd name="connsiteX498" fmla="*/ 119954 w 751062"/>
                      <a:gd name="connsiteY498" fmla="*/ 301427 h 723778"/>
                      <a:gd name="connsiteX499" fmla="*/ 69063 w 751062"/>
                      <a:gd name="connsiteY499" fmla="*/ 297333 h 723778"/>
                      <a:gd name="connsiteX500" fmla="*/ 119635 w 751062"/>
                      <a:gd name="connsiteY500" fmla="*/ 289084 h 723778"/>
                      <a:gd name="connsiteX501" fmla="*/ 119769 w 751062"/>
                      <a:gd name="connsiteY501" fmla="*/ 294574 h 723778"/>
                      <a:gd name="connsiteX502" fmla="*/ 158502 w 751062"/>
                      <a:gd name="connsiteY502" fmla="*/ 618151 h 723778"/>
                      <a:gd name="connsiteX503" fmla="*/ 159795 w 751062"/>
                      <a:gd name="connsiteY503" fmla="*/ 619328 h 723778"/>
                      <a:gd name="connsiteX504" fmla="*/ 179922 w 751062"/>
                      <a:gd name="connsiteY504" fmla="*/ 621643 h 723778"/>
                      <a:gd name="connsiteX505" fmla="*/ 120631 w 751062"/>
                      <a:gd name="connsiteY505" fmla="*/ 641011 h 723778"/>
                      <a:gd name="connsiteX506" fmla="*/ 158502 w 751062"/>
                      <a:gd name="connsiteY506" fmla="*/ 618151 h 723778"/>
                      <a:gd name="connsiteX507" fmla="*/ 151891 w 751062"/>
                      <a:gd name="connsiteY507" fmla="*/ 613951 h 723778"/>
                      <a:gd name="connsiteX508" fmla="*/ 133360 w 751062"/>
                      <a:gd name="connsiteY508" fmla="*/ 609163 h 723778"/>
                      <a:gd name="connsiteX509" fmla="*/ 103639 w 751062"/>
                      <a:gd name="connsiteY509" fmla="*/ 600748 h 723778"/>
                      <a:gd name="connsiteX510" fmla="*/ 101923 w 751062"/>
                      <a:gd name="connsiteY510" fmla="*/ 597356 h 723778"/>
                      <a:gd name="connsiteX511" fmla="*/ 104618 w 751062"/>
                      <a:gd name="connsiteY511" fmla="*/ 589010 h 723778"/>
                      <a:gd name="connsiteX512" fmla="*/ 121445 w 751062"/>
                      <a:gd name="connsiteY512" fmla="*/ 591442 h 723778"/>
                      <a:gd name="connsiteX513" fmla="*/ 163107 w 751062"/>
                      <a:gd name="connsiteY513" fmla="*/ 600123 h 723778"/>
                      <a:gd name="connsiteX514" fmla="*/ 152317 w 751062"/>
                      <a:gd name="connsiteY514" fmla="*/ 614279 h 723778"/>
                      <a:gd name="connsiteX515" fmla="*/ 151891 w 751062"/>
                      <a:gd name="connsiteY515" fmla="*/ 613951 h 723778"/>
                      <a:gd name="connsiteX516" fmla="*/ 178192 w 751062"/>
                      <a:gd name="connsiteY516" fmla="*/ 618839 h 723778"/>
                      <a:gd name="connsiteX517" fmla="*/ 159961 w 751062"/>
                      <a:gd name="connsiteY517" fmla="*/ 616515 h 723778"/>
                      <a:gd name="connsiteX518" fmla="*/ 171299 w 751062"/>
                      <a:gd name="connsiteY518" fmla="*/ 601108 h 723778"/>
                      <a:gd name="connsiteX519" fmla="*/ 190764 w 751062"/>
                      <a:gd name="connsiteY519" fmla="*/ 605613 h 723778"/>
                      <a:gd name="connsiteX520" fmla="*/ 181598 w 751062"/>
                      <a:gd name="connsiteY520" fmla="*/ 619365 h 723778"/>
                      <a:gd name="connsiteX521" fmla="*/ 178192 w 751062"/>
                      <a:gd name="connsiteY521" fmla="*/ 618839 h 723778"/>
                      <a:gd name="connsiteX522" fmla="*/ 190427 w 751062"/>
                      <a:gd name="connsiteY522" fmla="*/ 601439 h 723778"/>
                      <a:gd name="connsiteX523" fmla="*/ 172750 w 751062"/>
                      <a:gd name="connsiteY523" fmla="*/ 598721 h 723778"/>
                      <a:gd name="connsiteX524" fmla="*/ 182621 w 751062"/>
                      <a:gd name="connsiteY524" fmla="*/ 384898 h 723778"/>
                      <a:gd name="connsiteX525" fmla="*/ 191552 w 751062"/>
                      <a:gd name="connsiteY525" fmla="*/ 387088 h 723778"/>
                      <a:gd name="connsiteX526" fmla="*/ 200018 w 751062"/>
                      <a:gd name="connsiteY526" fmla="*/ 388487 h 723778"/>
                      <a:gd name="connsiteX527" fmla="*/ 193154 w 751062"/>
                      <a:gd name="connsiteY527" fmla="*/ 601936 h 723778"/>
                      <a:gd name="connsiteX528" fmla="*/ 190427 w 751062"/>
                      <a:gd name="connsiteY528" fmla="*/ 601439 h 723778"/>
                      <a:gd name="connsiteX529" fmla="*/ 197226 w 751062"/>
                      <a:gd name="connsiteY529" fmla="*/ 384943 h 723778"/>
                      <a:gd name="connsiteX530" fmla="*/ 182141 w 751062"/>
                      <a:gd name="connsiteY530" fmla="*/ 383607 h 723778"/>
                      <a:gd name="connsiteX531" fmla="*/ 172653 w 751062"/>
                      <a:gd name="connsiteY531" fmla="*/ 361624 h 723778"/>
                      <a:gd name="connsiteX532" fmla="*/ 190641 w 751062"/>
                      <a:gd name="connsiteY532" fmla="*/ 365207 h 723778"/>
                      <a:gd name="connsiteX533" fmla="*/ 198825 w 751062"/>
                      <a:gd name="connsiteY533" fmla="*/ 385155 h 723778"/>
                      <a:gd name="connsiteX534" fmla="*/ 197226 w 751062"/>
                      <a:gd name="connsiteY534" fmla="*/ 384943 h 723778"/>
                      <a:gd name="connsiteX535" fmla="*/ 181667 w 751062"/>
                      <a:gd name="connsiteY535" fmla="*/ 360099 h 723778"/>
                      <a:gd name="connsiteX536" fmla="*/ 171545 w 751062"/>
                      <a:gd name="connsiteY536" fmla="*/ 359425 h 723778"/>
                      <a:gd name="connsiteX537" fmla="*/ 122761 w 751062"/>
                      <a:gd name="connsiteY537" fmla="*/ 302992 h 723778"/>
                      <a:gd name="connsiteX538" fmla="*/ 122204 w 751062"/>
                      <a:gd name="connsiteY538" fmla="*/ 289937 h 723778"/>
                      <a:gd name="connsiteX539" fmla="*/ 188962 w 751062"/>
                      <a:gd name="connsiteY539" fmla="*/ 361632 h 723778"/>
                      <a:gd name="connsiteX540" fmla="*/ 181667 w 751062"/>
                      <a:gd name="connsiteY540" fmla="*/ 360099 h 723778"/>
                      <a:gd name="connsiteX541" fmla="*/ 121730 w 751062"/>
                      <a:gd name="connsiteY541" fmla="*/ 464254 h 723778"/>
                      <a:gd name="connsiteX542" fmla="*/ 120208 w 751062"/>
                      <a:gd name="connsiteY542" fmla="*/ 458115 h 723778"/>
                      <a:gd name="connsiteX543" fmla="*/ 122952 w 751062"/>
                      <a:gd name="connsiteY543" fmla="*/ 453126 h 723778"/>
                      <a:gd name="connsiteX544" fmla="*/ 126736 w 751062"/>
                      <a:gd name="connsiteY544" fmla="*/ 446208 h 723778"/>
                      <a:gd name="connsiteX545" fmla="*/ 138171 w 751062"/>
                      <a:gd name="connsiteY545" fmla="*/ 474870 h 723778"/>
                      <a:gd name="connsiteX546" fmla="*/ 130419 w 751062"/>
                      <a:gd name="connsiteY546" fmla="*/ 478496 h 723778"/>
                      <a:gd name="connsiteX547" fmla="*/ 121162 w 751062"/>
                      <a:gd name="connsiteY547" fmla="*/ 470050 h 723778"/>
                      <a:gd name="connsiteX548" fmla="*/ 121730 w 751062"/>
                      <a:gd name="connsiteY548" fmla="*/ 464254 h 723778"/>
                      <a:gd name="connsiteX549" fmla="*/ 125648 w 751062"/>
                      <a:gd name="connsiteY549" fmla="*/ 342804 h 723778"/>
                      <a:gd name="connsiteX550" fmla="*/ 123698 w 751062"/>
                      <a:gd name="connsiteY550" fmla="*/ 315924 h 723778"/>
                      <a:gd name="connsiteX551" fmla="*/ 158927 w 751062"/>
                      <a:gd name="connsiteY551" fmla="*/ 356407 h 723778"/>
                      <a:gd name="connsiteX552" fmla="*/ 126036 w 751062"/>
                      <a:gd name="connsiteY552" fmla="*/ 351259 h 723778"/>
                      <a:gd name="connsiteX553" fmla="*/ 125648 w 751062"/>
                      <a:gd name="connsiteY553" fmla="*/ 342804 h 723778"/>
                      <a:gd name="connsiteX554" fmla="*/ 139159 w 751062"/>
                      <a:gd name="connsiteY554" fmla="*/ 448364 h 723778"/>
                      <a:gd name="connsiteX555" fmla="*/ 129594 w 751062"/>
                      <a:gd name="connsiteY555" fmla="*/ 441973 h 723778"/>
                      <a:gd name="connsiteX556" fmla="*/ 131136 w 751062"/>
                      <a:gd name="connsiteY556" fmla="*/ 376372 h 723778"/>
                      <a:gd name="connsiteX557" fmla="*/ 142871 w 751062"/>
                      <a:gd name="connsiteY557" fmla="*/ 378770 h 723778"/>
                      <a:gd name="connsiteX558" fmla="*/ 140210 w 751062"/>
                      <a:gd name="connsiteY558" fmla="*/ 449948 h 723778"/>
                      <a:gd name="connsiteX559" fmla="*/ 139159 w 751062"/>
                      <a:gd name="connsiteY559" fmla="*/ 448364 h 723778"/>
                      <a:gd name="connsiteX560" fmla="*/ 141147 w 751062"/>
                      <a:gd name="connsiteY560" fmla="*/ 375409 h 723778"/>
                      <a:gd name="connsiteX561" fmla="*/ 130559 w 751062"/>
                      <a:gd name="connsiteY561" fmla="*/ 373608 h 723778"/>
                      <a:gd name="connsiteX562" fmla="*/ 129437 w 751062"/>
                      <a:gd name="connsiteY562" fmla="*/ 373005 h 723778"/>
                      <a:gd name="connsiteX563" fmla="*/ 127709 w 751062"/>
                      <a:gd name="connsiteY563" fmla="*/ 354834 h 723778"/>
                      <a:gd name="connsiteX564" fmla="*/ 158953 w 751062"/>
                      <a:gd name="connsiteY564" fmla="*/ 359742 h 723778"/>
                      <a:gd name="connsiteX565" fmla="*/ 160520 w 751062"/>
                      <a:gd name="connsiteY565" fmla="*/ 359222 h 723778"/>
                      <a:gd name="connsiteX566" fmla="*/ 170925 w 751062"/>
                      <a:gd name="connsiteY566" fmla="*/ 380926 h 723778"/>
                      <a:gd name="connsiteX567" fmla="*/ 141147 w 751062"/>
                      <a:gd name="connsiteY567" fmla="*/ 375409 h 723778"/>
                      <a:gd name="connsiteX568" fmla="*/ 110349 w 751062"/>
                      <a:gd name="connsiteY568" fmla="*/ 458243 h 723778"/>
                      <a:gd name="connsiteX569" fmla="*/ 108796 w 751062"/>
                      <a:gd name="connsiteY569" fmla="*/ 455156 h 723778"/>
                      <a:gd name="connsiteX570" fmla="*/ 117170 w 751062"/>
                      <a:gd name="connsiteY570" fmla="*/ 459731 h 723778"/>
                      <a:gd name="connsiteX571" fmla="*/ 111631 w 751062"/>
                      <a:gd name="connsiteY571" fmla="*/ 472731 h 723778"/>
                      <a:gd name="connsiteX572" fmla="*/ 110349 w 751062"/>
                      <a:gd name="connsiteY572" fmla="*/ 458243 h 723778"/>
                      <a:gd name="connsiteX573" fmla="*/ 96960 w 751062"/>
                      <a:gd name="connsiteY573" fmla="*/ 478245 h 723778"/>
                      <a:gd name="connsiteX574" fmla="*/ 93794 w 751062"/>
                      <a:gd name="connsiteY574" fmla="*/ 455005 h 723778"/>
                      <a:gd name="connsiteX575" fmla="*/ 102197 w 751062"/>
                      <a:gd name="connsiteY575" fmla="*/ 451496 h 723778"/>
                      <a:gd name="connsiteX576" fmla="*/ 109472 w 751062"/>
                      <a:gd name="connsiteY576" fmla="*/ 466130 h 723778"/>
                      <a:gd name="connsiteX577" fmla="*/ 103656 w 751062"/>
                      <a:gd name="connsiteY577" fmla="*/ 481220 h 723778"/>
                      <a:gd name="connsiteX578" fmla="*/ 96323 w 751062"/>
                      <a:gd name="connsiteY578" fmla="*/ 478185 h 723778"/>
                      <a:gd name="connsiteX579" fmla="*/ 96960 w 751062"/>
                      <a:gd name="connsiteY579" fmla="*/ 478245 h 723778"/>
                      <a:gd name="connsiteX580" fmla="*/ 92497 w 751062"/>
                      <a:gd name="connsiteY580" fmla="*/ 466001 h 723778"/>
                      <a:gd name="connsiteX581" fmla="*/ 93968 w 751062"/>
                      <a:gd name="connsiteY581" fmla="*/ 458340 h 723778"/>
                      <a:gd name="connsiteX582" fmla="*/ 99810 w 751062"/>
                      <a:gd name="connsiteY582" fmla="*/ 465085 h 723778"/>
                      <a:gd name="connsiteX583" fmla="*/ 96392 w 751062"/>
                      <a:gd name="connsiteY583" fmla="*/ 473962 h 723778"/>
                      <a:gd name="connsiteX584" fmla="*/ 92497 w 751062"/>
                      <a:gd name="connsiteY584" fmla="*/ 466001 h 723778"/>
                      <a:gd name="connsiteX585" fmla="*/ 197674 w 751062"/>
                      <a:gd name="connsiteY585" fmla="*/ 624473 h 723778"/>
                      <a:gd name="connsiteX586" fmla="*/ 79725 w 751062"/>
                      <a:gd name="connsiteY586" fmla="*/ 634604 h 723778"/>
                      <a:gd name="connsiteX587" fmla="*/ 110095 w 751062"/>
                      <a:gd name="connsiteY587" fmla="*/ 642150 h 723778"/>
                      <a:gd name="connsiteX588" fmla="*/ 196212 w 751062"/>
                      <a:gd name="connsiteY588" fmla="*/ 604563 h 723778"/>
                      <a:gd name="connsiteX589" fmla="*/ 136872 w 751062"/>
                      <a:gd name="connsiteY589" fmla="*/ 292516 h 723778"/>
                      <a:gd name="connsiteX590" fmla="*/ 53539 w 751062"/>
                      <a:gd name="connsiteY590" fmla="*/ 305725 h 723778"/>
                      <a:gd name="connsiteX591" fmla="*/ 53573 w 751062"/>
                      <a:gd name="connsiteY591" fmla="*/ 305756 h 723778"/>
                      <a:gd name="connsiteX592" fmla="*/ 27641 w 751062"/>
                      <a:gd name="connsiteY592" fmla="*/ 334606 h 723778"/>
                      <a:gd name="connsiteX593" fmla="*/ 179860 w 751062"/>
                      <a:gd name="connsiteY593" fmla="*/ 316358 h 723778"/>
                      <a:gd name="connsiteX594" fmla="*/ 197674 w 751062"/>
                      <a:gd name="connsiteY594" fmla="*/ 624473 h 723778"/>
                      <a:gd name="connsiteX595" fmla="*/ 308821 w 751062"/>
                      <a:gd name="connsiteY595" fmla="*/ 446450 h 723778"/>
                      <a:gd name="connsiteX596" fmla="*/ 311368 w 751062"/>
                      <a:gd name="connsiteY596" fmla="*/ 544792 h 723778"/>
                      <a:gd name="connsiteX597" fmla="*/ 292743 w 751062"/>
                      <a:gd name="connsiteY597" fmla="*/ 552147 h 723778"/>
                      <a:gd name="connsiteX598" fmla="*/ 290873 w 751062"/>
                      <a:gd name="connsiteY598" fmla="*/ 554585 h 723778"/>
                      <a:gd name="connsiteX599" fmla="*/ 248948 w 751062"/>
                      <a:gd name="connsiteY599" fmla="*/ 588110 h 723778"/>
                      <a:gd name="connsiteX600" fmla="*/ 236627 w 751062"/>
                      <a:gd name="connsiteY600" fmla="*/ 608163 h 723778"/>
                      <a:gd name="connsiteX601" fmla="*/ 213179 w 751062"/>
                      <a:gd name="connsiteY601" fmla="*/ 605653 h 723778"/>
                      <a:gd name="connsiteX602" fmla="*/ 229017 w 751062"/>
                      <a:gd name="connsiteY602" fmla="*/ 417757 h 723778"/>
                      <a:gd name="connsiteX603" fmla="*/ 286019 w 751062"/>
                      <a:gd name="connsiteY603" fmla="*/ 423739 h 723778"/>
                      <a:gd name="connsiteX604" fmla="*/ 289434 w 751062"/>
                      <a:gd name="connsiteY604" fmla="*/ 424361 h 723778"/>
                      <a:gd name="connsiteX605" fmla="*/ 308807 w 751062"/>
                      <a:gd name="connsiteY605" fmla="*/ 425992 h 723778"/>
                      <a:gd name="connsiteX606" fmla="*/ 308821 w 751062"/>
                      <a:gd name="connsiteY606" fmla="*/ 446450 h 723778"/>
                      <a:gd name="connsiteX607" fmla="*/ 285145 w 751062"/>
                      <a:gd name="connsiteY607" fmla="*/ 410847 h 723778"/>
                      <a:gd name="connsiteX608" fmla="*/ 283791 w 751062"/>
                      <a:gd name="connsiteY608" fmla="*/ 420430 h 723778"/>
                      <a:gd name="connsiteX609" fmla="*/ 228346 w 751062"/>
                      <a:gd name="connsiteY609" fmla="*/ 414839 h 723778"/>
                      <a:gd name="connsiteX610" fmla="*/ 222604 w 751062"/>
                      <a:gd name="connsiteY610" fmla="*/ 393632 h 723778"/>
                      <a:gd name="connsiteX611" fmla="*/ 284482 w 751062"/>
                      <a:gd name="connsiteY611" fmla="*/ 402424 h 723778"/>
                      <a:gd name="connsiteX612" fmla="*/ 286610 w 751062"/>
                      <a:gd name="connsiteY612" fmla="*/ 409642 h 723778"/>
                      <a:gd name="connsiteX613" fmla="*/ 285145 w 751062"/>
                      <a:gd name="connsiteY613" fmla="*/ 410847 h 723778"/>
                      <a:gd name="connsiteX614" fmla="*/ 236570 w 751062"/>
                      <a:gd name="connsiteY614" fmla="*/ 630626 h 723778"/>
                      <a:gd name="connsiteX615" fmla="*/ 201946 w 751062"/>
                      <a:gd name="connsiteY615" fmla="*/ 625036 h 723778"/>
                      <a:gd name="connsiteX616" fmla="*/ 211243 w 751062"/>
                      <a:gd name="connsiteY616" fmla="*/ 609131 h 723778"/>
                      <a:gd name="connsiteX617" fmla="*/ 231010 w 751062"/>
                      <a:gd name="connsiteY617" fmla="*/ 612780 h 723778"/>
                      <a:gd name="connsiteX618" fmla="*/ 243134 w 751062"/>
                      <a:gd name="connsiteY618" fmla="*/ 609605 h 723778"/>
                      <a:gd name="connsiteX619" fmla="*/ 264366 w 751062"/>
                      <a:gd name="connsiteY619" fmla="*/ 564311 h 723778"/>
                      <a:gd name="connsiteX620" fmla="*/ 290858 w 751062"/>
                      <a:gd name="connsiteY620" fmla="*/ 559217 h 723778"/>
                      <a:gd name="connsiteX621" fmla="*/ 290901 w 751062"/>
                      <a:gd name="connsiteY621" fmla="*/ 562144 h 723778"/>
                      <a:gd name="connsiteX622" fmla="*/ 292769 w 751062"/>
                      <a:gd name="connsiteY622" fmla="*/ 564371 h 723778"/>
                      <a:gd name="connsiteX623" fmla="*/ 292109 w 751062"/>
                      <a:gd name="connsiteY623" fmla="*/ 573225 h 723778"/>
                      <a:gd name="connsiteX624" fmla="*/ 261017 w 751062"/>
                      <a:gd name="connsiteY624" fmla="*/ 602484 h 723778"/>
                      <a:gd name="connsiteX625" fmla="*/ 253036 w 751062"/>
                      <a:gd name="connsiteY625" fmla="*/ 622417 h 723778"/>
                      <a:gd name="connsiteX626" fmla="*/ 242623 w 751062"/>
                      <a:gd name="connsiteY626" fmla="*/ 629664 h 723778"/>
                      <a:gd name="connsiteX627" fmla="*/ 236570 w 751062"/>
                      <a:gd name="connsiteY627" fmla="*/ 630626 h 723778"/>
                      <a:gd name="connsiteX628" fmla="*/ 296649 w 751062"/>
                      <a:gd name="connsiteY628" fmla="*/ 591539 h 723778"/>
                      <a:gd name="connsiteX629" fmla="*/ 292694 w 751062"/>
                      <a:gd name="connsiteY629" fmla="*/ 600891 h 723778"/>
                      <a:gd name="connsiteX630" fmla="*/ 284988 w 751062"/>
                      <a:gd name="connsiteY630" fmla="*/ 618300 h 723778"/>
                      <a:gd name="connsiteX631" fmla="*/ 256706 w 751062"/>
                      <a:gd name="connsiteY631" fmla="*/ 621329 h 723778"/>
                      <a:gd name="connsiteX632" fmla="*/ 271259 w 751062"/>
                      <a:gd name="connsiteY632" fmla="*/ 587276 h 723778"/>
                      <a:gd name="connsiteX633" fmla="*/ 292152 w 751062"/>
                      <a:gd name="connsiteY633" fmla="*/ 576843 h 723778"/>
                      <a:gd name="connsiteX634" fmla="*/ 296649 w 751062"/>
                      <a:gd name="connsiteY634" fmla="*/ 591539 h 723778"/>
                      <a:gd name="connsiteX635" fmla="*/ 325397 w 751062"/>
                      <a:gd name="connsiteY635" fmla="*/ 670667 h 723778"/>
                      <a:gd name="connsiteX636" fmla="*/ 227187 w 751062"/>
                      <a:gd name="connsiteY636" fmla="*/ 670664 h 723778"/>
                      <a:gd name="connsiteX637" fmla="*/ 283409 w 751062"/>
                      <a:gd name="connsiteY637" fmla="*/ 622080 h 723778"/>
                      <a:gd name="connsiteX638" fmla="*/ 278992 w 751062"/>
                      <a:gd name="connsiteY638" fmla="*/ 632731 h 723778"/>
                      <a:gd name="connsiteX639" fmla="*/ 276293 w 751062"/>
                      <a:gd name="connsiteY639" fmla="*/ 708700 h 723778"/>
                      <a:gd name="connsiteX640" fmla="*/ 301377 w 751062"/>
                      <a:gd name="connsiteY640" fmla="*/ 642088 h 723778"/>
                      <a:gd name="connsiteX641" fmla="*/ 305789 w 751062"/>
                      <a:gd name="connsiteY641" fmla="*/ 631437 h 723778"/>
                      <a:gd name="connsiteX642" fmla="*/ 325397 w 751062"/>
                      <a:gd name="connsiteY642" fmla="*/ 670667 h 723778"/>
                      <a:gd name="connsiteX643" fmla="*/ 260486 w 751062"/>
                      <a:gd name="connsiteY643" fmla="*/ 683182 h 723778"/>
                      <a:gd name="connsiteX644" fmla="*/ 264509 w 751062"/>
                      <a:gd name="connsiteY644" fmla="*/ 684056 h 723778"/>
                      <a:gd name="connsiteX645" fmla="*/ 257242 w 751062"/>
                      <a:gd name="connsiteY645" fmla="*/ 691020 h 723778"/>
                      <a:gd name="connsiteX646" fmla="*/ 247631 w 751062"/>
                      <a:gd name="connsiteY646" fmla="*/ 672186 h 723778"/>
                      <a:gd name="connsiteX647" fmla="*/ 249964 w 751062"/>
                      <a:gd name="connsiteY647" fmla="*/ 668939 h 723778"/>
                      <a:gd name="connsiteX648" fmla="*/ 262665 w 751062"/>
                      <a:gd name="connsiteY648" fmla="*/ 672263 h 723778"/>
                      <a:gd name="connsiteX649" fmla="*/ 259161 w 751062"/>
                      <a:gd name="connsiteY649" fmla="*/ 680449 h 723778"/>
                      <a:gd name="connsiteX650" fmla="*/ 260486 w 751062"/>
                      <a:gd name="connsiteY650" fmla="*/ 683182 h 723778"/>
                      <a:gd name="connsiteX651" fmla="*/ 251752 w 751062"/>
                      <a:gd name="connsiteY651" fmla="*/ 661338 h 723778"/>
                      <a:gd name="connsiteX652" fmla="*/ 249741 w 751062"/>
                      <a:gd name="connsiteY652" fmla="*/ 657895 h 723778"/>
                      <a:gd name="connsiteX653" fmla="*/ 265529 w 751062"/>
                      <a:gd name="connsiteY653" fmla="*/ 643829 h 723778"/>
                      <a:gd name="connsiteX654" fmla="*/ 269261 w 751062"/>
                      <a:gd name="connsiteY654" fmla="*/ 645266 h 723778"/>
                      <a:gd name="connsiteX655" fmla="*/ 269261 w 751062"/>
                      <a:gd name="connsiteY655" fmla="*/ 656419 h 723778"/>
                      <a:gd name="connsiteX656" fmla="*/ 266000 w 751062"/>
                      <a:gd name="connsiteY656" fmla="*/ 664319 h 723778"/>
                      <a:gd name="connsiteX657" fmla="*/ 251752 w 751062"/>
                      <a:gd name="connsiteY657" fmla="*/ 661338 h 723778"/>
                      <a:gd name="connsiteX658" fmla="*/ 292069 w 751062"/>
                      <a:gd name="connsiteY658" fmla="*/ 691271 h 723778"/>
                      <a:gd name="connsiteX659" fmla="*/ 291447 w 751062"/>
                      <a:gd name="connsiteY659" fmla="*/ 695209 h 723778"/>
                      <a:gd name="connsiteX660" fmla="*/ 270323 w 751062"/>
                      <a:gd name="connsiteY660" fmla="*/ 696125 h 723778"/>
                      <a:gd name="connsiteX661" fmla="*/ 268338 w 751062"/>
                      <a:gd name="connsiteY661" fmla="*/ 692653 h 723778"/>
                      <a:gd name="connsiteX662" fmla="*/ 275220 w 751062"/>
                      <a:gd name="connsiteY662" fmla="*/ 684221 h 723778"/>
                      <a:gd name="connsiteX663" fmla="*/ 285028 w 751062"/>
                      <a:gd name="connsiteY663" fmla="*/ 681906 h 723778"/>
                      <a:gd name="connsiteX664" fmla="*/ 292069 w 751062"/>
                      <a:gd name="connsiteY664" fmla="*/ 691271 h 723778"/>
                      <a:gd name="connsiteX665" fmla="*/ 287857 w 751062"/>
                      <a:gd name="connsiteY665" fmla="*/ 674684 h 723778"/>
                      <a:gd name="connsiteX666" fmla="*/ 290122 w 751062"/>
                      <a:gd name="connsiteY666" fmla="*/ 669139 h 723778"/>
                      <a:gd name="connsiteX667" fmla="*/ 301041 w 751062"/>
                      <a:gd name="connsiteY667" fmla="*/ 663157 h 723778"/>
                      <a:gd name="connsiteX668" fmla="*/ 304841 w 751062"/>
                      <a:gd name="connsiteY668" fmla="*/ 664362 h 723778"/>
                      <a:gd name="connsiteX669" fmla="*/ 302577 w 751062"/>
                      <a:gd name="connsiteY669" fmla="*/ 685383 h 723778"/>
                      <a:gd name="connsiteX670" fmla="*/ 298848 w 751062"/>
                      <a:gd name="connsiteY670" fmla="*/ 686825 h 723778"/>
                      <a:gd name="connsiteX671" fmla="*/ 287857 w 751062"/>
                      <a:gd name="connsiteY671" fmla="*/ 674684 h 723778"/>
                      <a:gd name="connsiteX672" fmla="*/ 312436 w 751062"/>
                      <a:gd name="connsiteY672" fmla="*/ 606082 h 723778"/>
                      <a:gd name="connsiteX673" fmla="*/ 282349 w 751062"/>
                      <a:gd name="connsiteY673" fmla="*/ 679601 h 723778"/>
                      <a:gd name="connsiteX674" fmla="*/ 262962 w 751062"/>
                      <a:gd name="connsiteY674" fmla="*/ 680972 h 723778"/>
                      <a:gd name="connsiteX675" fmla="*/ 294545 w 751062"/>
                      <a:gd name="connsiteY675" fmla="*/ 602695 h 723778"/>
                      <a:gd name="connsiteX676" fmla="*/ 312930 w 751062"/>
                      <a:gd name="connsiteY676" fmla="*/ 605191 h 723778"/>
                      <a:gd name="connsiteX677" fmla="*/ 312436 w 751062"/>
                      <a:gd name="connsiteY677" fmla="*/ 606082 h 723778"/>
                      <a:gd name="connsiteX678" fmla="*/ 314558 w 751062"/>
                      <a:gd name="connsiteY678" fmla="*/ 596368 h 723778"/>
                      <a:gd name="connsiteX679" fmla="*/ 313872 w 751062"/>
                      <a:gd name="connsiteY679" fmla="*/ 601316 h 723778"/>
                      <a:gd name="connsiteX680" fmla="*/ 296703 w 751062"/>
                      <a:gd name="connsiteY680" fmla="*/ 599189 h 723778"/>
                      <a:gd name="connsiteX681" fmla="*/ 299067 w 751062"/>
                      <a:gd name="connsiteY681" fmla="*/ 592150 h 723778"/>
                      <a:gd name="connsiteX682" fmla="*/ 315380 w 751062"/>
                      <a:gd name="connsiteY682" fmla="*/ 592684 h 723778"/>
                      <a:gd name="connsiteX683" fmla="*/ 314558 w 751062"/>
                      <a:gd name="connsiteY683" fmla="*/ 596368 h 723778"/>
                      <a:gd name="connsiteX684" fmla="*/ 316939 w 751062"/>
                      <a:gd name="connsiteY684" fmla="*/ 571506 h 723778"/>
                      <a:gd name="connsiteX685" fmla="*/ 316357 w 751062"/>
                      <a:gd name="connsiteY685" fmla="*/ 588678 h 723778"/>
                      <a:gd name="connsiteX686" fmla="*/ 300027 w 751062"/>
                      <a:gd name="connsiteY686" fmla="*/ 588778 h 723778"/>
                      <a:gd name="connsiteX687" fmla="*/ 295961 w 751062"/>
                      <a:gd name="connsiteY687" fmla="*/ 583262 h 723778"/>
                      <a:gd name="connsiteX688" fmla="*/ 294376 w 751062"/>
                      <a:gd name="connsiteY688" fmla="*/ 564745 h 723778"/>
                      <a:gd name="connsiteX689" fmla="*/ 317159 w 751062"/>
                      <a:gd name="connsiteY689" fmla="*/ 565087 h 723778"/>
                      <a:gd name="connsiteX690" fmla="*/ 316939 w 751062"/>
                      <a:gd name="connsiteY690" fmla="*/ 571506 h 723778"/>
                      <a:gd name="connsiteX691" fmla="*/ 318193 w 751062"/>
                      <a:gd name="connsiteY691" fmla="*/ 561090 h 723778"/>
                      <a:gd name="connsiteX692" fmla="*/ 293836 w 751062"/>
                      <a:gd name="connsiteY692" fmla="*/ 561924 h 723778"/>
                      <a:gd name="connsiteX693" fmla="*/ 294527 w 751062"/>
                      <a:gd name="connsiteY693" fmla="*/ 554474 h 723778"/>
                      <a:gd name="connsiteX694" fmla="*/ 318935 w 751062"/>
                      <a:gd name="connsiteY694" fmla="*/ 556273 h 723778"/>
                      <a:gd name="connsiteX695" fmla="*/ 318193 w 751062"/>
                      <a:gd name="connsiteY695" fmla="*/ 561090 h 723778"/>
                      <a:gd name="connsiteX696" fmla="*/ 386804 w 751062"/>
                      <a:gd name="connsiteY696" fmla="*/ 634253 h 723778"/>
                      <a:gd name="connsiteX697" fmla="*/ 383237 w 751062"/>
                      <a:gd name="connsiteY697" fmla="*/ 597090 h 723778"/>
                      <a:gd name="connsiteX698" fmla="*/ 389508 w 751062"/>
                      <a:gd name="connsiteY698" fmla="*/ 598281 h 723778"/>
                      <a:gd name="connsiteX699" fmla="*/ 397868 w 751062"/>
                      <a:gd name="connsiteY699" fmla="*/ 643056 h 723778"/>
                      <a:gd name="connsiteX700" fmla="*/ 387678 w 751062"/>
                      <a:gd name="connsiteY700" fmla="*/ 639843 h 723778"/>
                      <a:gd name="connsiteX701" fmla="*/ 386804 w 751062"/>
                      <a:gd name="connsiteY701" fmla="*/ 634253 h 723778"/>
                      <a:gd name="connsiteX702" fmla="*/ 390322 w 751062"/>
                      <a:gd name="connsiteY702" fmla="*/ 651953 h 723778"/>
                      <a:gd name="connsiteX703" fmla="*/ 388226 w 751062"/>
                      <a:gd name="connsiteY703" fmla="*/ 644072 h 723778"/>
                      <a:gd name="connsiteX704" fmla="*/ 398688 w 751062"/>
                      <a:gd name="connsiteY704" fmla="*/ 647501 h 723778"/>
                      <a:gd name="connsiteX705" fmla="*/ 400664 w 751062"/>
                      <a:gd name="connsiteY705" fmla="*/ 658383 h 723778"/>
                      <a:gd name="connsiteX706" fmla="*/ 390322 w 751062"/>
                      <a:gd name="connsiteY706" fmla="*/ 651953 h 723778"/>
                      <a:gd name="connsiteX707" fmla="*/ 414524 w 751062"/>
                      <a:gd name="connsiteY707" fmla="*/ 684510 h 723778"/>
                      <a:gd name="connsiteX708" fmla="*/ 413627 w 751062"/>
                      <a:gd name="connsiteY708" fmla="*/ 684572 h 723778"/>
                      <a:gd name="connsiteX709" fmla="*/ 412528 w 751062"/>
                      <a:gd name="connsiteY709" fmla="*/ 680586 h 723778"/>
                      <a:gd name="connsiteX710" fmla="*/ 416188 w 751062"/>
                      <a:gd name="connsiteY710" fmla="*/ 680475 h 723778"/>
                      <a:gd name="connsiteX711" fmla="*/ 416674 w 751062"/>
                      <a:gd name="connsiteY711" fmla="*/ 682579 h 723778"/>
                      <a:gd name="connsiteX712" fmla="*/ 414524 w 751062"/>
                      <a:gd name="connsiteY712" fmla="*/ 684510 h 723778"/>
                      <a:gd name="connsiteX713" fmla="*/ 408573 w 751062"/>
                      <a:gd name="connsiteY713" fmla="*/ 677603 h 723778"/>
                      <a:gd name="connsiteX714" fmla="*/ 380294 w 751062"/>
                      <a:gd name="connsiteY714" fmla="*/ 525464 h 723778"/>
                      <a:gd name="connsiteX715" fmla="*/ 366191 w 751062"/>
                      <a:gd name="connsiteY715" fmla="*/ 459548 h 723778"/>
                      <a:gd name="connsiteX716" fmla="*/ 328229 w 751062"/>
                      <a:gd name="connsiteY716" fmla="*/ 424627 h 723778"/>
                      <a:gd name="connsiteX717" fmla="*/ 326824 w 751062"/>
                      <a:gd name="connsiteY717" fmla="*/ 424810 h 723778"/>
                      <a:gd name="connsiteX718" fmla="*/ 326459 w 751062"/>
                      <a:gd name="connsiteY718" fmla="*/ 428153 h 723778"/>
                      <a:gd name="connsiteX719" fmla="*/ 328912 w 751062"/>
                      <a:gd name="connsiteY719" fmla="*/ 562241 h 723778"/>
                      <a:gd name="connsiteX720" fmla="*/ 330105 w 751062"/>
                      <a:gd name="connsiteY720" fmla="*/ 570007 h 723778"/>
                      <a:gd name="connsiteX721" fmla="*/ 332461 w 751062"/>
                      <a:gd name="connsiteY721" fmla="*/ 568574 h 723778"/>
                      <a:gd name="connsiteX722" fmla="*/ 357788 w 751062"/>
                      <a:gd name="connsiteY722" fmla="*/ 574750 h 723778"/>
                      <a:gd name="connsiteX723" fmla="*/ 385830 w 751062"/>
                      <a:gd name="connsiteY723" fmla="*/ 578987 h 723778"/>
                      <a:gd name="connsiteX724" fmla="*/ 388871 w 751062"/>
                      <a:gd name="connsiteY724" fmla="*/ 594957 h 723778"/>
                      <a:gd name="connsiteX725" fmla="*/ 319814 w 751062"/>
                      <a:gd name="connsiteY725" fmla="*/ 579633 h 723778"/>
                      <a:gd name="connsiteX726" fmla="*/ 319914 w 751062"/>
                      <a:gd name="connsiteY726" fmla="*/ 564619 h 723778"/>
                      <a:gd name="connsiteX727" fmla="*/ 322370 w 751062"/>
                      <a:gd name="connsiteY727" fmla="*/ 561264 h 723778"/>
                      <a:gd name="connsiteX728" fmla="*/ 322019 w 751062"/>
                      <a:gd name="connsiteY728" fmla="*/ 556142 h 723778"/>
                      <a:gd name="connsiteX729" fmla="*/ 314943 w 751062"/>
                      <a:gd name="connsiteY729" fmla="*/ 546676 h 723778"/>
                      <a:gd name="connsiteX730" fmla="*/ 312182 w 751062"/>
                      <a:gd name="connsiteY730" fmla="*/ 436465 h 723778"/>
                      <a:gd name="connsiteX731" fmla="*/ 309786 w 751062"/>
                      <a:gd name="connsiteY731" fmla="*/ 422531 h 723778"/>
                      <a:gd name="connsiteX732" fmla="*/ 288611 w 751062"/>
                      <a:gd name="connsiteY732" fmla="*/ 421469 h 723778"/>
                      <a:gd name="connsiteX733" fmla="*/ 287817 w 751062"/>
                      <a:gd name="connsiteY733" fmla="*/ 411173 h 723778"/>
                      <a:gd name="connsiteX734" fmla="*/ 289251 w 751062"/>
                      <a:gd name="connsiteY734" fmla="*/ 410279 h 723778"/>
                      <a:gd name="connsiteX735" fmla="*/ 289902 w 751062"/>
                      <a:gd name="connsiteY735" fmla="*/ 409899 h 723778"/>
                      <a:gd name="connsiteX736" fmla="*/ 305906 w 751062"/>
                      <a:gd name="connsiteY736" fmla="*/ 412175 h 723778"/>
                      <a:gd name="connsiteX737" fmla="*/ 311602 w 751062"/>
                      <a:gd name="connsiteY737" fmla="*/ 410656 h 723778"/>
                      <a:gd name="connsiteX738" fmla="*/ 311428 w 751062"/>
                      <a:gd name="connsiteY738" fmla="*/ 403969 h 723778"/>
                      <a:gd name="connsiteX739" fmla="*/ 293008 w 751062"/>
                      <a:gd name="connsiteY739" fmla="*/ 399457 h 723778"/>
                      <a:gd name="connsiteX740" fmla="*/ 221827 w 751062"/>
                      <a:gd name="connsiteY740" fmla="*/ 391177 h 723778"/>
                      <a:gd name="connsiteX741" fmla="*/ 213798 w 751062"/>
                      <a:gd name="connsiteY741" fmla="*/ 368911 h 723778"/>
                      <a:gd name="connsiteX742" fmla="*/ 305920 w 751062"/>
                      <a:gd name="connsiteY742" fmla="*/ 384292 h 723778"/>
                      <a:gd name="connsiteX743" fmla="*/ 308170 w 751062"/>
                      <a:gd name="connsiteY743" fmla="*/ 382319 h 723778"/>
                      <a:gd name="connsiteX744" fmla="*/ 310209 w 751062"/>
                      <a:gd name="connsiteY744" fmla="*/ 356544 h 723778"/>
                      <a:gd name="connsiteX745" fmla="*/ 310192 w 751062"/>
                      <a:gd name="connsiteY745" fmla="*/ 333007 h 723778"/>
                      <a:gd name="connsiteX746" fmla="*/ 310306 w 751062"/>
                      <a:gd name="connsiteY746" fmla="*/ 266192 h 723778"/>
                      <a:gd name="connsiteX747" fmla="*/ 322339 w 751062"/>
                      <a:gd name="connsiteY747" fmla="*/ 266626 h 723778"/>
                      <a:gd name="connsiteX748" fmla="*/ 321830 w 751062"/>
                      <a:gd name="connsiteY748" fmla="*/ 281842 h 723778"/>
                      <a:gd name="connsiteX749" fmla="*/ 324826 w 751062"/>
                      <a:gd name="connsiteY749" fmla="*/ 411724 h 723778"/>
                      <a:gd name="connsiteX750" fmla="*/ 326390 w 751062"/>
                      <a:gd name="connsiteY750" fmla="*/ 414388 h 723778"/>
                      <a:gd name="connsiteX751" fmla="*/ 357485 w 751062"/>
                      <a:gd name="connsiteY751" fmla="*/ 424456 h 723778"/>
                      <a:gd name="connsiteX752" fmla="*/ 374243 w 751062"/>
                      <a:gd name="connsiteY752" fmla="*/ 454203 h 723778"/>
                      <a:gd name="connsiteX753" fmla="*/ 416816 w 751062"/>
                      <a:gd name="connsiteY753" fmla="*/ 676586 h 723778"/>
                      <a:gd name="connsiteX754" fmla="*/ 408573 w 751062"/>
                      <a:gd name="connsiteY754" fmla="*/ 677603 h 723778"/>
                      <a:gd name="connsiteX755" fmla="*/ 370097 w 751062"/>
                      <a:gd name="connsiteY755" fmla="*/ 514613 h 723778"/>
                      <a:gd name="connsiteX756" fmla="*/ 360289 w 751062"/>
                      <a:gd name="connsiteY756" fmla="*/ 486611 h 723778"/>
                      <a:gd name="connsiteX757" fmla="*/ 350332 w 751062"/>
                      <a:gd name="connsiteY757" fmla="*/ 440283 h 723778"/>
                      <a:gd name="connsiteX758" fmla="*/ 361508 w 751062"/>
                      <a:gd name="connsiteY758" fmla="*/ 460025 h 723778"/>
                      <a:gd name="connsiteX759" fmla="*/ 381541 w 751062"/>
                      <a:gd name="connsiteY759" fmla="*/ 556656 h 723778"/>
                      <a:gd name="connsiteX760" fmla="*/ 368869 w 751062"/>
                      <a:gd name="connsiteY760" fmla="*/ 531891 h 723778"/>
                      <a:gd name="connsiteX761" fmla="*/ 370583 w 751062"/>
                      <a:gd name="connsiteY761" fmla="*/ 515921 h 723778"/>
                      <a:gd name="connsiteX762" fmla="*/ 370097 w 751062"/>
                      <a:gd name="connsiteY762" fmla="*/ 514613 h 723778"/>
                      <a:gd name="connsiteX763" fmla="*/ 354139 w 751062"/>
                      <a:gd name="connsiteY763" fmla="*/ 483878 h 723778"/>
                      <a:gd name="connsiteX764" fmla="*/ 368273 w 751062"/>
                      <a:gd name="connsiteY764" fmla="*/ 515025 h 723778"/>
                      <a:gd name="connsiteX765" fmla="*/ 365688 w 751062"/>
                      <a:gd name="connsiteY765" fmla="*/ 547484 h 723778"/>
                      <a:gd name="connsiteX766" fmla="*/ 382980 w 751062"/>
                      <a:gd name="connsiteY766" fmla="*/ 564111 h 723778"/>
                      <a:gd name="connsiteX767" fmla="*/ 385265 w 751062"/>
                      <a:gd name="connsiteY767" fmla="*/ 576003 h 723778"/>
                      <a:gd name="connsiteX768" fmla="*/ 344485 w 751062"/>
                      <a:gd name="connsiteY768" fmla="*/ 568194 h 723778"/>
                      <a:gd name="connsiteX769" fmla="*/ 332649 w 751062"/>
                      <a:gd name="connsiteY769" fmla="*/ 566047 h 723778"/>
                      <a:gd name="connsiteX770" fmla="*/ 328620 w 751062"/>
                      <a:gd name="connsiteY770" fmla="*/ 428296 h 723778"/>
                      <a:gd name="connsiteX771" fmla="*/ 344405 w 751062"/>
                      <a:gd name="connsiteY771" fmla="*/ 434467 h 723778"/>
                      <a:gd name="connsiteX772" fmla="*/ 354139 w 751062"/>
                      <a:gd name="connsiteY772" fmla="*/ 483878 h 723778"/>
                      <a:gd name="connsiteX773" fmla="*/ 286912 w 751062"/>
                      <a:gd name="connsiteY773" fmla="*/ 402801 h 723778"/>
                      <a:gd name="connsiteX774" fmla="*/ 308216 w 751062"/>
                      <a:gd name="connsiteY774" fmla="*/ 405927 h 723778"/>
                      <a:gd name="connsiteX775" fmla="*/ 308604 w 751062"/>
                      <a:gd name="connsiteY775" fmla="*/ 409619 h 723778"/>
                      <a:gd name="connsiteX776" fmla="*/ 288945 w 751062"/>
                      <a:gd name="connsiteY776" fmla="*/ 408400 h 723778"/>
                      <a:gd name="connsiteX777" fmla="*/ 286912 w 751062"/>
                      <a:gd name="connsiteY777" fmla="*/ 402801 h 723778"/>
                      <a:gd name="connsiteX778" fmla="*/ 440975 w 751062"/>
                      <a:gd name="connsiteY778" fmla="*/ 667686 h 723778"/>
                      <a:gd name="connsiteX779" fmla="*/ 430728 w 751062"/>
                      <a:gd name="connsiteY779" fmla="*/ 669919 h 723778"/>
                      <a:gd name="connsiteX780" fmla="*/ 419820 w 751062"/>
                      <a:gd name="connsiteY780" fmla="*/ 672574 h 723778"/>
                      <a:gd name="connsiteX781" fmla="*/ 419169 w 751062"/>
                      <a:gd name="connsiteY781" fmla="*/ 668608 h 723778"/>
                      <a:gd name="connsiteX782" fmla="*/ 419483 w 751062"/>
                      <a:gd name="connsiteY782" fmla="*/ 663606 h 723778"/>
                      <a:gd name="connsiteX783" fmla="*/ 416308 w 751062"/>
                      <a:gd name="connsiteY783" fmla="*/ 644686 h 723778"/>
                      <a:gd name="connsiteX784" fmla="*/ 449450 w 751062"/>
                      <a:gd name="connsiteY784" fmla="*/ 640634 h 723778"/>
                      <a:gd name="connsiteX785" fmla="*/ 445929 w 751062"/>
                      <a:gd name="connsiteY785" fmla="*/ 657655 h 723778"/>
                      <a:gd name="connsiteX786" fmla="*/ 448388 w 751062"/>
                      <a:gd name="connsiteY786" fmla="*/ 666295 h 723778"/>
                      <a:gd name="connsiteX787" fmla="*/ 440975 w 751062"/>
                      <a:gd name="connsiteY787" fmla="*/ 667686 h 723778"/>
                      <a:gd name="connsiteX788" fmla="*/ 450923 w 751062"/>
                      <a:gd name="connsiteY788" fmla="*/ 665730 h 723778"/>
                      <a:gd name="connsiteX789" fmla="*/ 450138 w 751062"/>
                      <a:gd name="connsiteY789" fmla="*/ 665916 h 723778"/>
                      <a:gd name="connsiteX790" fmla="*/ 448633 w 751062"/>
                      <a:gd name="connsiteY790" fmla="*/ 658123 h 723778"/>
                      <a:gd name="connsiteX791" fmla="*/ 457891 w 751062"/>
                      <a:gd name="connsiteY791" fmla="*/ 657350 h 723778"/>
                      <a:gd name="connsiteX792" fmla="*/ 458779 w 751062"/>
                      <a:gd name="connsiteY792" fmla="*/ 662849 h 723778"/>
                      <a:gd name="connsiteX793" fmla="*/ 450923 w 751062"/>
                      <a:gd name="connsiteY793" fmla="*/ 665730 h 723778"/>
                      <a:gd name="connsiteX794" fmla="*/ 485288 w 751062"/>
                      <a:gd name="connsiteY794" fmla="*/ 657387 h 723778"/>
                      <a:gd name="connsiteX795" fmla="*/ 462022 w 751062"/>
                      <a:gd name="connsiteY795" fmla="*/ 659797 h 723778"/>
                      <a:gd name="connsiteX796" fmla="*/ 460709 w 751062"/>
                      <a:gd name="connsiteY796" fmla="*/ 656753 h 723778"/>
                      <a:gd name="connsiteX797" fmla="*/ 473201 w 751062"/>
                      <a:gd name="connsiteY797" fmla="*/ 654808 h 723778"/>
                      <a:gd name="connsiteX798" fmla="*/ 478361 w 751062"/>
                      <a:gd name="connsiteY798" fmla="*/ 646045 h 723778"/>
                      <a:gd name="connsiteX799" fmla="*/ 507756 w 751062"/>
                      <a:gd name="connsiteY799" fmla="*/ 635829 h 723778"/>
                      <a:gd name="connsiteX800" fmla="*/ 535696 w 751062"/>
                      <a:gd name="connsiteY800" fmla="*/ 633019 h 723778"/>
                      <a:gd name="connsiteX801" fmla="*/ 563824 w 751062"/>
                      <a:gd name="connsiteY801" fmla="*/ 630129 h 723778"/>
                      <a:gd name="connsiteX802" fmla="*/ 564272 w 751062"/>
                      <a:gd name="connsiteY802" fmla="*/ 630141 h 723778"/>
                      <a:gd name="connsiteX803" fmla="*/ 564278 w 751062"/>
                      <a:gd name="connsiteY803" fmla="*/ 630144 h 723778"/>
                      <a:gd name="connsiteX804" fmla="*/ 569538 w 751062"/>
                      <a:gd name="connsiteY804" fmla="*/ 630626 h 723778"/>
                      <a:gd name="connsiteX805" fmla="*/ 485288 w 751062"/>
                      <a:gd name="connsiteY805" fmla="*/ 657387 h 723778"/>
                      <a:gd name="connsiteX806" fmla="*/ 573752 w 751062"/>
                      <a:gd name="connsiteY806" fmla="*/ 667380 h 723778"/>
                      <a:gd name="connsiteX807" fmla="*/ 507713 w 751062"/>
                      <a:gd name="connsiteY807" fmla="*/ 671612 h 723778"/>
                      <a:gd name="connsiteX808" fmla="*/ 507091 w 751062"/>
                      <a:gd name="connsiteY808" fmla="*/ 656613 h 723778"/>
                      <a:gd name="connsiteX809" fmla="*/ 576604 w 751062"/>
                      <a:gd name="connsiteY809" fmla="*/ 629661 h 723778"/>
                      <a:gd name="connsiteX810" fmla="*/ 564878 w 751062"/>
                      <a:gd name="connsiteY810" fmla="*/ 625224 h 723778"/>
                      <a:gd name="connsiteX811" fmla="*/ 551640 w 751062"/>
                      <a:gd name="connsiteY811" fmla="*/ 625512 h 723778"/>
                      <a:gd name="connsiteX812" fmla="*/ 493405 w 751062"/>
                      <a:gd name="connsiteY812" fmla="*/ 635897 h 723778"/>
                      <a:gd name="connsiteX813" fmla="*/ 490921 w 751062"/>
                      <a:gd name="connsiteY813" fmla="*/ 627991 h 723778"/>
                      <a:gd name="connsiteX814" fmla="*/ 483312 w 751062"/>
                      <a:gd name="connsiteY814" fmla="*/ 612769 h 723778"/>
                      <a:gd name="connsiteX815" fmla="*/ 465229 w 751062"/>
                      <a:gd name="connsiteY815" fmla="*/ 603852 h 723778"/>
                      <a:gd name="connsiteX816" fmla="*/ 451666 w 751062"/>
                      <a:gd name="connsiteY816" fmla="*/ 586234 h 723778"/>
                      <a:gd name="connsiteX817" fmla="*/ 439785 w 751062"/>
                      <a:gd name="connsiteY817" fmla="*/ 568548 h 723778"/>
                      <a:gd name="connsiteX818" fmla="*/ 438546 w 751062"/>
                      <a:gd name="connsiteY818" fmla="*/ 554585 h 723778"/>
                      <a:gd name="connsiteX819" fmla="*/ 448616 w 751062"/>
                      <a:gd name="connsiteY819" fmla="*/ 535352 h 723778"/>
                      <a:gd name="connsiteX820" fmla="*/ 442095 w 751062"/>
                      <a:gd name="connsiteY820" fmla="*/ 521643 h 723778"/>
                      <a:gd name="connsiteX821" fmla="*/ 438406 w 751062"/>
                      <a:gd name="connsiteY821" fmla="*/ 491910 h 723778"/>
                      <a:gd name="connsiteX822" fmla="*/ 440013 w 751062"/>
                      <a:gd name="connsiteY822" fmla="*/ 378987 h 723778"/>
                      <a:gd name="connsiteX823" fmla="*/ 482232 w 751062"/>
                      <a:gd name="connsiteY823" fmla="*/ 374393 h 723778"/>
                      <a:gd name="connsiteX824" fmla="*/ 491901 w 751062"/>
                      <a:gd name="connsiteY824" fmla="*/ 373676 h 723778"/>
                      <a:gd name="connsiteX825" fmla="*/ 514167 w 751062"/>
                      <a:gd name="connsiteY825" fmla="*/ 382108 h 723778"/>
                      <a:gd name="connsiteX826" fmla="*/ 513130 w 751062"/>
                      <a:gd name="connsiteY826" fmla="*/ 505599 h 723778"/>
                      <a:gd name="connsiteX827" fmla="*/ 512759 w 751062"/>
                      <a:gd name="connsiteY827" fmla="*/ 536728 h 723778"/>
                      <a:gd name="connsiteX828" fmla="*/ 516162 w 751062"/>
                      <a:gd name="connsiteY828" fmla="*/ 546219 h 723778"/>
                      <a:gd name="connsiteX829" fmla="*/ 518567 w 751062"/>
                      <a:gd name="connsiteY829" fmla="*/ 568631 h 723778"/>
                      <a:gd name="connsiteX830" fmla="*/ 522556 w 751062"/>
                      <a:gd name="connsiteY830" fmla="*/ 586060 h 723778"/>
                      <a:gd name="connsiteX831" fmla="*/ 519412 w 751062"/>
                      <a:gd name="connsiteY831" fmla="*/ 601125 h 723778"/>
                      <a:gd name="connsiteX832" fmla="*/ 502394 w 751062"/>
                      <a:gd name="connsiteY832" fmla="*/ 600280 h 723778"/>
                      <a:gd name="connsiteX833" fmla="*/ 507397 w 751062"/>
                      <a:gd name="connsiteY833" fmla="*/ 626435 h 723778"/>
                      <a:gd name="connsiteX834" fmla="*/ 512399 w 751062"/>
                      <a:gd name="connsiteY834" fmla="*/ 627788 h 723778"/>
                      <a:gd name="connsiteX835" fmla="*/ 513259 w 751062"/>
                      <a:gd name="connsiteY835" fmla="*/ 616161 h 723778"/>
                      <a:gd name="connsiteX836" fmla="*/ 507999 w 751062"/>
                      <a:gd name="connsiteY836" fmla="*/ 606042 h 723778"/>
                      <a:gd name="connsiteX837" fmla="*/ 510252 w 751062"/>
                      <a:gd name="connsiteY837" fmla="*/ 601933 h 723778"/>
                      <a:gd name="connsiteX838" fmla="*/ 519732 w 751062"/>
                      <a:gd name="connsiteY838" fmla="*/ 611141 h 723778"/>
                      <a:gd name="connsiteX839" fmla="*/ 563147 w 751062"/>
                      <a:gd name="connsiteY839" fmla="*/ 592607 h 723778"/>
                      <a:gd name="connsiteX840" fmla="*/ 573389 w 751062"/>
                      <a:gd name="connsiteY840" fmla="*/ 585732 h 723778"/>
                      <a:gd name="connsiteX841" fmla="*/ 584040 w 751062"/>
                      <a:gd name="connsiteY841" fmla="*/ 583079 h 723778"/>
                      <a:gd name="connsiteX842" fmla="*/ 585436 w 751062"/>
                      <a:gd name="connsiteY842" fmla="*/ 576383 h 723778"/>
                      <a:gd name="connsiteX843" fmla="*/ 589388 w 751062"/>
                      <a:gd name="connsiteY843" fmla="*/ 569582 h 723778"/>
                      <a:gd name="connsiteX844" fmla="*/ 600495 w 751062"/>
                      <a:gd name="connsiteY844" fmla="*/ 591879 h 723778"/>
                      <a:gd name="connsiteX845" fmla="*/ 589197 w 751062"/>
                      <a:gd name="connsiteY845" fmla="*/ 598663 h 723778"/>
                      <a:gd name="connsiteX846" fmla="*/ 592240 w 751062"/>
                      <a:gd name="connsiteY846" fmla="*/ 601014 h 723778"/>
                      <a:gd name="connsiteX847" fmla="*/ 603847 w 751062"/>
                      <a:gd name="connsiteY847" fmla="*/ 595777 h 723778"/>
                      <a:gd name="connsiteX848" fmla="*/ 607522 w 751062"/>
                      <a:gd name="connsiteY848" fmla="*/ 599323 h 723778"/>
                      <a:gd name="connsiteX849" fmla="*/ 601006 w 751062"/>
                      <a:gd name="connsiteY849" fmla="*/ 605816 h 723778"/>
                      <a:gd name="connsiteX850" fmla="*/ 603582 w 751062"/>
                      <a:gd name="connsiteY850" fmla="*/ 607803 h 723778"/>
                      <a:gd name="connsiteX851" fmla="*/ 611937 w 751062"/>
                      <a:gd name="connsiteY851" fmla="*/ 602864 h 723778"/>
                      <a:gd name="connsiteX852" fmla="*/ 618444 w 751062"/>
                      <a:gd name="connsiteY852" fmla="*/ 607058 h 723778"/>
                      <a:gd name="connsiteX853" fmla="*/ 610880 w 751062"/>
                      <a:gd name="connsiteY853" fmla="*/ 612092 h 723778"/>
                      <a:gd name="connsiteX854" fmla="*/ 613364 w 751062"/>
                      <a:gd name="connsiteY854" fmla="*/ 615313 h 723778"/>
                      <a:gd name="connsiteX855" fmla="*/ 623552 w 751062"/>
                      <a:gd name="connsiteY855" fmla="*/ 609714 h 723778"/>
                      <a:gd name="connsiteX856" fmla="*/ 684348 w 751062"/>
                      <a:gd name="connsiteY856" fmla="*/ 617003 h 723778"/>
                      <a:gd name="connsiteX857" fmla="*/ 594707 w 751062"/>
                      <a:gd name="connsiteY857" fmla="*/ 647213 h 723778"/>
                      <a:gd name="connsiteX858" fmla="*/ 524343 w 751062"/>
                      <a:gd name="connsiteY858" fmla="*/ 652327 h 723778"/>
                      <a:gd name="connsiteX859" fmla="*/ 524586 w 751062"/>
                      <a:gd name="connsiteY859" fmla="*/ 654120 h 723778"/>
                      <a:gd name="connsiteX860" fmla="*/ 592018 w 751062"/>
                      <a:gd name="connsiteY860" fmla="*/ 650836 h 723778"/>
                      <a:gd name="connsiteX861" fmla="*/ 624046 w 751062"/>
                      <a:gd name="connsiteY861" fmla="*/ 644358 h 723778"/>
                      <a:gd name="connsiteX862" fmla="*/ 688189 w 751062"/>
                      <a:gd name="connsiteY862" fmla="*/ 619579 h 723778"/>
                      <a:gd name="connsiteX863" fmla="*/ 689479 w 751062"/>
                      <a:gd name="connsiteY863" fmla="*/ 621372 h 723778"/>
                      <a:gd name="connsiteX864" fmla="*/ 657993 w 751062"/>
                      <a:gd name="connsiteY864" fmla="*/ 639975 h 723778"/>
                      <a:gd name="connsiteX865" fmla="*/ 573752 w 751062"/>
                      <a:gd name="connsiteY865" fmla="*/ 667380 h 723778"/>
                      <a:gd name="connsiteX866" fmla="*/ 732095 w 751062"/>
                      <a:gd name="connsiteY866" fmla="*/ 645580 h 723778"/>
                      <a:gd name="connsiteX867" fmla="*/ 736807 w 751062"/>
                      <a:gd name="connsiteY867" fmla="*/ 645791 h 723778"/>
                      <a:gd name="connsiteX868" fmla="*/ 586244 w 751062"/>
                      <a:gd name="connsiteY868" fmla="*/ 673708 h 723778"/>
                      <a:gd name="connsiteX869" fmla="*/ 586892 w 751062"/>
                      <a:gd name="connsiteY869" fmla="*/ 671141 h 723778"/>
                      <a:gd name="connsiteX870" fmla="*/ 643762 w 751062"/>
                      <a:gd name="connsiteY870" fmla="*/ 654112 h 723778"/>
                      <a:gd name="connsiteX871" fmla="*/ 644916 w 751062"/>
                      <a:gd name="connsiteY871" fmla="*/ 655060 h 723778"/>
                      <a:gd name="connsiteX872" fmla="*/ 654935 w 751062"/>
                      <a:gd name="connsiteY872" fmla="*/ 653746 h 723778"/>
                      <a:gd name="connsiteX873" fmla="*/ 683711 w 751062"/>
                      <a:gd name="connsiteY873" fmla="*/ 651673 h 723778"/>
                      <a:gd name="connsiteX874" fmla="*/ 732095 w 751062"/>
                      <a:gd name="connsiteY874" fmla="*/ 645580 h 723778"/>
                      <a:gd name="connsiteX875" fmla="*/ 737920 w 751062"/>
                      <a:gd name="connsiteY875" fmla="*/ 636874 h 723778"/>
                      <a:gd name="connsiteX876" fmla="*/ 729737 w 751062"/>
                      <a:gd name="connsiteY876" fmla="*/ 636885 h 723778"/>
                      <a:gd name="connsiteX877" fmla="*/ 726305 w 751062"/>
                      <a:gd name="connsiteY877" fmla="*/ 641859 h 723778"/>
                      <a:gd name="connsiteX878" fmla="*/ 685585 w 751062"/>
                      <a:gd name="connsiteY878" fmla="*/ 647424 h 723778"/>
                      <a:gd name="connsiteX879" fmla="*/ 651589 w 751062"/>
                      <a:gd name="connsiteY879" fmla="*/ 651242 h 723778"/>
                      <a:gd name="connsiteX880" fmla="*/ 700361 w 751062"/>
                      <a:gd name="connsiteY880" fmla="*/ 626752 h 723778"/>
                      <a:gd name="connsiteX881" fmla="*/ 719249 w 751062"/>
                      <a:gd name="connsiteY881" fmla="*/ 625715 h 723778"/>
                      <a:gd name="connsiteX882" fmla="*/ 721345 w 751062"/>
                      <a:gd name="connsiteY882" fmla="*/ 640826 h 723778"/>
                      <a:gd name="connsiteX883" fmla="*/ 721602 w 751062"/>
                      <a:gd name="connsiteY883" fmla="*/ 639344 h 723778"/>
                      <a:gd name="connsiteX884" fmla="*/ 724637 w 751062"/>
                      <a:gd name="connsiteY884" fmla="*/ 624590 h 723778"/>
                      <a:gd name="connsiteX885" fmla="*/ 725280 w 751062"/>
                      <a:gd name="connsiteY885" fmla="*/ 624127 h 723778"/>
                      <a:gd name="connsiteX886" fmla="*/ 726973 w 751062"/>
                      <a:gd name="connsiteY886" fmla="*/ 626121 h 723778"/>
                      <a:gd name="connsiteX887" fmla="*/ 727998 w 751062"/>
                      <a:gd name="connsiteY887" fmla="*/ 627645 h 723778"/>
                      <a:gd name="connsiteX888" fmla="*/ 741218 w 751062"/>
                      <a:gd name="connsiteY888" fmla="*/ 627457 h 723778"/>
                      <a:gd name="connsiteX889" fmla="*/ 741284 w 751062"/>
                      <a:gd name="connsiteY889" fmla="*/ 636802 h 723778"/>
                      <a:gd name="connsiteX890" fmla="*/ 737920 w 751062"/>
                      <a:gd name="connsiteY890" fmla="*/ 636874 h 723778"/>
                      <a:gd name="connsiteX891" fmla="*/ 745156 w 751062"/>
                      <a:gd name="connsiteY891" fmla="*/ 636854 h 723778"/>
                      <a:gd name="connsiteX892" fmla="*/ 743868 w 751062"/>
                      <a:gd name="connsiteY892" fmla="*/ 627902 h 723778"/>
                      <a:gd name="connsiteX893" fmla="*/ 746421 w 751062"/>
                      <a:gd name="connsiteY893" fmla="*/ 628262 h 723778"/>
                      <a:gd name="connsiteX894" fmla="*/ 745156 w 751062"/>
                      <a:gd name="connsiteY894" fmla="*/ 636854 h 72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Lst>
                    <a:rect l="l" t="t" r="r" b="b"/>
                    <a:pathLst>
                      <a:path w="751062" h="723778">
                        <a:moveTo>
                          <a:pt x="748257" y="625144"/>
                        </a:moveTo>
                        <a:cubicBezTo>
                          <a:pt x="747877" y="624970"/>
                          <a:pt x="747469" y="624950"/>
                          <a:pt x="747120" y="625078"/>
                        </a:cubicBezTo>
                        <a:cubicBezTo>
                          <a:pt x="746372" y="624661"/>
                          <a:pt x="745427" y="624510"/>
                          <a:pt x="744528" y="624544"/>
                        </a:cubicBezTo>
                        <a:cubicBezTo>
                          <a:pt x="744102" y="624230"/>
                          <a:pt x="743534" y="624122"/>
                          <a:pt x="743103" y="624444"/>
                        </a:cubicBezTo>
                        <a:cubicBezTo>
                          <a:pt x="739008" y="623345"/>
                          <a:pt x="734411" y="624693"/>
                          <a:pt x="730288" y="625070"/>
                        </a:cubicBezTo>
                        <a:cubicBezTo>
                          <a:pt x="729914" y="622320"/>
                          <a:pt x="725996" y="619742"/>
                          <a:pt x="723649" y="621843"/>
                        </a:cubicBezTo>
                        <a:cubicBezTo>
                          <a:pt x="715180" y="621178"/>
                          <a:pt x="706617" y="622905"/>
                          <a:pt x="698145" y="623485"/>
                        </a:cubicBezTo>
                        <a:cubicBezTo>
                          <a:pt x="697700" y="616706"/>
                          <a:pt x="692263" y="611250"/>
                          <a:pt x="685850" y="609137"/>
                        </a:cubicBezTo>
                        <a:cubicBezTo>
                          <a:pt x="670174" y="543076"/>
                          <a:pt x="653496" y="477260"/>
                          <a:pt x="637204" y="411350"/>
                        </a:cubicBezTo>
                        <a:cubicBezTo>
                          <a:pt x="635250" y="403526"/>
                          <a:pt x="633429" y="395200"/>
                          <a:pt x="628575" y="388570"/>
                        </a:cubicBezTo>
                        <a:cubicBezTo>
                          <a:pt x="623723" y="382188"/>
                          <a:pt x="616685" y="377385"/>
                          <a:pt x="608918" y="375355"/>
                        </a:cubicBezTo>
                        <a:cubicBezTo>
                          <a:pt x="613359" y="351773"/>
                          <a:pt x="610306" y="326249"/>
                          <a:pt x="596909" y="306844"/>
                        </a:cubicBezTo>
                        <a:cubicBezTo>
                          <a:pt x="594959" y="304023"/>
                          <a:pt x="590793" y="298789"/>
                          <a:pt x="590793" y="298789"/>
                        </a:cubicBezTo>
                        <a:cubicBezTo>
                          <a:pt x="588034" y="295914"/>
                          <a:pt x="584979" y="293241"/>
                          <a:pt x="581616" y="290808"/>
                        </a:cubicBezTo>
                        <a:cubicBezTo>
                          <a:pt x="582058" y="277028"/>
                          <a:pt x="580773" y="263083"/>
                          <a:pt x="579077" y="249394"/>
                        </a:cubicBezTo>
                        <a:cubicBezTo>
                          <a:pt x="578963" y="248706"/>
                          <a:pt x="578184" y="247904"/>
                          <a:pt x="577487" y="247804"/>
                        </a:cubicBezTo>
                        <a:cubicBezTo>
                          <a:pt x="575225" y="247475"/>
                          <a:pt x="572964" y="247150"/>
                          <a:pt x="570702" y="246824"/>
                        </a:cubicBezTo>
                        <a:cubicBezTo>
                          <a:pt x="568658" y="246530"/>
                          <a:pt x="565314" y="245302"/>
                          <a:pt x="563458" y="246545"/>
                        </a:cubicBezTo>
                        <a:cubicBezTo>
                          <a:pt x="556634" y="220898"/>
                          <a:pt x="473198" y="216321"/>
                          <a:pt x="445376" y="212891"/>
                        </a:cubicBezTo>
                        <a:lnTo>
                          <a:pt x="430285" y="181799"/>
                        </a:lnTo>
                        <a:cubicBezTo>
                          <a:pt x="428301" y="173842"/>
                          <a:pt x="423344" y="166563"/>
                          <a:pt x="419971" y="159057"/>
                        </a:cubicBezTo>
                        <a:cubicBezTo>
                          <a:pt x="410318" y="139455"/>
                          <a:pt x="400341" y="120007"/>
                          <a:pt x="390901" y="100302"/>
                        </a:cubicBezTo>
                        <a:cubicBezTo>
                          <a:pt x="390901" y="100302"/>
                          <a:pt x="384822" y="86516"/>
                          <a:pt x="381727" y="79872"/>
                        </a:cubicBezTo>
                        <a:cubicBezTo>
                          <a:pt x="374340" y="64016"/>
                          <a:pt x="364712" y="49797"/>
                          <a:pt x="349107" y="42190"/>
                        </a:cubicBezTo>
                        <a:cubicBezTo>
                          <a:pt x="339819" y="38258"/>
                          <a:pt x="328666" y="36351"/>
                          <a:pt x="319001" y="40094"/>
                        </a:cubicBezTo>
                        <a:cubicBezTo>
                          <a:pt x="317390" y="36157"/>
                          <a:pt x="307731" y="21409"/>
                          <a:pt x="303025" y="26831"/>
                        </a:cubicBezTo>
                        <a:cubicBezTo>
                          <a:pt x="299013" y="28581"/>
                          <a:pt x="297905" y="34164"/>
                          <a:pt x="297020" y="38095"/>
                        </a:cubicBezTo>
                        <a:cubicBezTo>
                          <a:pt x="296332" y="42810"/>
                          <a:pt x="297291" y="47507"/>
                          <a:pt x="299670" y="51613"/>
                        </a:cubicBezTo>
                        <a:cubicBezTo>
                          <a:pt x="300335" y="52760"/>
                          <a:pt x="302271" y="52004"/>
                          <a:pt x="301851" y="50693"/>
                        </a:cubicBezTo>
                        <a:cubicBezTo>
                          <a:pt x="300624" y="46850"/>
                          <a:pt x="300418" y="42715"/>
                          <a:pt x="301212" y="38761"/>
                        </a:cubicBezTo>
                        <a:cubicBezTo>
                          <a:pt x="306994" y="50268"/>
                          <a:pt x="306560" y="63991"/>
                          <a:pt x="303533" y="76303"/>
                        </a:cubicBezTo>
                        <a:cubicBezTo>
                          <a:pt x="302203" y="79992"/>
                          <a:pt x="300461" y="84081"/>
                          <a:pt x="301086" y="88118"/>
                        </a:cubicBezTo>
                        <a:cubicBezTo>
                          <a:pt x="295787" y="80437"/>
                          <a:pt x="287709" y="75392"/>
                          <a:pt x="280234" y="70067"/>
                        </a:cubicBezTo>
                        <a:cubicBezTo>
                          <a:pt x="274223" y="65827"/>
                          <a:pt x="268104" y="61903"/>
                          <a:pt x="261802" y="58103"/>
                        </a:cubicBezTo>
                        <a:cubicBezTo>
                          <a:pt x="251797" y="52101"/>
                          <a:pt x="241624" y="45382"/>
                          <a:pt x="235270" y="35334"/>
                        </a:cubicBezTo>
                        <a:cubicBezTo>
                          <a:pt x="238848" y="25660"/>
                          <a:pt x="238331" y="13671"/>
                          <a:pt x="237138" y="3469"/>
                        </a:cubicBezTo>
                        <a:cubicBezTo>
                          <a:pt x="237004" y="2224"/>
                          <a:pt x="236413" y="1193"/>
                          <a:pt x="235542" y="333"/>
                        </a:cubicBezTo>
                        <a:cubicBezTo>
                          <a:pt x="234500" y="-797"/>
                          <a:pt x="233920" y="1247"/>
                          <a:pt x="233620" y="2027"/>
                        </a:cubicBezTo>
                        <a:cubicBezTo>
                          <a:pt x="233300" y="6795"/>
                          <a:pt x="233671" y="11606"/>
                          <a:pt x="233292" y="16386"/>
                        </a:cubicBezTo>
                        <a:cubicBezTo>
                          <a:pt x="221585" y="19915"/>
                          <a:pt x="216736" y="32473"/>
                          <a:pt x="215137" y="43572"/>
                        </a:cubicBezTo>
                        <a:cubicBezTo>
                          <a:pt x="196763" y="51299"/>
                          <a:pt x="181878" y="65738"/>
                          <a:pt x="169152" y="80771"/>
                        </a:cubicBezTo>
                        <a:cubicBezTo>
                          <a:pt x="158670" y="79698"/>
                          <a:pt x="148371" y="78644"/>
                          <a:pt x="137929" y="77439"/>
                        </a:cubicBezTo>
                        <a:cubicBezTo>
                          <a:pt x="135410" y="77162"/>
                          <a:pt x="131681" y="76326"/>
                          <a:pt x="129126" y="77414"/>
                        </a:cubicBezTo>
                        <a:cubicBezTo>
                          <a:pt x="125003" y="69170"/>
                          <a:pt x="117976" y="60370"/>
                          <a:pt x="108293" y="58979"/>
                        </a:cubicBezTo>
                        <a:cubicBezTo>
                          <a:pt x="107776" y="53491"/>
                          <a:pt x="92186" y="54360"/>
                          <a:pt x="87766" y="54003"/>
                        </a:cubicBezTo>
                        <a:cubicBezTo>
                          <a:pt x="81878" y="54368"/>
                          <a:pt x="73078" y="53277"/>
                          <a:pt x="68235" y="56898"/>
                        </a:cubicBezTo>
                        <a:cubicBezTo>
                          <a:pt x="59838" y="59765"/>
                          <a:pt x="57060" y="71574"/>
                          <a:pt x="64943" y="76700"/>
                        </a:cubicBezTo>
                        <a:cubicBezTo>
                          <a:pt x="70371" y="79549"/>
                          <a:pt x="76913" y="77950"/>
                          <a:pt x="82803" y="78864"/>
                        </a:cubicBezTo>
                        <a:cubicBezTo>
                          <a:pt x="89653" y="78958"/>
                          <a:pt x="96452" y="81234"/>
                          <a:pt x="103228" y="81166"/>
                        </a:cubicBezTo>
                        <a:cubicBezTo>
                          <a:pt x="111448" y="86528"/>
                          <a:pt x="111000" y="97921"/>
                          <a:pt x="111977" y="106644"/>
                        </a:cubicBezTo>
                        <a:cubicBezTo>
                          <a:pt x="116371" y="158380"/>
                          <a:pt x="117941" y="210330"/>
                          <a:pt x="121810" y="262089"/>
                        </a:cubicBezTo>
                        <a:cubicBezTo>
                          <a:pt x="121896" y="262920"/>
                          <a:pt x="122170" y="263751"/>
                          <a:pt x="122453" y="264530"/>
                        </a:cubicBezTo>
                        <a:cubicBezTo>
                          <a:pt x="123167" y="266946"/>
                          <a:pt x="127107" y="266863"/>
                          <a:pt x="127264" y="264233"/>
                        </a:cubicBezTo>
                        <a:cubicBezTo>
                          <a:pt x="128104" y="262021"/>
                          <a:pt x="127638" y="258586"/>
                          <a:pt x="127618" y="256747"/>
                        </a:cubicBezTo>
                        <a:cubicBezTo>
                          <a:pt x="125605" y="220852"/>
                          <a:pt x="123147" y="184958"/>
                          <a:pt x="120671" y="149083"/>
                        </a:cubicBezTo>
                        <a:cubicBezTo>
                          <a:pt x="119343" y="131377"/>
                          <a:pt x="118247" y="113639"/>
                          <a:pt x="116180" y="96002"/>
                        </a:cubicBezTo>
                        <a:cubicBezTo>
                          <a:pt x="115326" y="88527"/>
                          <a:pt x="112034" y="80120"/>
                          <a:pt x="104950" y="76600"/>
                        </a:cubicBezTo>
                        <a:cubicBezTo>
                          <a:pt x="100218" y="71477"/>
                          <a:pt x="102308" y="67854"/>
                          <a:pt x="106529" y="63377"/>
                        </a:cubicBezTo>
                        <a:cubicBezTo>
                          <a:pt x="128826" y="69950"/>
                          <a:pt x="130134" y="98266"/>
                          <a:pt x="131087" y="117691"/>
                        </a:cubicBezTo>
                        <a:cubicBezTo>
                          <a:pt x="132101" y="138561"/>
                          <a:pt x="133189" y="159425"/>
                          <a:pt x="133971" y="180306"/>
                        </a:cubicBezTo>
                        <a:cubicBezTo>
                          <a:pt x="132612" y="205659"/>
                          <a:pt x="132481" y="231100"/>
                          <a:pt x="132669" y="256467"/>
                        </a:cubicBezTo>
                        <a:cubicBezTo>
                          <a:pt x="131576" y="257469"/>
                          <a:pt x="131304" y="259231"/>
                          <a:pt x="131950" y="260753"/>
                        </a:cubicBezTo>
                        <a:cubicBezTo>
                          <a:pt x="132067" y="263545"/>
                          <a:pt x="131433" y="268282"/>
                          <a:pt x="132407" y="271637"/>
                        </a:cubicBezTo>
                        <a:cubicBezTo>
                          <a:pt x="129217" y="270255"/>
                          <a:pt x="126022" y="269085"/>
                          <a:pt x="122821" y="268134"/>
                        </a:cubicBezTo>
                        <a:cubicBezTo>
                          <a:pt x="122861" y="266341"/>
                          <a:pt x="122281" y="264844"/>
                          <a:pt x="121833" y="263183"/>
                        </a:cubicBezTo>
                        <a:cubicBezTo>
                          <a:pt x="121473" y="262426"/>
                          <a:pt x="120191" y="262426"/>
                          <a:pt x="119832" y="263183"/>
                        </a:cubicBezTo>
                        <a:cubicBezTo>
                          <a:pt x="119478" y="264490"/>
                          <a:pt x="119052" y="265707"/>
                          <a:pt x="118884" y="267077"/>
                        </a:cubicBezTo>
                        <a:cubicBezTo>
                          <a:pt x="85493" y="259379"/>
                          <a:pt x="60497" y="273028"/>
                          <a:pt x="38391" y="306230"/>
                        </a:cubicBezTo>
                        <a:cubicBezTo>
                          <a:pt x="-17462" y="388021"/>
                          <a:pt x="-12816" y="548484"/>
                          <a:pt x="55244" y="616010"/>
                        </a:cubicBezTo>
                        <a:lnTo>
                          <a:pt x="55121" y="616118"/>
                        </a:lnTo>
                        <a:cubicBezTo>
                          <a:pt x="99136" y="666989"/>
                          <a:pt x="157999" y="689072"/>
                          <a:pt x="200638" y="627174"/>
                        </a:cubicBezTo>
                        <a:cubicBezTo>
                          <a:pt x="213110" y="629930"/>
                          <a:pt x="226031" y="631868"/>
                          <a:pt x="238677" y="633256"/>
                        </a:cubicBezTo>
                        <a:cubicBezTo>
                          <a:pt x="205526" y="664279"/>
                          <a:pt x="230174" y="725335"/>
                          <a:pt x="276296" y="723748"/>
                        </a:cubicBezTo>
                        <a:cubicBezTo>
                          <a:pt x="327021" y="724770"/>
                          <a:pt x="348599" y="655933"/>
                          <a:pt x="307374" y="627671"/>
                        </a:cubicBezTo>
                        <a:cubicBezTo>
                          <a:pt x="310512" y="619116"/>
                          <a:pt x="315860" y="610759"/>
                          <a:pt x="317262" y="601839"/>
                        </a:cubicBezTo>
                        <a:cubicBezTo>
                          <a:pt x="317944" y="598144"/>
                          <a:pt x="320291" y="594035"/>
                          <a:pt x="319092" y="590286"/>
                        </a:cubicBezTo>
                        <a:cubicBezTo>
                          <a:pt x="320114" y="587876"/>
                          <a:pt x="319557" y="584904"/>
                          <a:pt x="319766" y="582311"/>
                        </a:cubicBezTo>
                        <a:cubicBezTo>
                          <a:pt x="338982" y="588281"/>
                          <a:pt x="358907" y="591631"/>
                          <a:pt x="378509" y="596082"/>
                        </a:cubicBezTo>
                        <a:cubicBezTo>
                          <a:pt x="372915" y="609134"/>
                          <a:pt x="379568" y="624681"/>
                          <a:pt x="381173" y="638079"/>
                        </a:cubicBezTo>
                        <a:cubicBezTo>
                          <a:pt x="382147" y="644817"/>
                          <a:pt x="381713" y="651899"/>
                          <a:pt x="386096" y="657567"/>
                        </a:cubicBezTo>
                        <a:cubicBezTo>
                          <a:pt x="389682" y="662204"/>
                          <a:pt x="395864" y="665624"/>
                          <a:pt x="401851" y="665087"/>
                        </a:cubicBezTo>
                        <a:cubicBezTo>
                          <a:pt x="402705" y="669528"/>
                          <a:pt x="403245" y="674050"/>
                          <a:pt x="404264" y="678456"/>
                        </a:cubicBezTo>
                        <a:cubicBezTo>
                          <a:pt x="404307" y="678636"/>
                          <a:pt x="404476" y="679424"/>
                          <a:pt x="404496" y="679487"/>
                        </a:cubicBezTo>
                        <a:cubicBezTo>
                          <a:pt x="405155" y="681774"/>
                          <a:pt x="407439" y="680952"/>
                          <a:pt x="409178" y="680803"/>
                        </a:cubicBezTo>
                        <a:cubicBezTo>
                          <a:pt x="409515" y="682616"/>
                          <a:pt x="409784" y="684804"/>
                          <a:pt x="410595" y="686468"/>
                        </a:cubicBezTo>
                        <a:cubicBezTo>
                          <a:pt x="412642" y="689629"/>
                          <a:pt x="417727" y="687999"/>
                          <a:pt x="419320" y="685212"/>
                        </a:cubicBezTo>
                        <a:cubicBezTo>
                          <a:pt x="421339" y="684458"/>
                          <a:pt x="419846" y="681880"/>
                          <a:pt x="419523" y="680332"/>
                        </a:cubicBezTo>
                        <a:cubicBezTo>
                          <a:pt x="421945" y="678996"/>
                          <a:pt x="420337" y="675458"/>
                          <a:pt x="420014" y="673345"/>
                        </a:cubicBezTo>
                        <a:cubicBezTo>
                          <a:pt x="426727" y="675270"/>
                          <a:pt x="435008" y="671803"/>
                          <a:pt x="441855" y="670875"/>
                        </a:cubicBezTo>
                        <a:cubicBezTo>
                          <a:pt x="448711" y="669011"/>
                          <a:pt x="456666" y="668268"/>
                          <a:pt x="462196" y="663580"/>
                        </a:cubicBezTo>
                        <a:cubicBezTo>
                          <a:pt x="471659" y="669151"/>
                          <a:pt x="490581" y="660096"/>
                          <a:pt x="501235" y="658178"/>
                        </a:cubicBezTo>
                        <a:cubicBezTo>
                          <a:pt x="491381" y="673482"/>
                          <a:pt x="500135" y="679901"/>
                          <a:pt x="515857" y="679621"/>
                        </a:cubicBezTo>
                        <a:cubicBezTo>
                          <a:pt x="538403" y="681709"/>
                          <a:pt x="561086" y="679964"/>
                          <a:pt x="582549" y="672434"/>
                        </a:cubicBezTo>
                        <a:cubicBezTo>
                          <a:pt x="577107" y="681126"/>
                          <a:pt x="593974" y="677328"/>
                          <a:pt x="598071" y="677043"/>
                        </a:cubicBezTo>
                        <a:cubicBezTo>
                          <a:pt x="603573" y="676340"/>
                          <a:pt x="609076" y="675638"/>
                          <a:pt x="614578" y="674936"/>
                        </a:cubicBezTo>
                        <a:cubicBezTo>
                          <a:pt x="646638" y="671555"/>
                          <a:pt x="678318" y="666287"/>
                          <a:pt x="709358" y="657475"/>
                        </a:cubicBezTo>
                        <a:cubicBezTo>
                          <a:pt x="720480" y="654803"/>
                          <a:pt x="731610" y="652096"/>
                          <a:pt x="742469" y="648481"/>
                        </a:cubicBezTo>
                        <a:cubicBezTo>
                          <a:pt x="744259" y="647884"/>
                          <a:pt x="744293" y="645745"/>
                          <a:pt x="743285" y="644749"/>
                        </a:cubicBezTo>
                        <a:cubicBezTo>
                          <a:pt x="743782" y="641925"/>
                          <a:pt x="732778" y="642613"/>
                          <a:pt x="730610" y="642102"/>
                        </a:cubicBezTo>
                        <a:cubicBezTo>
                          <a:pt x="730862" y="641482"/>
                          <a:pt x="730982" y="640823"/>
                          <a:pt x="731059" y="640157"/>
                        </a:cubicBezTo>
                        <a:cubicBezTo>
                          <a:pt x="735096" y="640132"/>
                          <a:pt x="742474" y="642208"/>
                          <a:pt x="745661" y="639812"/>
                        </a:cubicBezTo>
                        <a:cubicBezTo>
                          <a:pt x="751931" y="639541"/>
                          <a:pt x="752668" y="627977"/>
                          <a:pt x="748257" y="625144"/>
                        </a:cubicBezTo>
                        <a:close/>
                        <a:moveTo>
                          <a:pt x="96509" y="73656"/>
                        </a:moveTo>
                        <a:cubicBezTo>
                          <a:pt x="88740" y="72508"/>
                          <a:pt x="80910" y="71786"/>
                          <a:pt x="73058" y="71623"/>
                        </a:cubicBezTo>
                        <a:cubicBezTo>
                          <a:pt x="71465" y="71586"/>
                          <a:pt x="69323" y="71820"/>
                          <a:pt x="68081" y="70624"/>
                        </a:cubicBezTo>
                        <a:cubicBezTo>
                          <a:pt x="64681" y="66412"/>
                          <a:pt x="69340" y="62848"/>
                          <a:pt x="73098" y="61387"/>
                        </a:cubicBezTo>
                        <a:cubicBezTo>
                          <a:pt x="81707" y="61132"/>
                          <a:pt x="90050" y="61375"/>
                          <a:pt x="98576" y="62397"/>
                        </a:cubicBezTo>
                        <a:cubicBezTo>
                          <a:pt x="96035" y="65798"/>
                          <a:pt x="95373" y="69724"/>
                          <a:pt x="96509" y="73656"/>
                        </a:cubicBezTo>
                        <a:close/>
                        <a:moveTo>
                          <a:pt x="607379" y="388147"/>
                        </a:moveTo>
                        <a:cubicBezTo>
                          <a:pt x="607699" y="385212"/>
                          <a:pt x="608062" y="382268"/>
                          <a:pt x="608427" y="379318"/>
                        </a:cubicBezTo>
                        <a:cubicBezTo>
                          <a:pt x="623464" y="389635"/>
                          <a:pt x="626630" y="392162"/>
                          <a:pt x="630927" y="410622"/>
                        </a:cubicBezTo>
                        <a:cubicBezTo>
                          <a:pt x="647311" y="476126"/>
                          <a:pt x="662710" y="541868"/>
                          <a:pt x="678660" y="607478"/>
                        </a:cubicBezTo>
                        <a:cubicBezTo>
                          <a:pt x="676025" y="607135"/>
                          <a:pt x="673369" y="607115"/>
                          <a:pt x="670720" y="607295"/>
                        </a:cubicBezTo>
                        <a:cubicBezTo>
                          <a:pt x="651283" y="540654"/>
                          <a:pt x="642777" y="470744"/>
                          <a:pt x="617376" y="405836"/>
                        </a:cubicBezTo>
                        <a:cubicBezTo>
                          <a:pt x="615129" y="400736"/>
                          <a:pt x="611839" y="395425"/>
                          <a:pt x="606900" y="392630"/>
                        </a:cubicBezTo>
                        <a:cubicBezTo>
                          <a:pt x="607062" y="391137"/>
                          <a:pt x="607217" y="389640"/>
                          <a:pt x="607379" y="388147"/>
                        </a:cubicBezTo>
                        <a:close/>
                        <a:moveTo>
                          <a:pt x="617108" y="538895"/>
                        </a:moveTo>
                        <a:cubicBezTo>
                          <a:pt x="628315" y="540334"/>
                          <a:pt x="639616" y="542496"/>
                          <a:pt x="650852" y="543107"/>
                        </a:cubicBezTo>
                        <a:cubicBezTo>
                          <a:pt x="656103" y="564611"/>
                          <a:pt x="659001" y="586862"/>
                          <a:pt x="666588" y="607692"/>
                        </a:cubicBezTo>
                        <a:cubicBezTo>
                          <a:pt x="648108" y="611478"/>
                          <a:pt x="634445" y="608417"/>
                          <a:pt x="618649" y="598198"/>
                        </a:cubicBezTo>
                        <a:cubicBezTo>
                          <a:pt x="616534" y="587927"/>
                          <a:pt x="615000" y="577517"/>
                          <a:pt x="615429" y="566981"/>
                        </a:cubicBezTo>
                        <a:cubicBezTo>
                          <a:pt x="615437" y="557569"/>
                          <a:pt x="617690" y="548335"/>
                          <a:pt x="617108" y="538895"/>
                        </a:cubicBezTo>
                        <a:close/>
                        <a:moveTo>
                          <a:pt x="614098" y="407752"/>
                        </a:moveTo>
                        <a:cubicBezTo>
                          <a:pt x="630528" y="450120"/>
                          <a:pt x="640173" y="494752"/>
                          <a:pt x="649961" y="539024"/>
                        </a:cubicBezTo>
                        <a:cubicBezTo>
                          <a:pt x="636375" y="537416"/>
                          <a:pt x="622764" y="535500"/>
                          <a:pt x="609324" y="533927"/>
                        </a:cubicBezTo>
                        <a:cubicBezTo>
                          <a:pt x="612014" y="522537"/>
                          <a:pt x="600527" y="521515"/>
                          <a:pt x="599236" y="509908"/>
                        </a:cubicBezTo>
                        <a:cubicBezTo>
                          <a:pt x="601900" y="510228"/>
                          <a:pt x="604615" y="510399"/>
                          <a:pt x="607294" y="510356"/>
                        </a:cubicBezTo>
                        <a:cubicBezTo>
                          <a:pt x="606971" y="513388"/>
                          <a:pt x="607374" y="516698"/>
                          <a:pt x="607459" y="519764"/>
                        </a:cubicBezTo>
                        <a:cubicBezTo>
                          <a:pt x="604173" y="523973"/>
                          <a:pt x="640793" y="524681"/>
                          <a:pt x="644647" y="525735"/>
                        </a:cubicBezTo>
                        <a:cubicBezTo>
                          <a:pt x="647052" y="525712"/>
                          <a:pt x="647106" y="522052"/>
                          <a:pt x="644647" y="522012"/>
                        </a:cubicBezTo>
                        <a:cubicBezTo>
                          <a:pt x="633189" y="521027"/>
                          <a:pt x="621665" y="519419"/>
                          <a:pt x="610152" y="519290"/>
                        </a:cubicBezTo>
                        <a:cubicBezTo>
                          <a:pt x="610552" y="516281"/>
                          <a:pt x="611451" y="513012"/>
                          <a:pt x="610717" y="510025"/>
                        </a:cubicBezTo>
                        <a:cubicBezTo>
                          <a:pt x="611200" y="509594"/>
                          <a:pt x="611811" y="509405"/>
                          <a:pt x="611954" y="508669"/>
                        </a:cubicBezTo>
                        <a:cubicBezTo>
                          <a:pt x="611991" y="506616"/>
                          <a:pt x="612999" y="502161"/>
                          <a:pt x="610849" y="501116"/>
                        </a:cubicBezTo>
                        <a:cubicBezTo>
                          <a:pt x="610455" y="498104"/>
                          <a:pt x="608624" y="495314"/>
                          <a:pt x="607551" y="492519"/>
                        </a:cubicBezTo>
                        <a:cubicBezTo>
                          <a:pt x="606617" y="488593"/>
                          <a:pt x="602622" y="487610"/>
                          <a:pt x="599110" y="487059"/>
                        </a:cubicBezTo>
                        <a:cubicBezTo>
                          <a:pt x="600849" y="456881"/>
                          <a:pt x="603328" y="426746"/>
                          <a:pt x="606471" y="396682"/>
                        </a:cubicBezTo>
                        <a:cubicBezTo>
                          <a:pt x="609909" y="399588"/>
                          <a:pt x="612211" y="403460"/>
                          <a:pt x="614098" y="407752"/>
                        </a:cubicBezTo>
                        <a:close/>
                        <a:moveTo>
                          <a:pt x="602380" y="576372"/>
                        </a:moveTo>
                        <a:cubicBezTo>
                          <a:pt x="601857" y="566598"/>
                          <a:pt x="601446" y="556924"/>
                          <a:pt x="602083" y="547127"/>
                        </a:cubicBezTo>
                        <a:cubicBezTo>
                          <a:pt x="604610" y="544252"/>
                          <a:pt x="606717" y="541037"/>
                          <a:pt x="608179" y="537425"/>
                        </a:cubicBezTo>
                        <a:cubicBezTo>
                          <a:pt x="610052" y="537879"/>
                          <a:pt x="612002" y="538176"/>
                          <a:pt x="613924" y="538444"/>
                        </a:cubicBezTo>
                        <a:cubicBezTo>
                          <a:pt x="614052" y="548367"/>
                          <a:pt x="612051" y="558203"/>
                          <a:pt x="611865" y="568126"/>
                        </a:cubicBezTo>
                        <a:cubicBezTo>
                          <a:pt x="611677" y="577154"/>
                          <a:pt x="612753" y="586080"/>
                          <a:pt x="614355" y="594960"/>
                        </a:cubicBezTo>
                        <a:cubicBezTo>
                          <a:pt x="609332" y="590771"/>
                          <a:pt x="604901" y="585663"/>
                          <a:pt x="602334" y="579604"/>
                        </a:cubicBezTo>
                        <a:cubicBezTo>
                          <a:pt x="602611" y="578576"/>
                          <a:pt x="602431" y="577531"/>
                          <a:pt x="602380" y="576372"/>
                        </a:cubicBezTo>
                        <a:close/>
                        <a:moveTo>
                          <a:pt x="598833" y="507229"/>
                        </a:moveTo>
                        <a:cubicBezTo>
                          <a:pt x="598202" y="501479"/>
                          <a:pt x="598616" y="495680"/>
                          <a:pt x="598942" y="489923"/>
                        </a:cubicBezTo>
                        <a:cubicBezTo>
                          <a:pt x="602437" y="490357"/>
                          <a:pt x="604119" y="491585"/>
                          <a:pt x="604510" y="495123"/>
                        </a:cubicBezTo>
                        <a:cubicBezTo>
                          <a:pt x="605486" y="497681"/>
                          <a:pt x="605763" y="502301"/>
                          <a:pt x="608596" y="503398"/>
                        </a:cubicBezTo>
                        <a:cubicBezTo>
                          <a:pt x="608653" y="504523"/>
                          <a:pt x="608724" y="505668"/>
                          <a:pt x="608896" y="506787"/>
                        </a:cubicBezTo>
                        <a:cubicBezTo>
                          <a:pt x="605541" y="506910"/>
                          <a:pt x="602188" y="507092"/>
                          <a:pt x="598833" y="507229"/>
                        </a:cubicBezTo>
                        <a:close/>
                        <a:moveTo>
                          <a:pt x="579003" y="296887"/>
                        </a:moveTo>
                        <a:cubicBezTo>
                          <a:pt x="579003" y="296887"/>
                          <a:pt x="585199" y="302946"/>
                          <a:pt x="588243" y="306398"/>
                        </a:cubicBezTo>
                        <a:cubicBezTo>
                          <a:pt x="596692" y="315981"/>
                          <a:pt x="602483" y="327696"/>
                          <a:pt x="603919" y="341259"/>
                        </a:cubicBezTo>
                        <a:cubicBezTo>
                          <a:pt x="605418" y="353891"/>
                          <a:pt x="603145" y="366641"/>
                          <a:pt x="601654" y="379167"/>
                        </a:cubicBezTo>
                        <a:cubicBezTo>
                          <a:pt x="597183" y="418157"/>
                          <a:pt x="593088" y="457272"/>
                          <a:pt x="591081" y="496476"/>
                        </a:cubicBezTo>
                        <a:cubicBezTo>
                          <a:pt x="590599" y="506676"/>
                          <a:pt x="591332" y="517780"/>
                          <a:pt x="598562" y="525698"/>
                        </a:cubicBezTo>
                        <a:cubicBezTo>
                          <a:pt x="600013" y="527288"/>
                          <a:pt x="602180" y="528682"/>
                          <a:pt x="601929" y="531094"/>
                        </a:cubicBezTo>
                        <a:cubicBezTo>
                          <a:pt x="600292" y="544049"/>
                          <a:pt x="579420" y="549620"/>
                          <a:pt x="580411" y="555625"/>
                        </a:cubicBezTo>
                        <a:cubicBezTo>
                          <a:pt x="562585" y="560108"/>
                          <a:pt x="543782" y="558994"/>
                          <a:pt x="525694" y="556718"/>
                        </a:cubicBezTo>
                        <a:cubicBezTo>
                          <a:pt x="525477" y="546365"/>
                          <a:pt x="519346" y="537585"/>
                          <a:pt x="518472" y="527400"/>
                        </a:cubicBezTo>
                        <a:cubicBezTo>
                          <a:pt x="523112" y="479036"/>
                          <a:pt x="527453" y="430158"/>
                          <a:pt x="519343" y="381802"/>
                        </a:cubicBezTo>
                        <a:cubicBezTo>
                          <a:pt x="521719" y="379227"/>
                          <a:pt x="521485" y="375629"/>
                          <a:pt x="520685" y="372417"/>
                        </a:cubicBezTo>
                        <a:cubicBezTo>
                          <a:pt x="520037" y="367649"/>
                          <a:pt x="519812" y="362829"/>
                          <a:pt x="519903" y="358020"/>
                        </a:cubicBezTo>
                        <a:cubicBezTo>
                          <a:pt x="520000" y="353015"/>
                          <a:pt x="512256" y="353021"/>
                          <a:pt x="512131" y="358020"/>
                        </a:cubicBezTo>
                        <a:cubicBezTo>
                          <a:pt x="511997" y="363648"/>
                          <a:pt x="512333" y="368993"/>
                          <a:pt x="512956" y="374653"/>
                        </a:cubicBezTo>
                        <a:cubicBezTo>
                          <a:pt x="486915" y="368151"/>
                          <a:pt x="465020" y="345163"/>
                          <a:pt x="437084" y="346425"/>
                        </a:cubicBezTo>
                        <a:cubicBezTo>
                          <a:pt x="435131" y="333781"/>
                          <a:pt x="431324" y="320649"/>
                          <a:pt x="424980" y="309182"/>
                        </a:cubicBezTo>
                        <a:cubicBezTo>
                          <a:pt x="422958" y="305528"/>
                          <a:pt x="418664" y="298797"/>
                          <a:pt x="418664" y="298797"/>
                        </a:cubicBezTo>
                        <a:cubicBezTo>
                          <a:pt x="411066" y="289175"/>
                          <a:pt x="401129" y="281900"/>
                          <a:pt x="388477" y="279307"/>
                        </a:cubicBezTo>
                        <a:cubicBezTo>
                          <a:pt x="385196" y="278787"/>
                          <a:pt x="383906" y="283159"/>
                          <a:pt x="387095" y="284321"/>
                        </a:cubicBezTo>
                        <a:cubicBezTo>
                          <a:pt x="393405" y="286479"/>
                          <a:pt x="398856" y="289406"/>
                          <a:pt x="403568" y="292941"/>
                        </a:cubicBezTo>
                        <a:cubicBezTo>
                          <a:pt x="405221" y="294183"/>
                          <a:pt x="407719" y="296887"/>
                          <a:pt x="407719" y="296887"/>
                        </a:cubicBezTo>
                        <a:cubicBezTo>
                          <a:pt x="421185" y="309873"/>
                          <a:pt x="428546" y="329070"/>
                          <a:pt x="430525" y="347870"/>
                        </a:cubicBezTo>
                        <a:cubicBezTo>
                          <a:pt x="434765" y="381266"/>
                          <a:pt x="435065" y="415104"/>
                          <a:pt x="434362" y="448723"/>
                        </a:cubicBezTo>
                        <a:cubicBezTo>
                          <a:pt x="434440" y="469884"/>
                          <a:pt x="430117" y="491100"/>
                          <a:pt x="432792" y="512186"/>
                        </a:cubicBezTo>
                        <a:cubicBezTo>
                          <a:pt x="435148" y="533150"/>
                          <a:pt x="453293" y="534187"/>
                          <a:pt x="429388" y="551462"/>
                        </a:cubicBezTo>
                        <a:cubicBezTo>
                          <a:pt x="424557" y="555008"/>
                          <a:pt x="419001" y="557518"/>
                          <a:pt x="414215" y="561093"/>
                        </a:cubicBezTo>
                        <a:cubicBezTo>
                          <a:pt x="410931" y="561256"/>
                          <a:pt x="407645" y="561256"/>
                          <a:pt x="404358" y="561207"/>
                        </a:cubicBezTo>
                        <a:cubicBezTo>
                          <a:pt x="402994" y="561281"/>
                          <a:pt x="401743" y="561261"/>
                          <a:pt x="400584" y="560596"/>
                        </a:cubicBezTo>
                        <a:cubicBezTo>
                          <a:pt x="393697" y="525441"/>
                          <a:pt x="387261" y="490177"/>
                          <a:pt x="379308" y="455245"/>
                        </a:cubicBezTo>
                        <a:cubicBezTo>
                          <a:pt x="375325" y="438087"/>
                          <a:pt x="365577" y="420250"/>
                          <a:pt x="347771" y="414650"/>
                        </a:cubicBezTo>
                        <a:cubicBezTo>
                          <a:pt x="349182" y="403515"/>
                          <a:pt x="348731" y="391813"/>
                          <a:pt x="345755" y="380949"/>
                        </a:cubicBezTo>
                        <a:cubicBezTo>
                          <a:pt x="345119" y="374787"/>
                          <a:pt x="345530" y="368728"/>
                          <a:pt x="345093" y="362586"/>
                        </a:cubicBezTo>
                        <a:cubicBezTo>
                          <a:pt x="344956" y="360556"/>
                          <a:pt x="341655" y="359776"/>
                          <a:pt x="341287" y="362072"/>
                        </a:cubicBezTo>
                        <a:cubicBezTo>
                          <a:pt x="340387" y="367486"/>
                          <a:pt x="340490" y="372922"/>
                          <a:pt x="340419" y="378405"/>
                        </a:cubicBezTo>
                        <a:cubicBezTo>
                          <a:pt x="337272" y="376763"/>
                          <a:pt x="334006" y="374401"/>
                          <a:pt x="330368" y="374356"/>
                        </a:cubicBezTo>
                        <a:cubicBezTo>
                          <a:pt x="327844" y="374284"/>
                          <a:pt x="327110" y="378419"/>
                          <a:pt x="329643" y="378921"/>
                        </a:cubicBezTo>
                        <a:cubicBezTo>
                          <a:pt x="333069" y="381020"/>
                          <a:pt x="336444" y="383187"/>
                          <a:pt x="339922" y="385166"/>
                        </a:cubicBezTo>
                        <a:cubicBezTo>
                          <a:pt x="339973" y="386739"/>
                          <a:pt x="340253" y="388327"/>
                          <a:pt x="340424" y="389897"/>
                        </a:cubicBezTo>
                        <a:cubicBezTo>
                          <a:pt x="336201" y="390074"/>
                          <a:pt x="332144" y="392053"/>
                          <a:pt x="328044" y="393004"/>
                        </a:cubicBezTo>
                        <a:cubicBezTo>
                          <a:pt x="326776" y="356664"/>
                          <a:pt x="325611" y="320310"/>
                          <a:pt x="325445" y="283947"/>
                        </a:cubicBezTo>
                        <a:cubicBezTo>
                          <a:pt x="325445" y="283650"/>
                          <a:pt x="325217" y="268776"/>
                          <a:pt x="324868" y="266586"/>
                        </a:cubicBezTo>
                        <a:cubicBezTo>
                          <a:pt x="326359" y="266549"/>
                          <a:pt x="327772" y="266498"/>
                          <a:pt x="329177" y="266364"/>
                        </a:cubicBezTo>
                        <a:cubicBezTo>
                          <a:pt x="329177" y="266364"/>
                          <a:pt x="333272" y="266207"/>
                          <a:pt x="335368" y="265969"/>
                        </a:cubicBezTo>
                        <a:cubicBezTo>
                          <a:pt x="341527" y="269227"/>
                          <a:pt x="347243" y="273268"/>
                          <a:pt x="352463" y="277871"/>
                        </a:cubicBezTo>
                        <a:cubicBezTo>
                          <a:pt x="355346" y="280146"/>
                          <a:pt x="357117" y="280715"/>
                          <a:pt x="359038" y="279338"/>
                        </a:cubicBezTo>
                        <a:cubicBezTo>
                          <a:pt x="362388" y="276494"/>
                          <a:pt x="361257" y="271001"/>
                          <a:pt x="359432" y="267534"/>
                        </a:cubicBezTo>
                        <a:cubicBezTo>
                          <a:pt x="362099" y="270238"/>
                          <a:pt x="366556" y="272328"/>
                          <a:pt x="369620" y="268982"/>
                        </a:cubicBezTo>
                        <a:cubicBezTo>
                          <a:pt x="369934" y="268539"/>
                          <a:pt x="370146" y="268077"/>
                          <a:pt x="370283" y="267606"/>
                        </a:cubicBezTo>
                        <a:cubicBezTo>
                          <a:pt x="370557" y="267863"/>
                          <a:pt x="370862" y="268065"/>
                          <a:pt x="370979" y="268148"/>
                        </a:cubicBezTo>
                        <a:cubicBezTo>
                          <a:pt x="372567" y="269256"/>
                          <a:pt x="379982" y="267471"/>
                          <a:pt x="377081" y="260450"/>
                        </a:cubicBezTo>
                        <a:cubicBezTo>
                          <a:pt x="377769" y="259728"/>
                          <a:pt x="378175" y="258754"/>
                          <a:pt x="378489" y="257900"/>
                        </a:cubicBezTo>
                        <a:cubicBezTo>
                          <a:pt x="396332" y="267075"/>
                          <a:pt x="410352" y="259499"/>
                          <a:pt x="426416" y="251841"/>
                        </a:cubicBezTo>
                        <a:cubicBezTo>
                          <a:pt x="426793" y="251901"/>
                          <a:pt x="427176" y="251827"/>
                          <a:pt x="427521" y="251656"/>
                        </a:cubicBezTo>
                        <a:cubicBezTo>
                          <a:pt x="434628" y="254411"/>
                          <a:pt x="450035" y="258400"/>
                          <a:pt x="449227" y="258080"/>
                        </a:cubicBezTo>
                        <a:cubicBezTo>
                          <a:pt x="469989" y="261909"/>
                          <a:pt x="489836" y="266306"/>
                          <a:pt x="509826" y="272380"/>
                        </a:cubicBezTo>
                        <a:cubicBezTo>
                          <a:pt x="530388" y="277705"/>
                          <a:pt x="552163" y="280189"/>
                          <a:pt x="570708" y="291368"/>
                        </a:cubicBezTo>
                        <a:cubicBezTo>
                          <a:pt x="573692" y="293092"/>
                          <a:pt x="576453" y="294934"/>
                          <a:pt x="579003" y="296887"/>
                        </a:cubicBezTo>
                        <a:close/>
                        <a:moveTo>
                          <a:pt x="598351" y="569867"/>
                        </a:moveTo>
                        <a:cubicBezTo>
                          <a:pt x="597083" y="567126"/>
                          <a:pt x="594944" y="563374"/>
                          <a:pt x="592283" y="561584"/>
                        </a:cubicBezTo>
                        <a:cubicBezTo>
                          <a:pt x="593223" y="559397"/>
                          <a:pt x="593163" y="557001"/>
                          <a:pt x="593602" y="554691"/>
                        </a:cubicBezTo>
                        <a:cubicBezTo>
                          <a:pt x="595293" y="553472"/>
                          <a:pt x="596926" y="552173"/>
                          <a:pt x="598465" y="550782"/>
                        </a:cubicBezTo>
                        <a:cubicBezTo>
                          <a:pt x="598219" y="557141"/>
                          <a:pt x="598174" y="563506"/>
                          <a:pt x="598351" y="569867"/>
                        </a:cubicBezTo>
                        <a:close/>
                        <a:moveTo>
                          <a:pt x="588289" y="560659"/>
                        </a:moveTo>
                        <a:cubicBezTo>
                          <a:pt x="582658" y="562695"/>
                          <a:pt x="579654" y="570578"/>
                          <a:pt x="579348" y="576172"/>
                        </a:cubicBezTo>
                        <a:cubicBezTo>
                          <a:pt x="576008" y="576612"/>
                          <a:pt x="572944" y="577905"/>
                          <a:pt x="569992" y="579590"/>
                        </a:cubicBezTo>
                        <a:cubicBezTo>
                          <a:pt x="566868" y="579832"/>
                          <a:pt x="563573" y="581143"/>
                          <a:pt x="560666" y="581803"/>
                        </a:cubicBezTo>
                        <a:cubicBezTo>
                          <a:pt x="550133" y="584321"/>
                          <a:pt x="539174" y="584230"/>
                          <a:pt x="528489" y="583170"/>
                        </a:cubicBezTo>
                        <a:cubicBezTo>
                          <a:pt x="527889" y="580495"/>
                          <a:pt x="525371" y="578722"/>
                          <a:pt x="525731" y="575558"/>
                        </a:cubicBezTo>
                        <a:cubicBezTo>
                          <a:pt x="525745" y="570627"/>
                          <a:pt x="526142" y="565710"/>
                          <a:pt x="525925" y="560770"/>
                        </a:cubicBezTo>
                        <a:cubicBezTo>
                          <a:pt x="537009" y="563685"/>
                          <a:pt x="548591" y="564722"/>
                          <a:pt x="560046" y="564088"/>
                        </a:cubicBezTo>
                        <a:cubicBezTo>
                          <a:pt x="569732" y="563192"/>
                          <a:pt x="579585" y="563597"/>
                          <a:pt x="588309" y="558160"/>
                        </a:cubicBezTo>
                        <a:cubicBezTo>
                          <a:pt x="588223" y="558988"/>
                          <a:pt x="588171" y="559854"/>
                          <a:pt x="588289" y="560659"/>
                        </a:cubicBezTo>
                        <a:close/>
                        <a:moveTo>
                          <a:pt x="527887" y="586457"/>
                        </a:moveTo>
                        <a:cubicBezTo>
                          <a:pt x="538351" y="588847"/>
                          <a:pt x="549216" y="588344"/>
                          <a:pt x="559658" y="586431"/>
                        </a:cubicBezTo>
                        <a:cubicBezTo>
                          <a:pt x="553353" y="590603"/>
                          <a:pt x="547586" y="595534"/>
                          <a:pt x="541695" y="600260"/>
                        </a:cubicBezTo>
                        <a:cubicBezTo>
                          <a:pt x="537086" y="603855"/>
                          <a:pt x="530331" y="610093"/>
                          <a:pt x="524417" y="605965"/>
                        </a:cubicBezTo>
                        <a:cubicBezTo>
                          <a:pt x="528186" y="601876"/>
                          <a:pt x="528172" y="591845"/>
                          <a:pt x="527887" y="586457"/>
                        </a:cubicBezTo>
                        <a:close/>
                        <a:moveTo>
                          <a:pt x="451752" y="357586"/>
                        </a:moveTo>
                        <a:cubicBezTo>
                          <a:pt x="458096" y="356010"/>
                          <a:pt x="462222" y="358768"/>
                          <a:pt x="467779" y="361364"/>
                        </a:cubicBezTo>
                        <a:cubicBezTo>
                          <a:pt x="473355" y="364051"/>
                          <a:pt x="478803" y="366995"/>
                          <a:pt x="484297" y="369844"/>
                        </a:cubicBezTo>
                        <a:cubicBezTo>
                          <a:pt x="469266" y="369216"/>
                          <a:pt x="454042" y="370752"/>
                          <a:pt x="439862" y="375915"/>
                        </a:cubicBezTo>
                        <a:cubicBezTo>
                          <a:pt x="439579" y="370441"/>
                          <a:pt x="439231" y="364953"/>
                          <a:pt x="438714" y="359485"/>
                        </a:cubicBezTo>
                        <a:cubicBezTo>
                          <a:pt x="443037" y="358708"/>
                          <a:pt x="447389" y="358097"/>
                          <a:pt x="451752" y="357586"/>
                        </a:cubicBezTo>
                        <a:close/>
                        <a:moveTo>
                          <a:pt x="438488" y="357232"/>
                        </a:moveTo>
                        <a:cubicBezTo>
                          <a:pt x="438297" y="355382"/>
                          <a:pt x="438080" y="353535"/>
                          <a:pt x="437840" y="351693"/>
                        </a:cubicBezTo>
                        <a:cubicBezTo>
                          <a:pt x="442349" y="352667"/>
                          <a:pt x="446880" y="353449"/>
                          <a:pt x="451312" y="354748"/>
                        </a:cubicBezTo>
                        <a:cubicBezTo>
                          <a:pt x="446989" y="355336"/>
                          <a:pt x="442726" y="356204"/>
                          <a:pt x="438488" y="357232"/>
                        </a:cubicBezTo>
                        <a:close/>
                        <a:moveTo>
                          <a:pt x="469806" y="652932"/>
                        </a:moveTo>
                        <a:cubicBezTo>
                          <a:pt x="464221" y="653632"/>
                          <a:pt x="458587" y="654057"/>
                          <a:pt x="453139" y="655628"/>
                        </a:cubicBezTo>
                        <a:cubicBezTo>
                          <a:pt x="451580" y="655948"/>
                          <a:pt x="449841" y="655988"/>
                          <a:pt x="448285" y="656430"/>
                        </a:cubicBezTo>
                        <a:cubicBezTo>
                          <a:pt x="446620" y="651145"/>
                          <a:pt x="446238" y="643618"/>
                          <a:pt x="452968" y="642119"/>
                        </a:cubicBezTo>
                        <a:cubicBezTo>
                          <a:pt x="458187" y="642422"/>
                          <a:pt x="463393" y="642376"/>
                          <a:pt x="468638" y="642296"/>
                        </a:cubicBezTo>
                        <a:cubicBezTo>
                          <a:pt x="466174" y="645326"/>
                          <a:pt x="466973" y="650197"/>
                          <a:pt x="469806" y="652932"/>
                        </a:cubicBezTo>
                        <a:close/>
                        <a:moveTo>
                          <a:pt x="470460" y="642416"/>
                        </a:moveTo>
                        <a:cubicBezTo>
                          <a:pt x="472590" y="642319"/>
                          <a:pt x="474589" y="642382"/>
                          <a:pt x="475205" y="644912"/>
                        </a:cubicBezTo>
                        <a:cubicBezTo>
                          <a:pt x="475665" y="646548"/>
                          <a:pt x="475928" y="649906"/>
                          <a:pt x="474857" y="651388"/>
                        </a:cubicBezTo>
                        <a:cubicBezTo>
                          <a:pt x="472099" y="654654"/>
                          <a:pt x="467287" y="645668"/>
                          <a:pt x="470460" y="642416"/>
                        </a:cubicBezTo>
                        <a:close/>
                        <a:moveTo>
                          <a:pt x="472119" y="639703"/>
                        </a:moveTo>
                        <a:cubicBezTo>
                          <a:pt x="469292" y="638441"/>
                          <a:pt x="465637" y="639469"/>
                          <a:pt x="462565" y="639372"/>
                        </a:cubicBezTo>
                        <a:cubicBezTo>
                          <a:pt x="460754" y="639432"/>
                          <a:pt x="458950" y="639546"/>
                          <a:pt x="457145" y="639678"/>
                        </a:cubicBezTo>
                        <a:cubicBezTo>
                          <a:pt x="454147" y="634318"/>
                          <a:pt x="439845" y="640012"/>
                          <a:pt x="434240" y="639835"/>
                        </a:cubicBezTo>
                        <a:cubicBezTo>
                          <a:pt x="444191" y="636757"/>
                          <a:pt x="451726" y="628128"/>
                          <a:pt x="461957" y="625552"/>
                        </a:cubicBezTo>
                        <a:cubicBezTo>
                          <a:pt x="469912" y="623682"/>
                          <a:pt x="481567" y="624302"/>
                          <a:pt x="486513" y="631500"/>
                        </a:cubicBezTo>
                        <a:cubicBezTo>
                          <a:pt x="487466" y="634121"/>
                          <a:pt x="486281" y="636186"/>
                          <a:pt x="485490" y="638624"/>
                        </a:cubicBezTo>
                        <a:cubicBezTo>
                          <a:pt x="482669" y="639709"/>
                          <a:pt x="479908" y="640937"/>
                          <a:pt x="477218" y="642387"/>
                        </a:cubicBezTo>
                        <a:cubicBezTo>
                          <a:pt x="476199" y="640797"/>
                          <a:pt x="473998" y="639429"/>
                          <a:pt x="472119" y="639703"/>
                        </a:cubicBezTo>
                        <a:close/>
                        <a:moveTo>
                          <a:pt x="476876" y="619876"/>
                        </a:moveTo>
                        <a:cubicBezTo>
                          <a:pt x="455626" y="615287"/>
                          <a:pt x="446161" y="629481"/>
                          <a:pt x="429703" y="638050"/>
                        </a:cubicBezTo>
                        <a:cubicBezTo>
                          <a:pt x="428603" y="638527"/>
                          <a:pt x="428814" y="639772"/>
                          <a:pt x="429554" y="640406"/>
                        </a:cubicBezTo>
                        <a:cubicBezTo>
                          <a:pt x="425063" y="641197"/>
                          <a:pt x="420266" y="641248"/>
                          <a:pt x="415934" y="642633"/>
                        </a:cubicBezTo>
                        <a:cubicBezTo>
                          <a:pt x="411994" y="620850"/>
                          <a:pt x="407908" y="599095"/>
                          <a:pt x="403773" y="577348"/>
                        </a:cubicBezTo>
                        <a:cubicBezTo>
                          <a:pt x="414041" y="580055"/>
                          <a:pt x="425445" y="578142"/>
                          <a:pt x="433988" y="571575"/>
                        </a:cubicBezTo>
                        <a:cubicBezTo>
                          <a:pt x="434548" y="572597"/>
                          <a:pt x="435739" y="572960"/>
                          <a:pt x="436841" y="572740"/>
                        </a:cubicBezTo>
                        <a:cubicBezTo>
                          <a:pt x="439505" y="578248"/>
                          <a:pt x="442760" y="583165"/>
                          <a:pt x="446106" y="588210"/>
                        </a:cubicBezTo>
                        <a:cubicBezTo>
                          <a:pt x="452243" y="596502"/>
                          <a:pt x="457271" y="607030"/>
                          <a:pt x="466982" y="611615"/>
                        </a:cubicBezTo>
                        <a:cubicBezTo>
                          <a:pt x="472990" y="614068"/>
                          <a:pt x="480465" y="615436"/>
                          <a:pt x="483414" y="621975"/>
                        </a:cubicBezTo>
                        <a:cubicBezTo>
                          <a:pt x="481319" y="621015"/>
                          <a:pt x="479080" y="620338"/>
                          <a:pt x="476876" y="619876"/>
                        </a:cubicBezTo>
                        <a:close/>
                        <a:moveTo>
                          <a:pt x="403153" y="574096"/>
                        </a:moveTo>
                        <a:cubicBezTo>
                          <a:pt x="402628" y="571338"/>
                          <a:pt x="402100" y="568580"/>
                          <a:pt x="401574" y="565821"/>
                        </a:cubicBezTo>
                        <a:cubicBezTo>
                          <a:pt x="407762" y="566575"/>
                          <a:pt x="411819" y="565836"/>
                          <a:pt x="417484" y="566310"/>
                        </a:cubicBezTo>
                        <a:cubicBezTo>
                          <a:pt x="423746" y="564708"/>
                          <a:pt x="429137" y="561692"/>
                          <a:pt x="434322" y="557878"/>
                        </a:cubicBezTo>
                        <a:cubicBezTo>
                          <a:pt x="434437" y="560665"/>
                          <a:pt x="434400" y="563337"/>
                          <a:pt x="433857" y="566118"/>
                        </a:cubicBezTo>
                        <a:cubicBezTo>
                          <a:pt x="422656" y="573231"/>
                          <a:pt x="416922" y="575775"/>
                          <a:pt x="403153" y="574096"/>
                        </a:cubicBezTo>
                        <a:close/>
                        <a:moveTo>
                          <a:pt x="328540" y="407589"/>
                        </a:moveTo>
                        <a:cubicBezTo>
                          <a:pt x="328403" y="403620"/>
                          <a:pt x="328286" y="399651"/>
                          <a:pt x="328138" y="395682"/>
                        </a:cubicBezTo>
                        <a:cubicBezTo>
                          <a:pt x="332378" y="395257"/>
                          <a:pt x="336821" y="395060"/>
                          <a:pt x="340781" y="393218"/>
                        </a:cubicBezTo>
                        <a:cubicBezTo>
                          <a:pt x="341421" y="399765"/>
                          <a:pt x="341704" y="406333"/>
                          <a:pt x="342355" y="412872"/>
                        </a:cubicBezTo>
                        <a:cubicBezTo>
                          <a:pt x="337783" y="411644"/>
                          <a:pt x="333118" y="410530"/>
                          <a:pt x="328406" y="410656"/>
                        </a:cubicBezTo>
                        <a:cubicBezTo>
                          <a:pt x="328663" y="409642"/>
                          <a:pt x="328569" y="408394"/>
                          <a:pt x="328540" y="407589"/>
                        </a:cubicBezTo>
                        <a:close/>
                        <a:moveTo>
                          <a:pt x="569677" y="251276"/>
                        </a:moveTo>
                        <a:cubicBezTo>
                          <a:pt x="571416" y="251521"/>
                          <a:pt x="573152" y="251767"/>
                          <a:pt x="574891" y="252013"/>
                        </a:cubicBezTo>
                        <a:cubicBezTo>
                          <a:pt x="574920" y="252201"/>
                          <a:pt x="574946" y="252392"/>
                          <a:pt x="574971" y="252581"/>
                        </a:cubicBezTo>
                        <a:cubicBezTo>
                          <a:pt x="576476" y="263731"/>
                          <a:pt x="577335" y="276412"/>
                          <a:pt x="577818" y="288113"/>
                        </a:cubicBezTo>
                        <a:cubicBezTo>
                          <a:pt x="575020" y="286245"/>
                          <a:pt x="572122" y="284572"/>
                          <a:pt x="569143" y="283062"/>
                        </a:cubicBezTo>
                        <a:cubicBezTo>
                          <a:pt x="568629" y="278656"/>
                          <a:pt x="568113" y="274239"/>
                          <a:pt x="567350" y="269873"/>
                        </a:cubicBezTo>
                        <a:cubicBezTo>
                          <a:pt x="565666" y="263403"/>
                          <a:pt x="563938" y="256924"/>
                          <a:pt x="563630" y="250125"/>
                        </a:cubicBezTo>
                        <a:cubicBezTo>
                          <a:pt x="565203" y="251179"/>
                          <a:pt x="567961" y="251033"/>
                          <a:pt x="569677" y="251276"/>
                        </a:cubicBezTo>
                        <a:close/>
                        <a:moveTo>
                          <a:pt x="559809" y="257518"/>
                        </a:moveTo>
                        <a:cubicBezTo>
                          <a:pt x="560729" y="265387"/>
                          <a:pt x="563887" y="272662"/>
                          <a:pt x="564144" y="280712"/>
                        </a:cubicBezTo>
                        <a:cubicBezTo>
                          <a:pt x="550652" y="274827"/>
                          <a:pt x="535822" y="271883"/>
                          <a:pt x="521305" y="269667"/>
                        </a:cubicBezTo>
                        <a:cubicBezTo>
                          <a:pt x="490022" y="260250"/>
                          <a:pt x="462071" y="253069"/>
                          <a:pt x="428689" y="249217"/>
                        </a:cubicBezTo>
                        <a:cubicBezTo>
                          <a:pt x="427898" y="247495"/>
                          <a:pt x="426890" y="245856"/>
                          <a:pt x="426062" y="244149"/>
                        </a:cubicBezTo>
                        <a:cubicBezTo>
                          <a:pt x="454718" y="249023"/>
                          <a:pt x="483449" y="253560"/>
                          <a:pt x="512328" y="256898"/>
                        </a:cubicBezTo>
                        <a:cubicBezTo>
                          <a:pt x="525539" y="257889"/>
                          <a:pt x="547797" y="262063"/>
                          <a:pt x="559809" y="257518"/>
                        </a:cubicBezTo>
                        <a:close/>
                        <a:moveTo>
                          <a:pt x="444713" y="218028"/>
                        </a:moveTo>
                        <a:cubicBezTo>
                          <a:pt x="470865" y="220064"/>
                          <a:pt x="514820" y="225675"/>
                          <a:pt x="535799" y="232773"/>
                        </a:cubicBezTo>
                        <a:cubicBezTo>
                          <a:pt x="550084" y="237330"/>
                          <a:pt x="558108" y="242656"/>
                          <a:pt x="558396" y="247767"/>
                        </a:cubicBezTo>
                        <a:lnTo>
                          <a:pt x="558504" y="247761"/>
                        </a:lnTo>
                        <a:cubicBezTo>
                          <a:pt x="558165" y="249743"/>
                          <a:pt x="557528" y="251293"/>
                          <a:pt x="557068" y="253583"/>
                        </a:cubicBezTo>
                        <a:cubicBezTo>
                          <a:pt x="543437" y="256367"/>
                          <a:pt x="529103" y="253554"/>
                          <a:pt x="515369" y="252469"/>
                        </a:cubicBezTo>
                        <a:cubicBezTo>
                          <a:pt x="484574" y="249026"/>
                          <a:pt x="453964" y="244106"/>
                          <a:pt x="423432" y="238861"/>
                        </a:cubicBezTo>
                        <a:cubicBezTo>
                          <a:pt x="422233" y="236365"/>
                          <a:pt x="421074" y="233850"/>
                          <a:pt x="419946" y="231311"/>
                        </a:cubicBezTo>
                        <a:cubicBezTo>
                          <a:pt x="458901" y="235694"/>
                          <a:pt x="497683" y="241585"/>
                          <a:pt x="536630" y="245996"/>
                        </a:cubicBezTo>
                        <a:cubicBezTo>
                          <a:pt x="537592" y="246051"/>
                          <a:pt x="536690" y="246011"/>
                          <a:pt x="537178" y="245959"/>
                        </a:cubicBezTo>
                        <a:cubicBezTo>
                          <a:pt x="537423" y="245934"/>
                          <a:pt x="537669" y="245916"/>
                          <a:pt x="537912" y="245896"/>
                        </a:cubicBezTo>
                        <a:cubicBezTo>
                          <a:pt x="540147" y="245537"/>
                          <a:pt x="539474" y="243030"/>
                          <a:pt x="537535" y="242747"/>
                        </a:cubicBezTo>
                        <a:cubicBezTo>
                          <a:pt x="498014" y="236311"/>
                          <a:pt x="457659" y="231608"/>
                          <a:pt x="417779" y="226320"/>
                        </a:cubicBezTo>
                        <a:cubicBezTo>
                          <a:pt x="416305" y="222857"/>
                          <a:pt x="414858" y="219350"/>
                          <a:pt x="413476" y="215838"/>
                        </a:cubicBezTo>
                        <a:cubicBezTo>
                          <a:pt x="418961" y="216132"/>
                          <a:pt x="429046" y="216735"/>
                          <a:pt x="441432" y="217754"/>
                        </a:cubicBezTo>
                        <a:cubicBezTo>
                          <a:pt x="442352" y="218488"/>
                          <a:pt x="443674" y="218619"/>
                          <a:pt x="444713" y="218028"/>
                        </a:cubicBezTo>
                        <a:close/>
                        <a:moveTo>
                          <a:pt x="438466" y="212329"/>
                        </a:moveTo>
                        <a:cubicBezTo>
                          <a:pt x="425622" y="211312"/>
                          <a:pt x="415669" y="210767"/>
                          <a:pt x="411428" y="210556"/>
                        </a:cubicBezTo>
                        <a:cubicBezTo>
                          <a:pt x="409318" y="204996"/>
                          <a:pt x="407325" y="199391"/>
                          <a:pt x="405401" y="193763"/>
                        </a:cubicBezTo>
                        <a:cubicBezTo>
                          <a:pt x="412291" y="191610"/>
                          <a:pt x="418958" y="188655"/>
                          <a:pt x="425597" y="185817"/>
                        </a:cubicBezTo>
                        <a:lnTo>
                          <a:pt x="438466" y="212329"/>
                        </a:lnTo>
                        <a:close/>
                        <a:moveTo>
                          <a:pt x="305909" y="79267"/>
                        </a:moveTo>
                        <a:cubicBezTo>
                          <a:pt x="310894" y="65278"/>
                          <a:pt x="312633" y="46202"/>
                          <a:pt x="302677" y="34049"/>
                        </a:cubicBezTo>
                        <a:cubicBezTo>
                          <a:pt x="303136" y="32956"/>
                          <a:pt x="303884" y="32031"/>
                          <a:pt x="304524" y="30951"/>
                        </a:cubicBezTo>
                        <a:cubicBezTo>
                          <a:pt x="321839" y="45808"/>
                          <a:pt x="321730" y="73365"/>
                          <a:pt x="315640" y="93669"/>
                        </a:cubicBezTo>
                        <a:cubicBezTo>
                          <a:pt x="314529" y="89529"/>
                          <a:pt x="314989" y="84438"/>
                          <a:pt x="311471" y="81448"/>
                        </a:cubicBezTo>
                        <a:cubicBezTo>
                          <a:pt x="308804" y="79361"/>
                          <a:pt x="306232" y="80820"/>
                          <a:pt x="304524" y="83033"/>
                        </a:cubicBezTo>
                        <a:cubicBezTo>
                          <a:pt x="304890" y="81762"/>
                          <a:pt x="305361" y="80512"/>
                          <a:pt x="305909" y="79267"/>
                        </a:cubicBezTo>
                        <a:close/>
                        <a:moveTo>
                          <a:pt x="221059" y="47744"/>
                        </a:moveTo>
                        <a:cubicBezTo>
                          <a:pt x="221602" y="38221"/>
                          <a:pt x="223655" y="26728"/>
                          <a:pt x="232966" y="21948"/>
                        </a:cubicBezTo>
                        <a:cubicBezTo>
                          <a:pt x="232769" y="24373"/>
                          <a:pt x="232486" y="26785"/>
                          <a:pt x="232072" y="29181"/>
                        </a:cubicBezTo>
                        <a:cubicBezTo>
                          <a:pt x="231578" y="28170"/>
                          <a:pt x="230191" y="24016"/>
                          <a:pt x="229100" y="26426"/>
                        </a:cubicBezTo>
                        <a:cubicBezTo>
                          <a:pt x="234083" y="56184"/>
                          <a:pt x="282349" y="66632"/>
                          <a:pt x="298651" y="90248"/>
                        </a:cubicBezTo>
                        <a:cubicBezTo>
                          <a:pt x="282072" y="81645"/>
                          <a:pt x="272661" y="77205"/>
                          <a:pt x="265360" y="99197"/>
                        </a:cubicBezTo>
                        <a:cubicBezTo>
                          <a:pt x="253984" y="82488"/>
                          <a:pt x="235190" y="72976"/>
                          <a:pt x="223406" y="56590"/>
                        </a:cubicBezTo>
                        <a:cubicBezTo>
                          <a:pt x="220545" y="53980"/>
                          <a:pt x="220354" y="51387"/>
                          <a:pt x="221059" y="47744"/>
                        </a:cubicBezTo>
                        <a:close/>
                        <a:moveTo>
                          <a:pt x="279785" y="87958"/>
                        </a:moveTo>
                        <a:cubicBezTo>
                          <a:pt x="279585" y="87927"/>
                          <a:pt x="279428" y="87876"/>
                          <a:pt x="279785" y="87958"/>
                        </a:cubicBezTo>
                        <a:lnTo>
                          <a:pt x="279785" y="87958"/>
                        </a:lnTo>
                        <a:close/>
                        <a:moveTo>
                          <a:pt x="187329" y="69898"/>
                        </a:moveTo>
                        <a:cubicBezTo>
                          <a:pt x="195413" y="61735"/>
                          <a:pt x="204650" y="55239"/>
                          <a:pt x="214352" y="49166"/>
                        </a:cubicBezTo>
                        <a:cubicBezTo>
                          <a:pt x="213347" y="54479"/>
                          <a:pt x="216160" y="58757"/>
                          <a:pt x="219612" y="62474"/>
                        </a:cubicBezTo>
                        <a:cubicBezTo>
                          <a:pt x="232284" y="79235"/>
                          <a:pt x="251894" y="89121"/>
                          <a:pt x="264269" y="106181"/>
                        </a:cubicBezTo>
                        <a:cubicBezTo>
                          <a:pt x="265397" y="107680"/>
                          <a:pt x="268421" y="107940"/>
                          <a:pt x="268826" y="105584"/>
                        </a:cubicBezTo>
                        <a:cubicBezTo>
                          <a:pt x="270083" y="99288"/>
                          <a:pt x="272687" y="91805"/>
                          <a:pt x="278415" y="88275"/>
                        </a:cubicBezTo>
                        <a:cubicBezTo>
                          <a:pt x="281973" y="87447"/>
                          <a:pt x="288226" y="91525"/>
                          <a:pt x="291766" y="92884"/>
                        </a:cubicBezTo>
                        <a:cubicBezTo>
                          <a:pt x="293919" y="93949"/>
                          <a:pt x="296044" y="95088"/>
                          <a:pt x="297991" y="96496"/>
                        </a:cubicBezTo>
                        <a:cubicBezTo>
                          <a:pt x="299022" y="97307"/>
                          <a:pt x="300218" y="98335"/>
                          <a:pt x="301566" y="97747"/>
                        </a:cubicBezTo>
                        <a:cubicBezTo>
                          <a:pt x="313458" y="122314"/>
                          <a:pt x="320320" y="149331"/>
                          <a:pt x="329491" y="175189"/>
                        </a:cubicBezTo>
                        <a:cubicBezTo>
                          <a:pt x="331387" y="180532"/>
                          <a:pt x="335536" y="189532"/>
                          <a:pt x="335536" y="189532"/>
                        </a:cubicBezTo>
                        <a:cubicBezTo>
                          <a:pt x="341572" y="204437"/>
                          <a:pt x="348868" y="218713"/>
                          <a:pt x="358930" y="231623"/>
                        </a:cubicBezTo>
                        <a:cubicBezTo>
                          <a:pt x="360318" y="233170"/>
                          <a:pt x="362882" y="231169"/>
                          <a:pt x="361799" y="229410"/>
                        </a:cubicBezTo>
                        <a:cubicBezTo>
                          <a:pt x="348799" y="211701"/>
                          <a:pt x="340501" y="191816"/>
                          <a:pt x="333343" y="171389"/>
                        </a:cubicBezTo>
                        <a:cubicBezTo>
                          <a:pt x="331918" y="167323"/>
                          <a:pt x="329174" y="161061"/>
                          <a:pt x="329174" y="161061"/>
                        </a:cubicBezTo>
                        <a:cubicBezTo>
                          <a:pt x="321845" y="139203"/>
                          <a:pt x="315149" y="117032"/>
                          <a:pt x="304815" y="96490"/>
                        </a:cubicBezTo>
                        <a:cubicBezTo>
                          <a:pt x="305858" y="92970"/>
                          <a:pt x="305983" y="89095"/>
                          <a:pt x="308613" y="86128"/>
                        </a:cubicBezTo>
                        <a:cubicBezTo>
                          <a:pt x="310469" y="91602"/>
                          <a:pt x="309521" y="98118"/>
                          <a:pt x="314843" y="101810"/>
                        </a:cubicBezTo>
                        <a:cubicBezTo>
                          <a:pt x="316040" y="102669"/>
                          <a:pt x="318013" y="102047"/>
                          <a:pt x="318675" y="100805"/>
                        </a:cubicBezTo>
                        <a:cubicBezTo>
                          <a:pt x="326976" y="83561"/>
                          <a:pt x="326939" y="62386"/>
                          <a:pt x="320848" y="44426"/>
                        </a:cubicBezTo>
                        <a:cubicBezTo>
                          <a:pt x="324660" y="44380"/>
                          <a:pt x="328438" y="43983"/>
                          <a:pt x="332287" y="44323"/>
                        </a:cubicBezTo>
                        <a:cubicBezTo>
                          <a:pt x="354433" y="46927"/>
                          <a:pt x="366351" y="62937"/>
                          <a:pt x="375040" y="81671"/>
                        </a:cubicBezTo>
                        <a:cubicBezTo>
                          <a:pt x="378129" y="88335"/>
                          <a:pt x="384351" y="102215"/>
                          <a:pt x="384351" y="102215"/>
                        </a:cubicBezTo>
                        <a:cubicBezTo>
                          <a:pt x="396483" y="128282"/>
                          <a:pt x="410006" y="153694"/>
                          <a:pt x="422210" y="179732"/>
                        </a:cubicBezTo>
                        <a:cubicBezTo>
                          <a:pt x="416037" y="182633"/>
                          <a:pt x="409595" y="184926"/>
                          <a:pt x="403293" y="187499"/>
                        </a:cubicBezTo>
                        <a:cubicBezTo>
                          <a:pt x="393571" y="159565"/>
                          <a:pt x="386681" y="130523"/>
                          <a:pt x="378463" y="102215"/>
                        </a:cubicBezTo>
                        <a:cubicBezTo>
                          <a:pt x="378463" y="102215"/>
                          <a:pt x="378055" y="99408"/>
                          <a:pt x="377512" y="98009"/>
                        </a:cubicBezTo>
                        <a:cubicBezTo>
                          <a:pt x="376827" y="96247"/>
                          <a:pt x="376245" y="93332"/>
                          <a:pt x="374780" y="92024"/>
                        </a:cubicBezTo>
                        <a:cubicBezTo>
                          <a:pt x="372116" y="89652"/>
                          <a:pt x="368270" y="93112"/>
                          <a:pt x="370051" y="95691"/>
                        </a:cubicBezTo>
                        <a:cubicBezTo>
                          <a:pt x="370720" y="97218"/>
                          <a:pt x="371348" y="98760"/>
                          <a:pt x="371967" y="100308"/>
                        </a:cubicBezTo>
                        <a:lnTo>
                          <a:pt x="371907" y="100308"/>
                        </a:lnTo>
                        <a:cubicBezTo>
                          <a:pt x="382481" y="140220"/>
                          <a:pt x="392966" y="180326"/>
                          <a:pt x="408062" y="218808"/>
                        </a:cubicBezTo>
                        <a:cubicBezTo>
                          <a:pt x="412054" y="228901"/>
                          <a:pt x="416185" y="239386"/>
                          <a:pt x="422807" y="248098"/>
                        </a:cubicBezTo>
                        <a:cubicBezTo>
                          <a:pt x="404844" y="256941"/>
                          <a:pt x="398428" y="258608"/>
                          <a:pt x="378823" y="256575"/>
                        </a:cubicBezTo>
                        <a:cubicBezTo>
                          <a:pt x="379762" y="248580"/>
                          <a:pt x="372587" y="241953"/>
                          <a:pt x="366488" y="237836"/>
                        </a:cubicBezTo>
                        <a:cubicBezTo>
                          <a:pt x="361206" y="233347"/>
                          <a:pt x="353493" y="230398"/>
                          <a:pt x="345073" y="228933"/>
                        </a:cubicBezTo>
                        <a:cubicBezTo>
                          <a:pt x="341961" y="228390"/>
                          <a:pt x="335536" y="227474"/>
                          <a:pt x="335536" y="227474"/>
                        </a:cubicBezTo>
                        <a:cubicBezTo>
                          <a:pt x="324597" y="226808"/>
                          <a:pt x="313496" y="228707"/>
                          <a:pt x="303719" y="233281"/>
                        </a:cubicBezTo>
                        <a:cubicBezTo>
                          <a:pt x="274589" y="243378"/>
                          <a:pt x="244796" y="227551"/>
                          <a:pt x="215234" y="227682"/>
                        </a:cubicBezTo>
                        <a:cubicBezTo>
                          <a:pt x="217079" y="223956"/>
                          <a:pt x="217367" y="219639"/>
                          <a:pt x="218067" y="215587"/>
                        </a:cubicBezTo>
                        <a:cubicBezTo>
                          <a:pt x="220334" y="191827"/>
                          <a:pt x="220377" y="167683"/>
                          <a:pt x="219552" y="143832"/>
                        </a:cubicBezTo>
                        <a:cubicBezTo>
                          <a:pt x="219146" y="136391"/>
                          <a:pt x="218444" y="129821"/>
                          <a:pt x="217342" y="122662"/>
                        </a:cubicBezTo>
                        <a:cubicBezTo>
                          <a:pt x="216891" y="119747"/>
                          <a:pt x="212293" y="120521"/>
                          <a:pt x="212291" y="123345"/>
                        </a:cubicBezTo>
                        <a:cubicBezTo>
                          <a:pt x="211374" y="145665"/>
                          <a:pt x="210626" y="168002"/>
                          <a:pt x="210003" y="190340"/>
                        </a:cubicBezTo>
                        <a:cubicBezTo>
                          <a:pt x="209652" y="202364"/>
                          <a:pt x="208404" y="214502"/>
                          <a:pt x="210203" y="226463"/>
                        </a:cubicBezTo>
                        <a:cubicBezTo>
                          <a:pt x="189999" y="223616"/>
                          <a:pt x="170340" y="231023"/>
                          <a:pt x="151289" y="236742"/>
                        </a:cubicBezTo>
                        <a:cubicBezTo>
                          <a:pt x="148659" y="237736"/>
                          <a:pt x="145678" y="238156"/>
                          <a:pt x="143354" y="239723"/>
                        </a:cubicBezTo>
                        <a:cubicBezTo>
                          <a:pt x="142546" y="240551"/>
                          <a:pt x="143777" y="241770"/>
                          <a:pt x="144619" y="240988"/>
                        </a:cubicBezTo>
                        <a:cubicBezTo>
                          <a:pt x="165106" y="238801"/>
                          <a:pt x="185116" y="229478"/>
                          <a:pt x="206149" y="230794"/>
                        </a:cubicBezTo>
                        <a:cubicBezTo>
                          <a:pt x="213433" y="231654"/>
                          <a:pt x="220848" y="231371"/>
                          <a:pt x="228118" y="232553"/>
                        </a:cubicBezTo>
                        <a:cubicBezTo>
                          <a:pt x="247586" y="234863"/>
                          <a:pt x="266636" y="241611"/>
                          <a:pt x="286378" y="241334"/>
                        </a:cubicBezTo>
                        <a:cubicBezTo>
                          <a:pt x="293006" y="241288"/>
                          <a:pt x="299476" y="239817"/>
                          <a:pt x="305635" y="237567"/>
                        </a:cubicBezTo>
                        <a:cubicBezTo>
                          <a:pt x="312916" y="233781"/>
                          <a:pt x="320994" y="232091"/>
                          <a:pt x="329177" y="231994"/>
                        </a:cubicBezTo>
                        <a:cubicBezTo>
                          <a:pt x="329177" y="231994"/>
                          <a:pt x="341015" y="232890"/>
                          <a:pt x="346675" y="234261"/>
                        </a:cubicBezTo>
                        <a:cubicBezTo>
                          <a:pt x="352828" y="235646"/>
                          <a:pt x="359221" y="237385"/>
                          <a:pt x="363930" y="241836"/>
                        </a:cubicBezTo>
                        <a:cubicBezTo>
                          <a:pt x="368978" y="245262"/>
                          <a:pt x="374280" y="250234"/>
                          <a:pt x="375057" y="256515"/>
                        </a:cubicBezTo>
                        <a:cubicBezTo>
                          <a:pt x="370508" y="249814"/>
                          <a:pt x="364349" y="244106"/>
                          <a:pt x="357719" y="239629"/>
                        </a:cubicBezTo>
                        <a:cubicBezTo>
                          <a:pt x="356132" y="238727"/>
                          <a:pt x="354707" y="241165"/>
                          <a:pt x="356289" y="242076"/>
                        </a:cubicBezTo>
                        <a:cubicBezTo>
                          <a:pt x="362528" y="246308"/>
                          <a:pt x="372236" y="255216"/>
                          <a:pt x="374617" y="262403"/>
                        </a:cubicBezTo>
                        <a:cubicBezTo>
                          <a:pt x="375268" y="264936"/>
                          <a:pt x="373572" y="265758"/>
                          <a:pt x="371468" y="266595"/>
                        </a:cubicBezTo>
                        <a:cubicBezTo>
                          <a:pt x="371145" y="266746"/>
                          <a:pt x="370754" y="266809"/>
                          <a:pt x="370437" y="266855"/>
                        </a:cubicBezTo>
                        <a:cubicBezTo>
                          <a:pt x="370988" y="261661"/>
                          <a:pt x="362536" y="255276"/>
                          <a:pt x="359324" y="252435"/>
                        </a:cubicBezTo>
                        <a:cubicBezTo>
                          <a:pt x="356306" y="249982"/>
                          <a:pt x="353162" y="247513"/>
                          <a:pt x="349767" y="245594"/>
                        </a:cubicBezTo>
                        <a:cubicBezTo>
                          <a:pt x="348177" y="244697"/>
                          <a:pt x="346752" y="247136"/>
                          <a:pt x="348337" y="248041"/>
                        </a:cubicBezTo>
                        <a:cubicBezTo>
                          <a:pt x="353094" y="250719"/>
                          <a:pt x="367059" y="261058"/>
                          <a:pt x="367579" y="266412"/>
                        </a:cubicBezTo>
                        <a:cubicBezTo>
                          <a:pt x="367510" y="267640"/>
                          <a:pt x="365763" y="267880"/>
                          <a:pt x="364709" y="267608"/>
                        </a:cubicBezTo>
                        <a:cubicBezTo>
                          <a:pt x="363615" y="267329"/>
                          <a:pt x="362776" y="266483"/>
                          <a:pt x="361919" y="265801"/>
                        </a:cubicBezTo>
                        <a:cubicBezTo>
                          <a:pt x="359649" y="264014"/>
                          <a:pt x="356825" y="261698"/>
                          <a:pt x="354484" y="260473"/>
                        </a:cubicBezTo>
                        <a:cubicBezTo>
                          <a:pt x="354247" y="260282"/>
                          <a:pt x="353984" y="260227"/>
                          <a:pt x="353739" y="260262"/>
                        </a:cubicBezTo>
                        <a:cubicBezTo>
                          <a:pt x="350215" y="256955"/>
                          <a:pt x="345907" y="254380"/>
                          <a:pt x="341338" y="253029"/>
                        </a:cubicBezTo>
                        <a:cubicBezTo>
                          <a:pt x="339199" y="252395"/>
                          <a:pt x="338369" y="255607"/>
                          <a:pt x="340427" y="256336"/>
                        </a:cubicBezTo>
                        <a:cubicBezTo>
                          <a:pt x="348396" y="259508"/>
                          <a:pt x="358133" y="267574"/>
                          <a:pt x="356948" y="277023"/>
                        </a:cubicBezTo>
                        <a:cubicBezTo>
                          <a:pt x="351974" y="271812"/>
                          <a:pt x="345944" y="267700"/>
                          <a:pt x="339756" y="264062"/>
                        </a:cubicBezTo>
                        <a:cubicBezTo>
                          <a:pt x="338440" y="263317"/>
                          <a:pt x="337589" y="262243"/>
                          <a:pt x="335999" y="261866"/>
                        </a:cubicBezTo>
                        <a:lnTo>
                          <a:pt x="335542" y="261781"/>
                        </a:lnTo>
                        <a:cubicBezTo>
                          <a:pt x="334137" y="261578"/>
                          <a:pt x="332789" y="261704"/>
                          <a:pt x="331601" y="262335"/>
                        </a:cubicBezTo>
                        <a:cubicBezTo>
                          <a:pt x="325802" y="262769"/>
                          <a:pt x="320003" y="263003"/>
                          <a:pt x="314189" y="262712"/>
                        </a:cubicBezTo>
                        <a:cubicBezTo>
                          <a:pt x="312485" y="262629"/>
                          <a:pt x="310646" y="262620"/>
                          <a:pt x="309001" y="262101"/>
                        </a:cubicBezTo>
                        <a:cubicBezTo>
                          <a:pt x="308327" y="261886"/>
                          <a:pt x="307771" y="262046"/>
                          <a:pt x="307374" y="262395"/>
                        </a:cubicBezTo>
                        <a:cubicBezTo>
                          <a:pt x="298191" y="263014"/>
                          <a:pt x="289028" y="264176"/>
                          <a:pt x="279825" y="264667"/>
                        </a:cubicBezTo>
                        <a:cubicBezTo>
                          <a:pt x="276230" y="265161"/>
                          <a:pt x="272261" y="264699"/>
                          <a:pt x="268744" y="264836"/>
                        </a:cubicBezTo>
                        <a:cubicBezTo>
                          <a:pt x="264906" y="265176"/>
                          <a:pt x="261080" y="265644"/>
                          <a:pt x="257248" y="266052"/>
                        </a:cubicBezTo>
                        <a:cubicBezTo>
                          <a:pt x="222707" y="268556"/>
                          <a:pt x="170234" y="278173"/>
                          <a:pt x="139990" y="259111"/>
                        </a:cubicBezTo>
                        <a:cubicBezTo>
                          <a:pt x="141364" y="256321"/>
                          <a:pt x="141033" y="252238"/>
                          <a:pt x="141004" y="249457"/>
                        </a:cubicBezTo>
                        <a:cubicBezTo>
                          <a:pt x="141432" y="215141"/>
                          <a:pt x="141389" y="180632"/>
                          <a:pt x="146061" y="146573"/>
                        </a:cubicBezTo>
                        <a:cubicBezTo>
                          <a:pt x="150829" y="117543"/>
                          <a:pt x="167539" y="91179"/>
                          <a:pt x="187329" y="69898"/>
                        </a:cubicBezTo>
                        <a:close/>
                        <a:moveTo>
                          <a:pt x="137952" y="266409"/>
                        </a:moveTo>
                        <a:cubicBezTo>
                          <a:pt x="137786" y="264656"/>
                          <a:pt x="137358" y="262883"/>
                          <a:pt x="137549" y="261127"/>
                        </a:cubicBezTo>
                        <a:cubicBezTo>
                          <a:pt x="165243" y="284549"/>
                          <a:pt x="218615" y="274010"/>
                          <a:pt x="252582" y="271903"/>
                        </a:cubicBezTo>
                        <a:cubicBezTo>
                          <a:pt x="259404" y="271023"/>
                          <a:pt x="266228" y="271021"/>
                          <a:pt x="272918" y="269193"/>
                        </a:cubicBezTo>
                        <a:cubicBezTo>
                          <a:pt x="275788" y="269844"/>
                          <a:pt x="278732" y="270321"/>
                          <a:pt x="281673" y="270741"/>
                        </a:cubicBezTo>
                        <a:cubicBezTo>
                          <a:pt x="277738" y="290237"/>
                          <a:pt x="256563" y="285937"/>
                          <a:pt x="241801" y="283501"/>
                        </a:cubicBezTo>
                        <a:cubicBezTo>
                          <a:pt x="214509" y="280518"/>
                          <a:pt x="186809" y="281314"/>
                          <a:pt x="159727" y="276346"/>
                        </a:cubicBezTo>
                        <a:cubicBezTo>
                          <a:pt x="152514" y="275027"/>
                          <a:pt x="145407" y="273037"/>
                          <a:pt x="138120" y="272211"/>
                        </a:cubicBezTo>
                        <a:cubicBezTo>
                          <a:pt x="138334" y="270278"/>
                          <a:pt x="138129" y="268379"/>
                          <a:pt x="137952" y="266409"/>
                        </a:cubicBezTo>
                        <a:close/>
                        <a:moveTo>
                          <a:pt x="240464" y="289900"/>
                        </a:moveTo>
                        <a:cubicBezTo>
                          <a:pt x="255749" y="292250"/>
                          <a:pt x="277995" y="295945"/>
                          <a:pt x="285230" y="278070"/>
                        </a:cubicBezTo>
                        <a:cubicBezTo>
                          <a:pt x="292417" y="279224"/>
                          <a:pt x="299382" y="280580"/>
                          <a:pt x="306608" y="281220"/>
                        </a:cubicBezTo>
                        <a:cubicBezTo>
                          <a:pt x="306149" y="309839"/>
                          <a:pt x="305364" y="338467"/>
                          <a:pt x="305466" y="367095"/>
                        </a:cubicBezTo>
                        <a:cubicBezTo>
                          <a:pt x="305475" y="371675"/>
                          <a:pt x="305352" y="376206"/>
                          <a:pt x="303765" y="380538"/>
                        </a:cubicBezTo>
                        <a:cubicBezTo>
                          <a:pt x="273349" y="375718"/>
                          <a:pt x="243074" y="369730"/>
                          <a:pt x="212528" y="365827"/>
                        </a:cubicBezTo>
                        <a:cubicBezTo>
                          <a:pt x="198491" y="332636"/>
                          <a:pt x="177872" y="300990"/>
                          <a:pt x="149893" y="281445"/>
                        </a:cubicBezTo>
                        <a:cubicBezTo>
                          <a:pt x="179605" y="288113"/>
                          <a:pt x="210272" y="287522"/>
                          <a:pt x="240464" y="289900"/>
                        </a:cubicBezTo>
                        <a:close/>
                        <a:moveTo>
                          <a:pt x="286344" y="274541"/>
                        </a:moveTo>
                        <a:cubicBezTo>
                          <a:pt x="286592" y="273528"/>
                          <a:pt x="286787" y="272500"/>
                          <a:pt x="286944" y="271466"/>
                        </a:cubicBezTo>
                        <a:cubicBezTo>
                          <a:pt x="293460" y="272397"/>
                          <a:pt x="300018" y="273268"/>
                          <a:pt x="306534" y="274147"/>
                        </a:cubicBezTo>
                        <a:cubicBezTo>
                          <a:pt x="306563" y="275238"/>
                          <a:pt x="306583" y="276297"/>
                          <a:pt x="306586" y="277374"/>
                        </a:cubicBezTo>
                        <a:cubicBezTo>
                          <a:pt x="299850" y="276129"/>
                          <a:pt x="293068" y="276000"/>
                          <a:pt x="286344" y="274541"/>
                        </a:cubicBezTo>
                        <a:close/>
                        <a:moveTo>
                          <a:pt x="306483" y="269896"/>
                        </a:moveTo>
                        <a:cubicBezTo>
                          <a:pt x="300735" y="269168"/>
                          <a:pt x="295001" y="268202"/>
                          <a:pt x="289242" y="267531"/>
                        </a:cubicBezTo>
                        <a:cubicBezTo>
                          <a:pt x="295090" y="267055"/>
                          <a:pt x="300961" y="266709"/>
                          <a:pt x="306766" y="265830"/>
                        </a:cubicBezTo>
                        <a:cubicBezTo>
                          <a:pt x="306580" y="267163"/>
                          <a:pt x="306503" y="268525"/>
                          <a:pt x="306483" y="269896"/>
                        </a:cubicBezTo>
                        <a:close/>
                        <a:moveTo>
                          <a:pt x="133175" y="88758"/>
                        </a:moveTo>
                        <a:cubicBezTo>
                          <a:pt x="132575" y="86325"/>
                          <a:pt x="131833" y="83927"/>
                          <a:pt x="130936" y="81591"/>
                        </a:cubicBezTo>
                        <a:cubicBezTo>
                          <a:pt x="142377" y="83493"/>
                          <a:pt x="153679" y="84292"/>
                          <a:pt x="165140" y="85837"/>
                        </a:cubicBezTo>
                        <a:cubicBezTo>
                          <a:pt x="152859" y="102940"/>
                          <a:pt x="142389" y="122123"/>
                          <a:pt x="138237" y="142932"/>
                        </a:cubicBezTo>
                        <a:cubicBezTo>
                          <a:pt x="137029" y="124875"/>
                          <a:pt x="137135" y="106484"/>
                          <a:pt x="133175" y="88758"/>
                        </a:cubicBezTo>
                        <a:close/>
                        <a:moveTo>
                          <a:pt x="7014" y="477659"/>
                        </a:moveTo>
                        <a:cubicBezTo>
                          <a:pt x="2223" y="420201"/>
                          <a:pt x="14132" y="368231"/>
                          <a:pt x="36153" y="336451"/>
                        </a:cubicBezTo>
                        <a:cubicBezTo>
                          <a:pt x="-5812" y="429570"/>
                          <a:pt x="18124" y="567212"/>
                          <a:pt x="96323" y="634644"/>
                        </a:cubicBezTo>
                        <a:cubicBezTo>
                          <a:pt x="52197" y="624696"/>
                          <a:pt x="13835" y="559462"/>
                          <a:pt x="7014" y="477659"/>
                        </a:cubicBezTo>
                        <a:close/>
                        <a:moveTo>
                          <a:pt x="49893" y="320498"/>
                        </a:moveTo>
                        <a:cubicBezTo>
                          <a:pt x="69797" y="301616"/>
                          <a:pt x="97226" y="298840"/>
                          <a:pt x="120251" y="313662"/>
                        </a:cubicBezTo>
                        <a:cubicBezTo>
                          <a:pt x="120468" y="323610"/>
                          <a:pt x="121048" y="333550"/>
                          <a:pt x="121779" y="343475"/>
                        </a:cubicBezTo>
                        <a:cubicBezTo>
                          <a:pt x="122273" y="346245"/>
                          <a:pt x="121365" y="350074"/>
                          <a:pt x="123224" y="352290"/>
                        </a:cubicBezTo>
                        <a:cubicBezTo>
                          <a:pt x="123132" y="353383"/>
                          <a:pt x="124183" y="353877"/>
                          <a:pt x="125083" y="354114"/>
                        </a:cubicBezTo>
                        <a:cubicBezTo>
                          <a:pt x="124571" y="360933"/>
                          <a:pt x="124275" y="368488"/>
                          <a:pt x="126405" y="375050"/>
                        </a:cubicBezTo>
                        <a:cubicBezTo>
                          <a:pt x="125856" y="398101"/>
                          <a:pt x="125280" y="421155"/>
                          <a:pt x="124791" y="444203"/>
                        </a:cubicBezTo>
                        <a:cubicBezTo>
                          <a:pt x="121134" y="446982"/>
                          <a:pt x="120488" y="451490"/>
                          <a:pt x="118918" y="455528"/>
                        </a:cubicBezTo>
                        <a:cubicBezTo>
                          <a:pt x="116665" y="451299"/>
                          <a:pt x="111317" y="451739"/>
                          <a:pt x="107205" y="452507"/>
                        </a:cubicBezTo>
                        <a:cubicBezTo>
                          <a:pt x="96461" y="436862"/>
                          <a:pt x="89117" y="455850"/>
                          <a:pt x="88785" y="466001"/>
                        </a:cubicBezTo>
                        <a:cubicBezTo>
                          <a:pt x="88905" y="468651"/>
                          <a:pt x="89919" y="472548"/>
                          <a:pt x="91906" y="475232"/>
                        </a:cubicBezTo>
                        <a:cubicBezTo>
                          <a:pt x="92883" y="479564"/>
                          <a:pt x="96426" y="484475"/>
                          <a:pt x="100361" y="485437"/>
                        </a:cubicBezTo>
                        <a:cubicBezTo>
                          <a:pt x="105489" y="486437"/>
                          <a:pt x="108624" y="478819"/>
                          <a:pt x="110689" y="475152"/>
                        </a:cubicBezTo>
                        <a:cubicBezTo>
                          <a:pt x="113904" y="476612"/>
                          <a:pt x="118073" y="475184"/>
                          <a:pt x="120017" y="472297"/>
                        </a:cubicBezTo>
                        <a:cubicBezTo>
                          <a:pt x="122279" y="475058"/>
                          <a:pt x="124529" y="477762"/>
                          <a:pt x="127267" y="480129"/>
                        </a:cubicBezTo>
                        <a:cubicBezTo>
                          <a:pt x="127076" y="481420"/>
                          <a:pt x="127827" y="482988"/>
                          <a:pt x="129514" y="483173"/>
                        </a:cubicBezTo>
                        <a:cubicBezTo>
                          <a:pt x="134180" y="483681"/>
                          <a:pt x="139265" y="483293"/>
                          <a:pt x="141752" y="478687"/>
                        </a:cubicBezTo>
                        <a:cubicBezTo>
                          <a:pt x="143834" y="473967"/>
                          <a:pt x="144493" y="468528"/>
                          <a:pt x="144448" y="463400"/>
                        </a:cubicBezTo>
                        <a:lnTo>
                          <a:pt x="144482" y="463400"/>
                        </a:lnTo>
                        <a:lnTo>
                          <a:pt x="145141" y="445785"/>
                        </a:lnTo>
                        <a:cubicBezTo>
                          <a:pt x="167370" y="468160"/>
                          <a:pt x="138977" y="515638"/>
                          <a:pt x="122290" y="478428"/>
                        </a:cubicBezTo>
                        <a:cubicBezTo>
                          <a:pt x="121865" y="477180"/>
                          <a:pt x="120508" y="476514"/>
                          <a:pt x="119263" y="476940"/>
                        </a:cubicBezTo>
                        <a:cubicBezTo>
                          <a:pt x="118016" y="477365"/>
                          <a:pt x="117350" y="478722"/>
                          <a:pt x="117776" y="479969"/>
                        </a:cubicBezTo>
                        <a:cubicBezTo>
                          <a:pt x="121311" y="490317"/>
                          <a:pt x="128620" y="496745"/>
                          <a:pt x="136852" y="496745"/>
                        </a:cubicBezTo>
                        <a:cubicBezTo>
                          <a:pt x="142674" y="496745"/>
                          <a:pt x="148085" y="493541"/>
                          <a:pt x="152086" y="487725"/>
                        </a:cubicBezTo>
                        <a:cubicBezTo>
                          <a:pt x="163824" y="471523"/>
                          <a:pt x="156023" y="445974"/>
                          <a:pt x="145373" y="439601"/>
                        </a:cubicBezTo>
                        <a:lnTo>
                          <a:pt x="147614" y="379652"/>
                        </a:lnTo>
                        <a:cubicBezTo>
                          <a:pt x="155695" y="380837"/>
                          <a:pt x="163733" y="383282"/>
                          <a:pt x="171907" y="383356"/>
                        </a:cubicBezTo>
                        <a:cubicBezTo>
                          <a:pt x="198402" y="443926"/>
                          <a:pt x="197220" y="547992"/>
                          <a:pt x="165092" y="596919"/>
                        </a:cubicBezTo>
                        <a:cubicBezTo>
                          <a:pt x="164880" y="596348"/>
                          <a:pt x="164395" y="595880"/>
                          <a:pt x="163576" y="595708"/>
                        </a:cubicBezTo>
                        <a:cubicBezTo>
                          <a:pt x="151026" y="592899"/>
                          <a:pt x="138183" y="591185"/>
                          <a:pt x="125782" y="587808"/>
                        </a:cubicBezTo>
                        <a:cubicBezTo>
                          <a:pt x="117056" y="586100"/>
                          <a:pt x="103011" y="579110"/>
                          <a:pt x="97531" y="589601"/>
                        </a:cubicBezTo>
                        <a:cubicBezTo>
                          <a:pt x="95644" y="593827"/>
                          <a:pt x="96492" y="601485"/>
                          <a:pt x="101769" y="602618"/>
                        </a:cubicBezTo>
                        <a:cubicBezTo>
                          <a:pt x="105178" y="604520"/>
                          <a:pt x="109527" y="605119"/>
                          <a:pt x="113201" y="606267"/>
                        </a:cubicBezTo>
                        <a:cubicBezTo>
                          <a:pt x="119475" y="608220"/>
                          <a:pt x="125785" y="610085"/>
                          <a:pt x="132078" y="611947"/>
                        </a:cubicBezTo>
                        <a:cubicBezTo>
                          <a:pt x="137700" y="614245"/>
                          <a:pt x="143497" y="616592"/>
                          <a:pt x="149701" y="617021"/>
                        </a:cubicBezTo>
                        <a:cubicBezTo>
                          <a:pt x="136792" y="629921"/>
                          <a:pt x="121608" y="636914"/>
                          <a:pt x="104621" y="635852"/>
                        </a:cubicBezTo>
                        <a:lnTo>
                          <a:pt x="104644" y="635817"/>
                        </a:lnTo>
                        <a:cubicBezTo>
                          <a:pt x="18241" y="573982"/>
                          <a:pt x="-5707" y="401116"/>
                          <a:pt x="49901" y="320501"/>
                        </a:cubicBezTo>
                        <a:lnTo>
                          <a:pt x="49893" y="320498"/>
                        </a:lnTo>
                        <a:close/>
                        <a:moveTo>
                          <a:pt x="119769" y="294574"/>
                        </a:moveTo>
                        <a:cubicBezTo>
                          <a:pt x="119823" y="296859"/>
                          <a:pt x="119897" y="299143"/>
                          <a:pt x="119954" y="301427"/>
                        </a:cubicBezTo>
                        <a:cubicBezTo>
                          <a:pt x="103873" y="292784"/>
                          <a:pt x="85770" y="290931"/>
                          <a:pt x="69063" y="297333"/>
                        </a:cubicBezTo>
                        <a:cubicBezTo>
                          <a:pt x="83963" y="287111"/>
                          <a:pt x="102380" y="283561"/>
                          <a:pt x="119635" y="289084"/>
                        </a:cubicBezTo>
                        <a:cubicBezTo>
                          <a:pt x="119523" y="290905"/>
                          <a:pt x="119726" y="292830"/>
                          <a:pt x="119769" y="294574"/>
                        </a:cubicBezTo>
                        <a:close/>
                        <a:moveTo>
                          <a:pt x="158502" y="618151"/>
                        </a:moveTo>
                        <a:cubicBezTo>
                          <a:pt x="158641" y="618722"/>
                          <a:pt x="159070" y="619242"/>
                          <a:pt x="159795" y="619328"/>
                        </a:cubicBezTo>
                        <a:cubicBezTo>
                          <a:pt x="166505" y="620093"/>
                          <a:pt x="173198" y="621021"/>
                          <a:pt x="179922" y="621643"/>
                        </a:cubicBezTo>
                        <a:cubicBezTo>
                          <a:pt x="163453" y="640689"/>
                          <a:pt x="144739" y="647873"/>
                          <a:pt x="120631" y="641011"/>
                        </a:cubicBezTo>
                        <a:cubicBezTo>
                          <a:pt x="134682" y="638179"/>
                          <a:pt x="147483" y="630178"/>
                          <a:pt x="158502" y="618151"/>
                        </a:cubicBezTo>
                        <a:close/>
                        <a:moveTo>
                          <a:pt x="151891" y="613951"/>
                        </a:moveTo>
                        <a:cubicBezTo>
                          <a:pt x="146195" y="611041"/>
                          <a:pt x="139611" y="609974"/>
                          <a:pt x="133360" y="609163"/>
                        </a:cubicBezTo>
                        <a:cubicBezTo>
                          <a:pt x="123307" y="606853"/>
                          <a:pt x="113550" y="603583"/>
                          <a:pt x="103639" y="600748"/>
                        </a:cubicBezTo>
                        <a:cubicBezTo>
                          <a:pt x="103422" y="599460"/>
                          <a:pt x="102437" y="598532"/>
                          <a:pt x="101923" y="597356"/>
                        </a:cubicBezTo>
                        <a:cubicBezTo>
                          <a:pt x="100601" y="594415"/>
                          <a:pt x="101215" y="590137"/>
                          <a:pt x="104618" y="589010"/>
                        </a:cubicBezTo>
                        <a:cubicBezTo>
                          <a:pt x="110226" y="587536"/>
                          <a:pt x="115931" y="590626"/>
                          <a:pt x="121445" y="591442"/>
                        </a:cubicBezTo>
                        <a:cubicBezTo>
                          <a:pt x="135433" y="593695"/>
                          <a:pt x="149056" y="598172"/>
                          <a:pt x="163107" y="600123"/>
                        </a:cubicBezTo>
                        <a:cubicBezTo>
                          <a:pt x="159758" y="605348"/>
                          <a:pt x="156154" y="610088"/>
                          <a:pt x="152317" y="614279"/>
                        </a:cubicBezTo>
                        <a:cubicBezTo>
                          <a:pt x="152203" y="614154"/>
                          <a:pt x="152063" y="614040"/>
                          <a:pt x="151891" y="613951"/>
                        </a:cubicBezTo>
                        <a:close/>
                        <a:moveTo>
                          <a:pt x="178192" y="618839"/>
                        </a:moveTo>
                        <a:cubicBezTo>
                          <a:pt x="172127" y="617988"/>
                          <a:pt x="166037" y="617309"/>
                          <a:pt x="159961" y="616515"/>
                        </a:cubicBezTo>
                        <a:cubicBezTo>
                          <a:pt x="163998" y="611909"/>
                          <a:pt x="167787" y="606756"/>
                          <a:pt x="171299" y="601108"/>
                        </a:cubicBezTo>
                        <a:cubicBezTo>
                          <a:pt x="177364" y="603880"/>
                          <a:pt x="184337" y="603983"/>
                          <a:pt x="190764" y="605613"/>
                        </a:cubicBezTo>
                        <a:lnTo>
                          <a:pt x="181598" y="619365"/>
                        </a:lnTo>
                        <a:cubicBezTo>
                          <a:pt x="180476" y="619088"/>
                          <a:pt x="179254" y="619008"/>
                          <a:pt x="178192" y="618839"/>
                        </a:cubicBezTo>
                        <a:close/>
                        <a:moveTo>
                          <a:pt x="190427" y="601439"/>
                        </a:moveTo>
                        <a:cubicBezTo>
                          <a:pt x="184585" y="600708"/>
                          <a:pt x="178735" y="598618"/>
                          <a:pt x="172750" y="598721"/>
                        </a:cubicBezTo>
                        <a:cubicBezTo>
                          <a:pt x="204924" y="549060"/>
                          <a:pt x="207705" y="447407"/>
                          <a:pt x="182621" y="384898"/>
                        </a:cubicBezTo>
                        <a:cubicBezTo>
                          <a:pt x="185248" y="386382"/>
                          <a:pt x="188625" y="386402"/>
                          <a:pt x="191552" y="387088"/>
                        </a:cubicBezTo>
                        <a:cubicBezTo>
                          <a:pt x="194368" y="387487"/>
                          <a:pt x="197189" y="388321"/>
                          <a:pt x="200018" y="388487"/>
                        </a:cubicBezTo>
                        <a:cubicBezTo>
                          <a:pt x="223980" y="452512"/>
                          <a:pt x="225154" y="553877"/>
                          <a:pt x="193154" y="601936"/>
                        </a:cubicBezTo>
                        <a:cubicBezTo>
                          <a:pt x="192277" y="601719"/>
                          <a:pt x="191355" y="601604"/>
                          <a:pt x="190427" y="601439"/>
                        </a:cubicBezTo>
                        <a:close/>
                        <a:moveTo>
                          <a:pt x="197226" y="384943"/>
                        </a:moveTo>
                        <a:cubicBezTo>
                          <a:pt x="193517" y="384769"/>
                          <a:pt x="184888" y="381800"/>
                          <a:pt x="182141" y="383607"/>
                        </a:cubicBezTo>
                        <a:cubicBezTo>
                          <a:pt x="179269" y="375898"/>
                          <a:pt x="176093" y="368551"/>
                          <a:pt x="172653" y="361624"/>
                        </a:cubicBezTo>
                        <a:cubicBezTo>
                          <a:pt x="178472" y="363434"/>
                          <a:pt x="184697" y="363828"/>
                          <a:pt x="190641" y="365207"/>
                        </a:cubicBezTo>
                        <a:cubicBezTo>
                          <a:pt x="193565" y="371569"/>
                          <a:pt x="196301" y="378228"/>
                          <a:pt x="198825" y="385155"/>
                        </a:cubicBezTo>
                        <a:cubicBezTo>
                          <a:pt x="198285" y="385078"/>
                          <a:pt x="197740" y="385026"/>
                          <a:pt x="197226" y="384943"/>
                        </a:cubicBezTo>
                        <a:close/>
                        <a:moveTo>
                          <a:pt x="181667" y="360099"/>
                        </a:moveTo>
                        <a:cubicBezTo>
                          <a:pt x="178706" y="359602"/>
                          <a:pt x="174209" y="357509"/>
                          <a:pt x="171545" y="359425"/>
                        </a:cubicBezTo>
                        <a:cubicBezTo>
                          <a:pt x="158362" y="333650"/>
                          <a:pt x="141452" y="313894"/>
                          <a:pt x="122761" y="302992"/>
                        </a:cubicBezTo>
                        <a:cubicBezTo>
                          <a:pt x="122456" y="298612"/>
                          <a:pt x="122330" y="294355"/>
                          <a:pt x="122204" y="289937"/>
                        </a:cubicBezTo>
                        <a:cubicBezTo>
                          <a:pt x="147600" y="298972"/>
                          <a:pt x="171442" y="325092"/>
                          <a:pt x="188962" y="361632"/>
                        </a:cubicBezTo>
                        <a:cubicBezTo>
                          <a:pt x="186518" y="361190"/>
                          <a:pt x="184120" y="360619"/>
                          <a:pt x="181667" y="360099"/>
                        </a:cubicBezTo>
                        <a:close/>
                        <a:moveTo>
                          <a:pt x="121730" y="464254"/>
                        </a:moveTo>
                        <a:cubicBezTo>
                          <a:pt x="121499" y="462423"/>
                          <a:pt x="121017" y="460170"/>
                          <a:pt x="120208" y="458115"/>
                        </a:cubicBezTo>
                        <a:cubicBezTo>
                          <a:pt x="121670" y="456875"/>
                          <a:pt x="122316" y="454985"/>
                          <a:pt x="122952" y="453126"/>
                        </a:cubicBezTo>
                        <a:cubicBezTo>
                          <a:pt x="123695" y="450556"/>
                          <a:pt x="125205" y="448346"/>
                          <a:pt x="126736" y="446208"/>
                        </a:cubicBezTo>
                        <a:cubicBezTo>
                          <a:pt x="139334" y="448144"/>
                          <a:pt x="141749" y="464722"/>
                          <a:pt x="138171" y="474870"/>
                        </a:cubicBezTo>
                        <a:cubicBezTo>
                          <a:pt x="137021" y="478704"/>
                          <a:pt x="133774" y="478813"/>
                          <a:pt x="130419" y="478496"/>
                        </a:cubicBezTo>
                        <a:cubicBezTo>
                          <a:pt x="127844" y="475270"/>
                          <a:pt x="124046" y="473025"/>
                          <a:pt x="121162" y="470050"/>
                        </a:cubicBezTo>
                        <a:cubicBezTo>
                          <a:pt x="121819" y="468203"/>
                          <a:pt x="121970" y="466150"/>
                          <a:pt x="121730" y="464254"/>
                        </a:cubicBezTo>
                        <a:close/>
                        <a:moveTo>
                          <a:pt x="125648" y="342804"/>
                        </a:moveTo>
                        <a:cubicBezTo>
                          <a:pt x="125008" y="333844"/>
                          <a:pt x="124412" y="324878"/>
                          <a:pt x="123698" y="315924"/>
                        </a:cubicBezTo>
                        <a:cubicBezTo>
                          <a:pt x="136758" y="324978"/>
                          <a:pt x="148773" y="338884"/>
                          <a:pt x="158927" y="356407"/>
                        </a:cubicBezTo>
                        <a:cubicBezTo>
                          <a:pt x="147911" y="355039"/>
                          <a:pt x="137118" y="352044"/>
                          <a:pt x="126036" y="351259"/>
                        </a:cubicBezTo>
                        <a:cubicBezTo>
                          <a:pt x="126490" y="348515"/>
                          <a:pt x="125768" y="345577"/>
                          <a:pt x="125648" y="342804"/>
                        </a:cubicBezTo>
                        <a:close/>
                        <a:moveTo>
                          <a:pt x="139159" y="448364"/>
                        </a:moveTo>
                        <a:cubicBezTo>
                          <a:pt x="136761" y="445066"/>
                          <a:pt x="133420" y="442941"/>
                          <a:pt x="129594" y="441973"/>
                        </a:cubicBezTo>
                        <a:cubicBezTo>
                          <a:pt x="130108" y="420107"/>
                          <a:pt x="130622" y="398238"/>
                          <a:pt x="131136" y="376372"/>
                        </a:cubicBezTo>
                        <a:cubicBezTo>
                          <a:pt x="134996" y="377385"/>
                          <a:pt x="138962" y="378016"/>
                          <a:pt x="142871" y="378770"/>
                        </a:cubicBezTo>
                        <a:lnTo>
                          <a:pt x="140210" y="449948"/>
                        </a:lnTo>
                        <a:cubicBezTo>
                          <a:pt x="139879" y="449397"/>
                          <a:pt x="139528" y="448869"/>
                          <a:pt x="139159" y="448364"/>
                        </a:cubicBezTo>
                        <a:close/>
                        <a:moveTo>
                          <a:pt x="141147" y="375409"/>
                        </a:moveTo>
                        <a:cubicBezTo>
                          <a:pt x="137632" y="374773"/>
                          <a:pt x="134103" y="374070"/>
                          <a:pt x="130559" y="373608"/>
                        </a:cubicBezTo>
                        <a:cubicBezTo>
                          <a:pt x="130254" y="373302"/>
                          <a:pt x="129862" y="373102"/>
                          <a:pt x="129437" y="373005"/>
                        </a:cubicBezTo>
                        <a:cubicBezTo>
                          <a:pt x="128492" y="366992"/>
                          <a:pt x="127575" y="360944"/>
                          <a:pt x="127709" y="354834"/>
                        </a:cubicBezTo>
                        <a:cubicBezTo>
                          <a:pt x="138169" y="356541"/>
                          <a:pt x="148551" y="357780"/>
                          <a:pt x="158953" y="359742"/>
                        </a:cubicBezTo>
                        <a:cubicBezTo>
                          <a:pt x="159618" y="359865"/>
                          <a:pt x="160158" y="359622"/>
                          <a:pt x="160520" y="359222"/>
                        </a:cubicBezTo>
                        <a:cubicBezTo>
                          <a:pt x="164272" y="365975"/>
                          <a:pt x="167756" y="373231"/>
                          <a:pt x="170925" y="380926"/>
                        </a:cubicBezTo>
                        <a:cubicBezTo>
                          <a:pt x="161243" y="378185"/>
                          <a:pt x="150978" y="377577"/>
                          <a:pt x="141147" y="375409"/>
                        </a:cubicBezTo>
                        <a:close/>
                        <a:moveTo>
                          <a:pt x="110349" y="458243"/>
                        </a:moveTo>
                        <a:cubicBezTo>
                          <a:pt x="109855" y="457207"/>
                          <a:pt x="109347" y="456170"/>
                          <a:pt x="108796" y="455156"/>
                        </a:cubicBezTo>
                        <a:cubicBezTo>
                          <a:pt x="113144" y="454591"/>
                          <a:pt x="116180" y="455391"/>
                          <a:pt x="117170" y="459731"/>
                        </a:cubicBezTo>
                        <a:cubicBezTo>
                          <a:pt x="119926" y="465953"/>
                          <a:pt x="119783" y="472109"/>
                          <a:pt x="111631" y="472731"/>
                        </a:cubicBezTo>
                        <a:cubicBezTo>
                          <a:pt x="113210" y="467826"/>
                          <a:pt x="112682" y="463154"/>
                          <a:pt x="110349" y="458243"/>
                        </a:cubicBezTo>
                        <a:close/>
                        <a:moveTo>
                          <a:pt x="96960" y="478245"/>
                        </a:moveTo>
                        <a:cubicBezTo>
                          <a:pt x="107442" y="478456"/>
                          <a:pt x="106728" y="451653"/>
                          <a:pt x="93794" y="455005"/>
                        </a:cubicBezTo>
                        <a:cubicBezTo>
                          <a:pt x="95370" y="451633"/>
                          <a:pt x="98831" y="447241"/>
                          <a:pt x="102197" y="451496"/>
                        </a:cubicBezTo>
                        <a:cubicBezTo>
                          <a:pt x="105772" y="455550"/>
                          <a:pt x="108710" y="460730"/>
                          <a:pt x="109472" y="466130"/>
                        </a:cubicBezTo>
                        <a:cubicBezTo>
                          <a:pt x="109861" y="471729"/>
                          <a:pt x="107088" y="476997"/>
                          <a:pt x="103656" y="481220"/>
                        </a:cubicBezTo>
                        <a:cubicBezTo>
                          <a:pt x="101263" y="484949"/>
                          <a:pt x="97640" y="480706"/>
                          <a:pt x="96323" y="478185"/>
                        </a:cubicBezTo>
                        <a:cubicBezTo>
                          <a:pt x="96532" y="478216"/>
                          <a:pt x="96743" y="478239"/>
                          <a:pt x="96960" y="478245"/>
                        </a:cubicBezTo>
                        <a:close/>
                        <a:moveTo>
                          <a:pt x="92497" y="466001"/>
                        </a:moveTo>
                        <a:cubicBezTo>
                          <a:pt x="92292" y="463169"/>
                          <a:pt x="92669" y="461144"/>
                          <a:pt x="93968" y="458340"/>
                        </a:cubicBezTo>
                        <a:cubicBezTo>
                          <a:pt x="98337" y="458160"/>
                          <a:pt x="99693" y="461170"/>
                          <a:pt x="99810" y="465085"/>
                        </a:cubicBezTo>
                        <a:cubicBezTo>
                          <a:pt x="99930" y="466669"/>
                          <a:pt x="99847" y="475923"/>
                          <a:pt x="96392" y="473962"/>
                        </a:cubicBezTo>
                        <a:cubicBezTo>
                          <a:pt x="93948" y="472577"/>
                          <a:pt x="92749" y="468588"/>
                          <a:pt x="92497" y="466001"/>
                        </a:cubicBezTo>
                        <a:close/>
                        <a:moveTo>
                          <a:pt x="197674" y="624473"/>
                        </a:moveTo>
                        <a:cubicBezTo>
                          <a:pt x="165757" y="671712"/>
                          <a:pt x="120228" y="670664"/>
                          <a:pt x="79725" y="634604"/>
                        </a:cubicBezTo>
                        <a:cubicBezTo>
                          <a:pt x="89496" y="639661"/>
                          <a:pt x="99707" y="642310"/>
                          <a:pt x="110095" y="642150"/>
                        </a:cubicBezTo>
                        <a:cubicBezTo>
                          <a:pt x="149253" y="656519"/>
                          <a:pt x="175302" y="641020"/>
                          <a:pt x="196212" y="604563"/>
                        </a:cubicBezTo>
                        <a:cubicBezTo>
                          <a:pt x="245201" y="523799"/>
                          <a:pt x="223521" y="348892"/>
                          <a:pt x="136872" y="292516"/>
                        </a:cubicBezTo>
                        <a:cubicBezTo>
                          <a:pt x="108373" y="274967"/>
                          <a:pt x="75305" y="281445"/>
                          <a:pt x="53539" y="305725"/>
                        </a:cubicBezTo>
                        <a:lnTo>
                          <a:pt x="53573" y="305756"/>
                        </a:lnTo>
                        <a:cubicBezTo>
                          <a:pt x="43848" y="312769"/>
                          <a:pt x="35116" y="322574"/>
                          <a:pt x="27641" y="334606"/>
                        </a:cubicBezTo>
                        <a:cubicBezTo>
                          <a:pt x="59352" y="256752"/>
                          <a:pt x="125871" y="245582"/>
                          <a:pt x="179860" y="316358"/>
                        </a:cubicBezTo>
                        <a:cubicBezTo>
                          <a:pt x="239562" y="393484"/>
                          <a:pt x="254815" y="542990"/>
                          <a:pt x="197674" y="624473"/>
                        </a:cubicBezTo>
                        <a:close/>
                        <a:moveTo>
                          <a:pt x="308821" y="446450"/>
                        </a:moveTo>
                        <a:cubicBezTo>
                          <a:pt x="309729" y="479221"/>
                          <a:pt x="309864" y="512049"/>
                          <a:pt x="311368" y="544792"/>
                        </a:cubicBezTo>
                        <a:cubicBezTo>
                          <a:pt x="304370" y="542293"/>
                          <a:pt x="297903" y="548035"/>
                          <a:pt x="292743" y="552147"/>
                        </a:cubicBezTo>
                        <a:cubicBezTo>
                          <a:pt x="291541" y="552244"/>
                          <a:pt x="290967" y="553546"/>
                          <a:pt x="290873" y="554585"/>
                        </a:cubicBezTo>
                        <a:cubicBezTo>
                          <a:pt x="262585" y="544860"/>
                          <a:pt x="257488" y="567243"/>
                          <a:pt x="248948" y="588110"/>
                        </a:cubicBezTo>
                        <a:cubicBezTo>
                          <a:pt x="245832" y="594583"/>
                          <a:pt x="243834" y="605442"/>
                          <a:pt x="236627" y="608163"/>
                        </a:cubicBezTo>
                        <a:cubicBezTo>
                          <a:pt x="228777" y="608763"/>
                          <a:pt x="221011" y="606110"/>
                          <a:pt x="213179" y="605653"/>
                        </a:cubicBezTo>
                        <a:cubicBezTo>
                          <a:pt x="241475" y="549997"/>
                          <a:pt x="243057" y="479967"/>
                          <a:pt x="229017" y="417757"/>
                        </a:cubicBezTo>
                        <a:cubicBezTo>
                          <a:pt x="247863" y="420635"/>
                          <a:pt x="266962" y="423228"/>
                          <a:pt x="286019" y="423739"/>
                        </a:cubicBezTo>
                        <a:cubicBezTo>
                          <a:pt x="286938" y="424470"/>
                          <a:pt x="288209" y="424850"/>
                          <a:pt x="289434" y="424361"/>
                        </a:cubicBezTo>
                        <a:cubicBezTo>
                          <a:pt x="295915" y="424541"/>
                          <a:pt x="302354" y="425549"/>
                          <a:pt x="308807" y="425992"/>
                        </a:cubicBezTo>
                        <a:cubicBezTo>
                          <a:pt x="308062" y="432733"/>
                          <a:pt x="308696" y="439712"/>
                          <a:pt x="308821" y="446450"/>
                        </a:cubicBezTo>
                        <a:close/>
                        <a:moveTo>
                          <a:pt x="285145" y="410847"/>
                        </a:moveTo>
                        <a:cubicBezTo>
                          <a:pt x="283414" y="413623"/>
                          <a:pt x="282615" y="417229"/>
                          <a:pt x="283791" y="420430"/>
                        </a:cubicBezTo>
                        <a:cubicBezTo>
                          <a:pt x="265386" y="418157"/>
                          <a:pt x="246758" y="417006"/>
                          <a:pt x="228346" y="414839"/>
                        </a:cubicBezTo>
                        <a:cubicBezTo>
                          <a:pt x="226647" y="407626"/>
                          <a:pt x="224731" y="400545"/>
                          <a:pt x="222604" y="393632"/>
                        </a:cubicBezTo>
                        <a:cubicBezTo>
                          <a:pt x="243134" y="397161"/>
                          <a:pt x="263921" y="399046"/>
                          <a:pt x="284482" y="402424"/>
                        </a:cubicBezTo>
                        <a:cubicBezTo>
                          <a:pt x="285676" y="404825"/>
                          <a:pt x="285756" y="407178"/>
                          <a:pt x="286610" y="409642"/>
                        </a:cubicBezTo>
                        <a:cubicBezTo>
                          <a:pt x="286041" y="409928"/>
                          <a:pt x="285530" y="410313"/>
                          <a:pt x="285145" y="410847"/>
                        </a:cubicBezTo>
                        <a:close/>
                        <a:moveTo>
                          <a:pt x="236570" y="630626"/>
                        </a:moveTo>
                        <a:cubicBezTo>
                          <a:pt x="224940" y="629456"/>
                          <a:pt x="213530" y="626612"/>
                          <a:pt x="201946" y="625036"/>
                        </a:cubicBezTo>
                        <a:lnTo>
                          <a:pt x="211243" y="609131"/>
                        </a:lnTo>
                        <a:cubicBezTo>
                          <a:pt x="217456" y="611547"/>
                          <a:pt x="224446" y="611755"/>
                          <a:pt x="231010" y="612780"/>
                        </a:cubicBezTo>
                        <a:cubicBezTo>
                          <a:pt x="235402" y="613640"/>
                          <a:pt x="239816" y="612735"/>
                          <a:pt x="243134" y="609605"/>
                        </a:cubicBezTo>
                        <a:cubicBezTo>
                          <a:pt x="254373" y="596922"/>
                          <a:pt x="254061" y="577682"/>
                          <a:pt x="264366" y="564311"/>
                        </a:cubicBezTo>
                        <a:cubicBezTo>
                          <a:pt x="271656" y="554440"/>
                          <a:pt x="280511" y="555942"/>
                          <a:pt x="290858" y="559217"/>
                        </a:cubicBezTo>
                        <a:cubicBezTo>
                          <a:pt x="290875" y="560193"/>
                          <a:pt x="290893" y="561167"/>
                          <a:pt x="290901" y="562144"/>
                        </a:cubicBezTo>
                        <a:cubicBezTo>
                          <a:pt x="289245" y="563314"/>
                          <a:pt x="291686" y="564199"/>
                          <a:pt x="292769" y="564371"/>
                        </a:cubicBezTo>
                        <a:cubicBezTo>
                          <a:pt x="291369" y="565247"/>
                          <a:pt x="292443" y="571298"/>
                          <a:pt x="292109" y="573225"/>
                        </a:cubicBezTo>
                        <a:cubicBezTo>
                          <a:pt x="269386" y="567255"/>
                          <a:pt x="266942" y="586134"/>
                          <a:pt x="261017" y="602484"/>
                        </a:cubicBezTo>
                        <a:cubicBezTo>
                          <a:pt x="258025" y="608968"/>
                          <a:pt x="256303" y="616073"/>
                          <a:pt x="253036" y="622417"/>
                        </a:cubicBezTo>
                        <a:cubicBezTo>
                          <a:pt x="250001" y="625227"/>
                          <a:pt x="245667" y="626697"/>
                          <a:pt x="242623" y="629664"/>
                        </a:cubicBezTo>
                        <a:cubicBezTo>
                          <a:pt x="240741" y="630369"/>
                          <a:pt x="238751" y="630758"/>
                          <a:pt x="236570" y="630626"/>
                        </a:cubicBezTo>
                        <a:close/>
                        <a:moveTo>
                          <a:pt x="296649" y="591539"/>
                        </a:moveTo>
                        <a:cubicBezTo>
                          <a:pt x="294819" y="594349"/>
                          <a:pt x="293165" y="597516"/>
                          <a:pt x="292694" y="600891"/>
                        </a:cubicBezTo>
                        <a:cubicBezTo>
                          <a:pt x="289822" y="606564"/>
                          <a:pt x="287412" y="612429"/>
                          <a:pt x="284988" y="618300"/>
                        </a:cubicBezTo>
                        <a:cubicBezTo>
                          <a:pt x="275622" y="616689"/>
                          <a:pt x="265283" y="617843"/>
                          <a:pt x="256706" y="621329"/>
                        </a:cubicBezTo>
                        <a:cubicBezTo>
                          <a:pt x="261031" y="609688"/>
                          <a:pt x="265888" y="598449"/>
                          <a:pt x="271259" y="587276"/>
                        </a:cubicBezTo>
                        <a:cubicBezTo>
                          <a:pt x="275040" y="576717"/>
                          <a:pt x="281824" y="575292"/>
                          <a:pt x="292152" y="576843"/>
                        </a:cubicBezTo>
                        <a:cubicBezTo>
                          <a:pt x="292734" y="581708"/>
                          <a:pt x="290447" y="589829"/>
                          <a:pt x="296649" y="591539"/>
                        </a:cubicBezTo>
                        <a:close/>
                        <a:moveTo>
                          <a:pt x="325397" y="670667"/>
                        </a:moveTo>
                        <a:cubicBezTo>
                          <a:pt x="324237" y="735201"/>
                          <a:pt x="228338" y="735192"/>
                          <a:pt x="227187" y="670664"/>
                        </a:cubicBezTo>
                        <a:cubicBezTo>
                          <a:pt x="226936" y="641048"/>
                          <a:pt x="254167" y="617563"/>
                          <a:pt x="283409" y="622080"/>
                        </a:cubicBezTo>
                        <a:cubicBezTo>
                          <a:pt x="281930" y="625627"/>
                          <a:pt x="280456" y="629179"/>
                          <a:pt x="278992" y="632731"/>
                        </a:cubicBezTo>
                        <a:cubicBezTo>
                          <a:pt x="227307" y="630178"/>
                          <a:pt x="224563" y="707581"/>
                          <a:pt x="276293" y="708700"/>
                        </a:cubicBezTo>
                        <a:cubicBezTo>
                          <a:pt x="310849" y="709468"/>
                          <a:pt x="327532" y="663883"/>
                          <a:pt x="301377" y="642088"/>
                        </a:cubicBezTo>
                        <a:cubicBezTo>
                          <a:pt x="302839" y="638536"/>
                          <a:pt x="304307" y="634984"/>
                          <a:pt x="305789" y="631437"/>
                        </a:cubicBezTo>
                        <a:cubicBezTo>
                          <a:pt x="317690" y="640406"/>
                          <a:pt x="325397" y="654651"/>
                          <a:pt x="325397" y="670667"/>
                        </a:cubicBezTo>
                        <a:close/>
                        <a:moveTo>
                          <a:pt x="260486" y="683182"/>
                        </a:moveTo>
                        <a:cubicBezTo>
                          <a:pt x="261757" y="683693"/>
                          <a:pt x="263164" y="683847"/>
                          <a:pt x="264509" y="684056"/>
                        </a:cubicBezTo>
                        <a:cubicBezTo>
                          <a:pt x="262773" y="686651"/>
                          <a:pt x="259578" y="694840"/>
                          <a:pt x="257242" y="691020"/>
                        </a:cubicBezTo>
                        <a:cubicBezTo>
                          <a:pt x="257242" y="691020"/>
                          <a:pt x="248365" y="675050"/>
                          <a:pt x="247631" y="672186"/>
                        </a:cubicBezTo>
                        <a:cubicBezTo>
                          <a:pt x="246897" y="669322"/>
                          <a:pt x="249964" y="668939"/>
                          <a:pt x="249964" y="668939"/>
                        </a:cubicBezTo>
                        <a:lnTo>
                          <a:pt x="262665" y="672263"/>
                        </a:lnTo>
                        <a:cubicBezTo>
                          <a:pt x="261508" y="674996"/>
                          <a:pt x="260343" y="677725"/>
                          <a:pt x="259161" y="680449"/>
                        </a:cubicBezTo>
                        <a:cubicBezTo>
                          <a:pt x="258544" y="681868"/>
                          <a:pt x="259430" y="682968"/>
                          <a:pt x="260486" y="683182"/>
                        </a:cubicBezTo>
                        <a:close/>
                        <a:moveTo>
                          <a:pt x="251752" y="661338"/>
                        </a:moveTo>
                        <a:cubicBezTo>
                          <a:pt x="247446" y="660191"/>
                          <a:pt x="249741" y="657895"/>
                          <a:pt x="249741" y="657895"/>
                        </a:cubicBezTo>
                        <a:cubicBezTo>
                          <a:pt x="249741" y="657895"/>
                          <a:pt x="262944" y="645266"/>
                          <a:pt x="265529" y="643829"/>
                        </a:cubicBezTo>
                        <a:cubicBezTo>
                          <a:pt x="268113" y="642393"/>
                          <a:pt x="269261" y="645266"/>
                          <a:pt x="269261" y="645266"/>
                        </a:cubicBezTo>
                        <a:lnTo>
                          <a:pt x="269261" y="656419"/>
                        </a:lnTo>
                        <a:cubicBezTo>
                          <a:pt x="268178" y="659054"/>
                          <a:pt x="267090" y="661690"/>
                          <a:pt x="266000" y="664319"/>
                        </a:cubicBezTo>
                        <a:cubicBezTo>
                          <a:pt x="261897" y="664485"/>
                          <a:pt x="255398" y="662309"/>
                          <a:pt x="251752" y="661338"/>
                        </a:cubicBezTo>
                        <a:close/>
                        <a:moveTo>
                          <a:pt x="292069" y="691271"/>
                        </a:moveTo>
                        <a:cubicBezTo>
                          <a:pt x="294679" y="694883"/>
                          <a:pt x="291447" y="695209"/>
                          <a:pt x="291447" y="695209"/>
                        </a:cubicBezTo>
                        <a:cubicBezTo>
                          <a:pt x="291447" y="695209"/>
                          <a:pt x="273232" y="696645"/>
                          <a:pt x="270323" y="696125"/>
                        </a:cubicBezTo>
                        <a:cubicBezTo>
                          <a:pt x="267413" y="695603"/>
                          <a:pt x="268338" y="692653"/>
                          <a:pt x="268338" y="692653"/>
                        </a:cubicBezTo>
                        <a:lnTo>
                          <a:pt x="275220" y="684221"/>
                        </a:lnTo>
                        <a:cubicBezTo>
                          <a:pt x="278629" y="684121"/>
                          <a:pt x="282484" y="684033"/>
                          <a:pt x="285028" y="681906"/>
                        </a:cubicBezTo>
                        <a:cubicBezTo>
                          <a:pt x="287678" y="684747"/>
                          <a:pt x="290324" y="688858"/>
                          <a:pt x="292069" y="691271"/>
                        </a:cubicBezTo>
                        <a:close/>
                        <a:moveTo>
                          <a:pt x="287857" y="674684"/>
                        </a:moveTo>
                        <a:cubicBezTo>
                          <a:pt x="288608" y="672834"/>
                          <a:pt x="289362" y="670987"/>
                          <a:pt x="290122" y="669139"/>
                        </a:cubicBezTo>
                        <a:cubicBezTo>
                          <a:pt x="293348" y="666778"/>
                          <a:pt x="298222" y="664608"/>
                          <a:pt x="301041" y="663157"/>
                        </a:cubicBezTo>
                        <a:cubicBezTo>
                          <a:pt x="305004" y="661119"/>
                          <a:pt x="304841" y="664362"/>
                          <a:pt x="304841" y="664362"/>
                        </a:cubicBezTo>
                        <a:cubicBezTo>
                          <a:pt x="304841" y="664362"/>
                          <a:pt x="303530" y="682588"/>
                          <a:pt x="302577" y="685383"/>
                        </a:cubicBezTo>
                        <a:cubicBezTo>
                          <a:pt x="301626" y="688182"/>
                          <a:pt x="298848" y="686825"/>
                          <a:pt x="298848" y="686825"/>
                        </a:cubicBezTo>
                        <a:lnTo>
                          <a:pt x="287857" y="674684"/>
                        </a:lnTo>
                        <a:close/>
                        <a:moveTo>
                          <a:pt x="312436" y="606082"/>
                        </a:moveTo>
                        <a:cubicBezTo>
                          <a:pt x="301155" y="630058"/>
                          <a:pt x="292080" y="654982"/>
                          <a:pt x="282349" y="679601"/>
                        </a:cubicBezTo>
                        <a:cubicBezTo>
                          <a:pt x="275882" y="679721"/>
                          <a:pt x="269420" y="680772"/>
                          <a:pt x="262962" y="680972"/>
                        </a:cubicBezTo>
                        <a:cubicBezTo>
                          <a:pt x="273032" y="654697"/>
                          <a:pt x="284968" y="629153"/>
                          <a:pt x="294545" y="602695"/>
                        </a:cubicBezTo>
                        <a:cubicBezTo>
                          <a:pt x="300432" y="604548"/>
                          <a:pt x="306874" y="604420"/>
                          <a:pt x="312930" y="605191"/>
                        </a:cubicBezTo>
                        <a:cubicBezTo>
                          <a:pt x="312762" y="605482"/>
                          <a:pt x="312593" y="605776"/>
                          <a:pt x="312436" y="606082"/>
                        </a:cubicBezTo>
                        <a:close/>
                        <a:moveTo>
                          <a:pt x="314558" y="596368"/>
                        </a:moveTo>
                        <a:cubicBezTo>
                          <a:pt x="314272" y="598012"/>
                          <a:pt x="314064" y="599663"/>
                          <a:pt x="313872" y="601316"/>
                        </a:cubicBezTo>
                        <a:cubicBezTo>
                          <a:pt x="308199" y="600234"/>
                          <a:pt x="302611" y="599260"/>
                          <a:pt x="296703" y="599189"/>
                        </a:cubicBezTo>
                        <a:cubicBezTo>
                          <a:pt x="297677" y="596856"/>
                          <a:pt x="298753" y="594677"/>
                          <a:pt x="299067" y="592150"/>
                        </a:cubicBezTo>
                        <a:cubicBezTo>
                          <a:pt x="304487" y="593167"/>
                          <a:pt x="309801" y="593547"/>
                          <a:pt x="315380" y="592684"/>
                        </a:cubicBezTo>
                        <a:cubicBezTo>
                          <a:pt x="314958" y="593926"/>
                          <a:pt x="314746" y="595289"/>
                          <a:pt x="314558" y="596368"/>
                        </a:cubicBezTo>
                        <a:close/>
                        <a:moveTo>
                          <a:pt x="316939" y="571506"/>
                        </a:moveTo>
                        <a:cubicBezTo>
                          <a:pt x="316565" y="577157"/>
                          <a:pt x="317030" y="583133"/>
                          <a:pt x="316357" y="588678"/>
                        </a:cubicBezTo>
                        <a:cubicBezTo>
                          <a:pt x="313573" y="590760"/>
                          <a:pt x="303562" y="589509"/>
                          <a:pt x="300027" y="588778"/>
                        </a:cubicBezTo>
                        <a:cubicBezTo>
                          <a:pt x="295927" y="588350"/>
                          <a:pt x="295792" y="587082"/>
                          <a:pt x="295961" y="583262"/>
                        </a:cubicBezTo>
                        <a:cubicBezTo>
                          <a:pt x="295467" y="577111"/>
                          <a:pt x="295441" y="570761"/>
                          <a:pt x="294376" y="564745"/>
                        </a:cubicBezTo>
                        <a:cubicBezTo>
                          <a:pt x="301966" y="565961"/>
                          <a:pt x="309507" y="565778"/>
                          <a:pt x="317159" y="565087"/>
                        </a:cubicBezTo>
                        <a:cubicBezTo>
                          <a:pt x="316625" y="567072"/>
                          <a:pt x="316988" y="569685"/>
                          <a:pt x="316939" y="571506"/>
                        </a:cubicBezTo>
                        <a:close/>
                        <a:moveTo>
                          <a:pt x="318193" y="561090"/>
                        </a:moveTo>
                        <a:cubicBezTo>
                          <a:pt x="310109" y="562244"/>
                          <a:pt x="301983" y="562218"/>
                          <a:pt x="293836" y="561924"/>
                        </a:cubicBezTo>
                        <a:cubicBezTo>
                          <a:pt x="294325" y="559514"/>
                          <a:pt x="294787" y="556927"/>
                          <a:pt x="294527" y="554474"/>
                        </a:cubicBezTo>
                        <a:cubicBezTo>
                          <a:pt x="306163" y="547724"/>
                          <a:pt x="309130" y="543058"/>
                          <a:pt x="318935" y="556273"/>
                        </a:cubicBezTo>
                        <a:cubicBezTo>
                          <a:pt x="318555" y="557835"/>
                          <a:pt x="318141" y="559520"/>
                          <a:pt x="318193" y="561090"/>
                        </a:cubicBezTo>
                        <a:close/>
                        <a:moveTo>
                          <a:pt x="386804" y="634253"/>
                        </a:moveTo>
                        <a:cubicBezTo>
                          <a:pt x="384271" y="621986"/>
                          <a:pt x="381476" y="609645"/>
                          <a:pt x="383237" y="597090"/>
                        </a:cubicBezTo>
                        <a:cubicBezTo>
                          <a:pt x="385316" y="597424"/>
                          <a:pt x="387415" y="598212"/>
                          <a:pt x="389508" y="598281"/>
                        </a:cubicBezTo>
                        <a:cubicBezTo>
                          <a:pt x="392335" y="613197"/>
                          <a:pt x="395127" y="628122"/>
                          <a:pt x="397868" y="643056"/>
                        </a:cubicBezTo>
                        <a:cubicBezTo>
                          <a:pt x="394276" y="642710"/>
                          <a:pt x="390776" y="641642"/>
                          <a:pt x="387678" y="639843"/>
                        </a:cubicBezTo>
                        <a:cubicBezTo>
                          <a:pt x="387418" y="637976"/>
                          <a:pt x="387132" y="636114"/>
                          <a:pt x="386804" y="634253"/>
                        </a:cubicBezTo>
                        <a:close/>
                        <a:moveTo>
                          <a:pt x="390322" y="651953"/>
                        </a:moveTo>
                        <a:cubicBezTo>
                          <a:pt x="388980" y="649557"/>
                          <a:pt x="388546" y="646765"/>
                          <a:pt x="388226" y="644072"/>
                        </a:cubicBezTo>
                        <a:cubicBezTo>
                          <a:pt x="391387" y="645917"/>
                          <a:pt x="394916" y="647441"/>
                          <a:pt x="398688" y="647501"/>
                        </a:cubicBezTo>
                        <a:cubicBezTo>
                          <a:pt x="399353" y="651128"/>
                          <a:pt x="400013" y="654757"/>
                          <a:pt x="400664" y="658383"/>
                        </a:cubicBezTo>
                        <a:cubicBezTo>
                          <a:pt x="396398" y="657892"/>
                          <a:pt x="392520" y="655873"/>
                          <a:pt x="390322" y="651953"/>
                        </a:cubicBezTo>
                        <a:close/>
                        <a:moveTo>
                          <a:pt x="414524" y="684510"/>
                        </a:moveTo>
                        <a:cubicBezTo>
                          <a:pt x="414244" y="684578"/>
                          <a:pt x="413915" y="684638"/>
                          <a:pt x="413627" y="684572"/>
                        </a:cubicBezTo>
                        <a:cubicBezTo>
                          <a:pt x="413261" y="683245"/>
                          <a:pt x="412893" y="681914"/>
                          <a:pt x="412528" y="680586"/>
                        </a:cubicBezTo>
                        <a:cubicBezTo>
                          <a:pt x="413747" y="680529"/>
                          <a:pt x="414966" y="680489"/>
                          <a:pt x="416188" y="680475"/>
                        </a:cubicBezTo>
                        <a:cubicBezTo>
                          <a:pt x="416291" y="681166"/>
                          <a:pt x="416482" y="681897"/>
                          <a:pt x="416674" y="682579"/>
                        </a:cubicBezTo>
                        <a:cubicBezTo>
                          <a:pt x="416074" y="683310"/>
                          <a:pt x="415649" y="684236"/>
                          <a:pt x="414524" y="684510"/>
                        </a:cubicBezTo>
                        <a:close/>
                        <a:moveTo>
                          <a:pt x="408573" y="677603"/>
                        </a:moveTo>
                        <a:cubicBezTo>
                          <a:pt x="400484" y="626652"/>
                          <a:pt x="389956" y="576106"/>
                          <a:pt x="380294" y="525464"/>
                        </a:cubicBezTo>
                        <a:cubicBezTo>
                          <a:pt x="375788" y="503460"/>
                          <a:pt x="371879" y="481277"/>
                          <a:pt x="366191" y="459548"/>
                        </a:cubicBezTo>
                        <a:cubicBezTo>
                          <a:pt x="360178" y="443572"/>
                          <a:pt x="347394" y="423805"/>
                          <a:pt x="328229" y="424627"/>
                        </a:cubicBezTo>
                        <a:cubicBezTo>
                          <a:pt x="327818" y="424324"/>
                          <a:pt x="327161" y="424384"/>
                          <a:pt x="326824" y="424810"/>
                        </a:cubicBezTo>
                        <a:cubicBezTo>
                          <a:pt x="325037" y="424987"/>
                          <a:pt x="325080" y="427511"/>
                          <a:pt x="326459" y="428153"/>
                        </a:cubicBezTo>
                        <a:cubicBezTo>
                          <a:pt x="323598" y="472820"/>
                          <a:pt x="326347" y="517623"/>
                          <a:pt x="328912" y="562241"/>
                        </a:cubicBezTo>
                        <a:cubicBezTo>
                          <a:pt x="329091" y="564836"/>
                          <a:pt x="329114" y="567577"/>
                          <a:pt x="330105" y="570007"/>
                        </a:cubicBezTo>
                        <a:cubicBezTo>
                          <a:pt x="331342" y="571818"/>
                          <a:pt x="332469" y="570213"/>
                          <a:pt x="332461" y="568574"/>
                        </a:cubicBezTo>
                        <a:cubicBezTo>
                          <a:pt x="340499" y="571818"/>
                          <a:pt x="349339" y="572883"/>
                          <a:pt x="357788" y="574750"/>
                        </a:cubicBezTo>
                        <a:cubicBezTo>
                          <a:pt x="367070" y="576486"/>
                          <a:pt x="376447" y="578054"/>
                          <a:pt x="385830" y="578987"/>
                        </a:cubicBezTo>
                        <a:cubicBezTo>
                          <a:pt x="386849" y="584310"/>
                          <a:pt x="387866" y="589632"/>
                          <a:pt x="388871" y="594957"/>
                        </a:cubicBezTo>
                        <a:cubicBezTo>
                          <a:pt x="365911" y="589609"/>
                          <a:pt x="342874" y="584518"/>
                          <a:pt x="319814" y="579633"/>
                        </a:cubicBezTo>
                        <a:cubicBezTo>
                          <a:pt x="319723" y="574659"/>
                          <a:pt x="320428" y="569542"/>
                          <a:pt x="319914" y="564619"/>
                        </a:cubicBezTo>
                        <a:cubicBezTo>
                          <a:pt x="321776" y="564434"/>
                          <a:pt x="324169" y="563291"/>
                          <a:pt x="322370" y="561264"/>
                        </a:cubicBezTo>
                        <a:cubicBezTo>
                          <a:pt x="322593" y="559634"/>
                          <a:pt x="322256" y="557789"/>
                          <a:pt x="322019" y="556142"/>
                        </a:cubicBezTo>
                        <a:cubicBezTo>
                          <a:pt x="323683" y="554348"/>
                          <a:pt x="316517" y="547847"/>
                          <a:pt x="314943" y="546676"/>
                        </a:cubicBezTo>
                        <a:cubicBezTo>
                          <a:pt x="314849" y="509956"/>
                          <a:pt x="313150" y="473185"/>
                          <a:pt x="312182" y="436465"/>
                        </a:cubicBezTo>
                        <a:cubicBezTo>
                          <a:pt x="311882" y="434207"/>
                          <a:pt x="312282" y="422186"/>
                          <a:pt x="309786" y="422531"/>
                        </a:cubicBezTo>
                        <a:cubicBezTo>
                          <a:pt x="302908" y="421349"/>
                          <a:pt x="295530" y="420361"/>
                          <a:pt x="288611" y="421469"/>
                        </a:cubicBezTo>
                        <a:cubicBezTo>
                          <a:pt x="285165" y="418876"/>
                          <a:pt x="285961" y="414516"/>
                          <a:pt x="287817" y="411173"/>
                        </a:cubicBezTo>
                        <a:cubicBezTo>
                          <a:pt x="288414" y="411413"/>
                          <a:pt x="289257" y="410944"/>
                          <a:pt x="289251" y="410279"/>
                        </a:cubicBezTo>
                        <a:cubicBezTo>
                          <a:pt x="289496" y="410222"/>
                          <a:pt x="289813" y="410150"/>
                          <a:pt x="289902" y="409899"/>
                        </a:cubicBezTo>
                        <a:cubicBezTo>
                          <a:pt x="295181" y="410927"/>
                          <a:pt x="300641" y="410953"/>
                          <a:pt x="305906" y="412175"/>
                        </a:cubicBezTo>
                        <a:cubicBezTo>
                          <a:pt x="308239" y="412620"/>
                          <a:pt x="310480" y="413314"/>
                          <a:pt x="311602" y="410656"/>
                        </a:cubicBezTo>
                        <a:cubicBezTo>
                          <a:pt x="312382" y="408811"/>
                          <a:pt x="312859" y="405628"/>
                          <a:pt x="311428" y="403969"/>
                        </a:cubicBezTo>
                        <a:cubicBezTo>
                          <a:pt x="312519" y="400308"/>
                          <a:pt x="295852" y="400259"/>
                          <a:pt x="293008" y="399457"/>
                        </a:cubicBezTo>
                        <a:cubicBezTo>
                          <a:pt x="269300" y="396622"/>
                          <a:pt x="245624" y="393055"/>
                          <a:pt x="221827" y="391177"/>
                        </a:cubicBezTo>
                        <a:cubicBezTo>
                          <a:pt x="219406" y="383536"/>
                          <a:pt x="216725" y="376103"/>
                          <a:pt x="213798" y="368911"/>
                        </a:cubicBezTo>
                        <a:cubicBezTo>
                          <a:pt x="244342" y="374927"/>
                          <a:pt x="275397" y="378113"/>
                          <a:pt x="305920" y="384292"/>
                        </a:cubicBezTo>
                        <a:cubicBezTo>
                          <a:pt x="307399" y="384564"/>
                          <a:pt x="307842" y="383333"/>
                          <a:pt x="308170" y="382319"/>
                        </a:cubicBezTo>
                        <a:cubicBezTo>
                          <a:pt x="311328" y="374327"/>
                          <a:pt x="310209" y="364953"/>
                          <a:pt x="310209" y="356544"/>
                        </a:cubicBezTo>
                        <a:cubicBezTo>
                          <a:pt x="310209" y="348698"/>
                          <a:pt x="310138" y="340854"/>
                          <a:pt x="310192" y="333007"/>
                        </a:cubicBezTo>
                        <a:cubicBezTo>
                          <a:pt x="310549" y="310733"/>
                          <a:pt x="310820" y="288455"/>
                          <a:pt x="310306" y="266192"/>
                        </a:cubicBezTo>
                        <a:cubicBezTo>
                          <a:pt x="314324" y="266601"/>
                          <a:pt x="318313" y="266663"/>
                          <a:pt x="322339" y="266626"/>
                        </a:cubicBezTo>
                        <a:cubicBezTo>
                          <a:pt x="321645" y="271572"/>
                          <a:pt x="321582" y="277031"/>
                          <a:pt x="321830" y="281842"/>
                        </a:cubicBezTo>
                        <a:cubicBezTo>
                          <a:pt x="322933" y="325050"/>
                          <a:pt x="321593" y="368771"/>
                          <a:pt x="324826" y="411724"/>
                        </a:cubicBezTo>
                        <a:cubicBezTo>
                          <a:pt x="324329" y="412777"/>
                          <a:pt x="324963" y="414439"/>
                          <a:pt x="326390" y="414388"/>
                        </a:cubicBezTo>
                        <a:cubicBezTo>
                          <a:pt x="337209" y="414379"/>
                          <a:pt x="348488" y="418437"/>
                          <a:pt x="357485" y="424456"/>
                        </a:cubicBezTo>
                        <a:cubicBezTo>
                          <a:pt x="366054" y="432142"/>
                          <a:pt x="371362" y="443261"/>
                          <a:pt x="374243" y="454203"/>
                        </a:cubicBezTo>
                        <a:cubicBezTo>
                          <a:pt x="390087" y="527962"/>
                          <a:pt x="404230" y="602327"/>
                          <a:pt x="416816" y="676586"/>
                        </a:cubicBezTo>
                        <a:cubicBezTo>
                          <a:pt x="414041" y="676663"/>
                          <a:pt x="411286" y="677014"/>
                          <a:pt x="408573" y="677603"/>
                        </a:cubicBezTo>
                        <a:close/>
                        <a:moveTo>
                          <a:pt x="370097" y="514613"/>
                        </a:moveTo>
                        <a:cubicBezTo>
                          <a:pt x="367713" y="505131"/>
                          <a:pt x="363481" y="495500"/>
                          <a:pt x="360289" y="486611"/>
                        </a:cubicBezTo>
                        <a:cubicBezTo>
                          <a:pt x="355104" y="471686"/>
                          <a:pt x="353122" y="455876"/>
                          <a:pt x="350332" y="440283"/>
                        </a:cubicBezTo>
                        <a:cubicBezTo>
                          <a:pt x="355152" y="446131"/>
                          <a:pt x="358653" y="453038"/>
                          <a:pt x="361508" y="460025"/>
                        </a:cubicBezTo>
                        <a:cubicBezTo>
                          <a:pt x="369580" y="491893"/>
                          <a:pt x="374971" y="524442"/>
                          <a:pt x="381541" y="556656"/>
                        </a:cubicBezTo>
                        <a:cubicBezTo>
                          <a:pt x="372898" y="551679"/>
                          <a:pt x="368076" y="541751"/>
                          <a:pt x="368869" y="531891"/>
                        </a:cubicBezTo>
                        <a:cubicBezTo>
                          <a:pt x="369029" y="526574"/>
                          <a:pt x="369749" y="521169"/>
                          <a:pt x="370583" y="515921"/>
                        </a:cubicBezTo>
                        <a:cubicBezTo>
                          <a:pt x="370680" y="515324"/>
                          <a:pt x="370451" y="514870"/>
                          <a:pt x="370097" y="514613"/>
                        </a:cubicBezTo>
                        <a:close/>
                        <a:moveTo>
                          <a:pt x="354139" y="483878"/>
                        </a:moveTo>
                        <a:cubicBezTo>
                          <a:pt x="357477" y="493878"/>
                          <a:pt x="362331" y="506313"/>
                          <a:pt x="368273" y="515025"/>
                        </a:cubicBezTo>
                        <a:cubicBezTo>
                          <a:pt x="363681" y="525147"/>
                          <a:pt x="360729" y="536919"/>
                          <a:pt x="365688" y="547484"/>
                        </a:cubicBezTo>
                        <a:cubicBezTo>
                          <a:pt x="369066" y="554697"/>
                          <a:pt x="374974" y="561878"/>
                          <a:pt x="382980" y="564111"/>
                        </a:cubicBezTo>
                        <a:cubicBezTo>
                          <a:pt x="383743" y="568074"/>
                          <a:pt x="384505" y="572037"/>
                          <a:pt x="385265" y="576003"/>
                        </a:cubicBezTo>
                        <a:cubicBezTo>
                          <a:pt x="371571" y="573988"/>
                          <a:pt x="358008" y="571192"/>
                          <a:pt x="344485" y="568194"/>
                        </a:cubicBezTo>
                        <a:cubicBezTo>
                          <a:pt x="340553" y="567554"/>
                          <a:pt x="336675" y="565818"/>
                          <a:pt x="332649" y="566047"/>
                        </a:cubicBezTo>
                        <a:cubicBezTo>
                          <a:pt x="328609" y="520216"/>
                          <a:pt x="329388" y="474247"/>
                          <a:pt x="328620" y="428296"/>
                        </a:cubicBezTo>
                        <a:cubicBezTo>
                          <a:pt x="334451" y="428273"/>
                          <a:pt x="339956" y="430700"/>
                          <a:pt x="344405" y="434467"/>
                        </a:cubicBezTo>
                        <a:cubicBezTo>
                          <a:pt x="347109" y="450942"/>
                          <a:pt x="349561" y="467766"/>
                          <a:pt x="354139" y="483878"/>
                        </a:cubicBezTo>
                        <a:close/>
                        <a:moveTo>
                          <a:pt x="286912" y="402801"/>
                        </a:moveTo>
                        <a:cubicBezTo>
                          <a:pt x="293974" y="403820"/>
                          <a:pt x="301083" y="405365"/>
                          <a:pt x="308216" y="405927"/>
                        </a:cubicBezTo>
                        <a:cubicBezTo>
                          <a:pt x="308290" y="406464"/>
                          <a:pt x="308639" y="409322"/>
                          <a:pt x="308604" y="409619"/>
                        </a:cubicBezTo>
                        <a:cubicBezTo>
                          <a:pt x="302303" y="408994"/>
                          <a:pt x="295338" y="406790"/>
                          <a:pt x="288945" y="408400"/>
                        </a:cubicBezTo>
                        <a:cubicBezTo>
                          <a:pt x="288237" y="406547"/>
                          <a:pt x="287826" y="404574"/>
                          <a:pt x="286912" y="402801"/>
                        </a:cubicBezTo>
                        <a:close/>
                        <a:moveTo>
                          <a:pt x="440975" y="667686"/>
                        </a:moveTo>
                        <a:cubicBezTo>
                          <a:pt x="437560" y="668437"/>
                          <a:pt x="434154" y="669225"/>
                          <a:pt x="430728" y="669919"/>
                        </a:cubicBezTo>
                        <a:cubicBezTo>
                          <a:pt x="428358" y="670684"/>
                          <a:pt x="420871" y="670653"/>
                          <a:pt x="419820" y="672574"/>
                        </a:cubicBezTo>
                        <a:cubicBezTo>
                          <a:pt x="419458" y="671287"/>
                          <a:pt x="419312" y="669959"/>
                          <a:pt x="419169" y="668608"/>
                        </a:cubicBezTo>
                        <a:cubicBezTo>
                          <a:pt x="420200" y="667409"/>
                          <a:pt x="419583" y="664511"/>
                          <a:pt x="419483" y="663606"/>
                        </a:cubicBezTo>
                        <a:cubicBezTo>
                          <a:pt x="418684" y="657261"/>
                          <a:pt x="417393" y="650988"/>
                          <a:pt x="416308" y="644686"/>
                        </a:cubicBezTo>
                        <a:cubicBezTo>
                          <a:pt x="427364" y="644298"/>
                          <a:pt x="438574" y="642801"/>
                          <a:pt x="449450" y="640634"/>
                        </a:cubicBezTo>
                        <a:cubicBezTo>
                          <a:pt x="443263" y="644172"/>
                          <a:pt x="444159" y="651813"/>
                          <a:pt x="445929" y="657655"/>
                        </a:cubicBezTo>
                        <a:cubicBezTo>
                          <a:pt x="446586" y="660576"/>
                          <a:pt x="447194" y="663543"/>
                          <a:pt x="448388" y="666295"/>
                        </a:cubicBezTo>
                        <a:cubicBezTo>
                          <a:pt x="445924" y="666784"/>
                          <a:pt x="443417" y="667149"/>
                          <a:pt x="440975" y="667686"/>
                        </a:cubicBezTo>
                        <a:close/>
                        <a:moveTo>
                          <a:pt x="450923" y="665730"/>
                        </a:moveTo>
                        <a:cubicBezTo>
                          <a:pt x="450664" y="665796"/>
                          <a:pt x="450401" y="665856"/>
                          <a:pt x="450138" y="665916"/>
                        </a:cubicBezTo>
                        <a:cubicBezTo>
                          <a:pt x="449773" y="663297"/>
                          <a:pt x="449142" y="660722"/>
                          <a:pt x="448633" y="658123"/>
                        </a:cubicBezTo>
                        <a:cubicBezTo>
                          <a:pt x="451298" y="659077"/>
                          <a:pt x="454989" y="658081"/>
                          <a:pt x="457891" y="657350"/>
                        </a:cubicBezTo>
                        <a:cubicBezTo>
                          <a:pt x="458125" y="659177"/>
                          <a:pt x="458362" y="661059"/>
                          <a:pt x="458779" y="662849"/>
                        </a:cubicBezTo>
                        <a:cubicBezTo>
                          <a:pt x="456129" y="663628"/>
                          <a:pt x="453619" y="665048"/>
                          <a:pt x="450923" y="665730"/>
                        </a:cubicBezTo>
                        <a:close/>
                        <a:moveTo>
                          <a:pt x="485288" y="657387"/>
                        </a:moveTo>
                        <a:cubicBezTo>
                          <a:pt x="477735" y="659525"/>
                          <a:pt x="469846" y="662075"/>
                          <a:pt x="462022" y="659797"/>
                        </a:cubicBezTo>
                        <a:cubicBezTo>
                          <a:pt x="461722" y="658720"/>
                          <a:pt x="461271" y="657681"/>
                          <a:pt x="460709" y="656753"/>
                        </a:cubicBezTo>
                        <a:cubicBezTo>
                          <a:pt x="464778" y="656167"/>
                          <a:pt x="469637" y="656853"/>
                          <a:pt x="473201" y="654808"/>
                        </a:cubicBezTo>
                        <a:cubicBezTo>
                          <a:pt x="477618" y="655337"/>
                          <a:pt x="479020" y="649900"/>
                          <a:pt x="478361" y="646045"/>
                        </a:cubicBezTo>
                        <a:cubicBezTo>
                          <a:pt x="487855" y="641939"/>
                          <a:pt x="499005" y="641528"/>
                          <a:pt x="507756" y="635829"/>
                        </a:cubicBezTo>
                        <a:cubicBezTo>
                          <a:pt x="517073" y="635914"/>
                          <a:pt x="526390" y="633664"/>
                          <a:pt x="535696" y="633019"/>
                        </a:cubicBezTo>
                        <a:cubicBezTo>
                          <a:pt x="545039" y="631820"/>
                          <a:pt x="554584" y="631914"/>
                          <a:pt x="563824" y="630129"/>
                        </a:cubicBezTo>
                        <a:cubicBezTo>
                          <a:pt x="563264" y="630275"/>
                          <a:pt x="564121" y="630144"/>
                          <a:pt x="564272" y="630141"/>
                        </a:cubicBezTo>
                        <a:cubicBezTo>
                          <a:pt x="564275" y="630141"/>
                          <a:pt x="564275" y="630144"/>
                          <a:pt x="564278" y="630144"/>
                        </a:cubicBezTo>
                        <a:cubicBezTo>
                          <a:pt x="565397" y="631020"/>
                          <a:pt x="567981" y="629995"/>
                          <a:pt x="569538" y="630626"/>
                        </a:cubicBezTo>
                        <a:cubicBezTo>
                          <a:pt x="543137" y="644012"/>
                          <a:pt x="513533" y="649175"/>
                          <a:pt x="485288" y="657387"/>
                        </a:cubicBezTo>
                        <a:close/>
                        <a:moveTo>
                          <a:pt x="573752" y="667380"/>
                        </a:moveTo>
                        <a:cubicBezTo>
                          <a:pt x="552497" y="674413"/>
                          <a:pt x="529714" y="673988"/>
                          <a:pt x="507713" y="671612"/>
                        </a:cubicBezTo>
                        <a:cubicBezTo>
                          <a:pt x="498711" y="670082"/>
                          <a:pt x="509872" y="661247"/>
                          <a:pt x="507091" y="656613"/>
                        </a:cubicBezTo>
                        <a:cubicBezTo>
                          <a:pt x="515254" y="654428"/>
                          <a:pt x="580719" y="638370"/>
                          <a:pt x="576604" y="629661"/>
                        </a:cubicBezTo>
                        <a:cubicBezTo>
                          <a:pt x="573915" y="626109"/>
                          <a:pt x="569335" y="623845"/>
                          <a:pt x="564878" y="625224"/>
                        </a:cubicBezTo>
                        <a:cubicBezTo>
                          <a:pt x="560523" y="624841"/>
                          <a:pt x="556035" y="625033"/>
                          <a:pt x="551640" y="625512"/>
                        </a:cubicBezTo>
                        <a:cubicBezTo>
                          <a:pt x="531927" y="627040"/>
                          <a:pt x="512214" y="629690"/>
                          <a:pt x="493405" y="635897"/>
                        </a:cubicBezTo>
                        <a:cubicBezTo>
                          <a:pt x="493719" y="633008"/>
                          <a:pt x="492823" y="630175"/>
                          <a:pt x="490921" y="627991"/>
                        </a:cubicBezTo>
                        <a:cubicBezTo>
                          <a:pt x="490998" y="622257"/>
                          <a:pt x="487638" y="616264"/>
                          <a:pt x="483312" y="612769"/>
                        </a:cubicBezTo>
                        <a:cubicBezTo>
                          <a:pt x="478069" y="608275"/>
                          <a:pt x="470514" y="608203"/>
                          <a:pt x="465229" y="603852"/>
                        </a:cubicBezTo>
                        <a:cubicBezTo>
                          <a:pt x="459909" y="598689"/>
                          <a:pt x="455989" y="592213"/>
                          <a:pt x="451666" y="586234"/>
                        </a:cubicBezTo>
                        <a:cubicBezTo>
                          <a:pt x="447480" y="580515"/>
                          <a:pt x="444453" y="573919"/>
                          <a:pt x="439785" y="568548"/>
                        </a:cubicBezTo>
                        <a:cubicBezTo>
                          <a:pt x="440310" y="563683"/>
                          <a:pt x="439893" y="559148"/>
                          <a:pt x="438546" y="554585"/>
                        </a:cubicBezTo>
                        <a:cubicBezTo>
                          <a:pt x="444208" y="549766"/>
                          <a:pt x="449784" y="543275"/>
                          <a:pt x="448616" y="535352"/>
                        </a:cubicBezTo>
                        <a:cubicBezTo>
                          <a:pt x="447868" y="530232"/>
                          <a:pt x="444133" y="526263"/>
                          <a:pt x="442095" y="521643"/>
                        </a:cubicBezTo>
                        <a:cubicBezTo>
                          <a:pt x="438003" y="512375"/>
                          <a:pt x="437926" y="501847"/>
                          <a:pt x="438406" y="491910"/>
                        </a:cubicBezTo>
                        <a:cubicBezTo>
                          <a:pt x="441081" y="454331"/>
                          <a:pt x="442155" y="416629"/>
                          <a:pt x="440013" y="378987"/>
                        </a:cubicBezTo>
                        <a:cubicBezTo>
                          <a:pt x="453830" y="375798"/>
                          <a:pt x="468038" y="373905"/>
                          <a:pt x="482232" y="374393"/>
                        </a:cubicBezTo>
                        <a:cubicBezTo>
                          <a:pt x="485119" y="374481"/>
                          <a:pt x="488951" y="374827"/>
                          <a:pt x="491901" y="373676"/>
                        </a:cubicBezTo>
                        <a:cubicBezTo>
                          <a:pt x="499053" y="377151"/>
                          <a:pt x="506469" y="380112"/>
                          <a:pt x="514167" y="382108"/>
                        </a:cubicBezTo>
                        <a:cubicBezTo>
                          <a:pt x="518498" y="423148"/>
                          <a:pt x="518347" y="464653"/>
                          <a:pt x="513130" y="505599"/>
                        </a:cubicBezTo>
                        <a:cubicBezTo>
                          <a:pt x="511762" y="515873"/>
                          <a:pt x="509669" y="526563"/>
                          <a:pt x="512759" y="536728"/>
                        </a:cubicBezTo>
                        <a:cubicBezTo>
                          <a:pt x="513721" y="539952"/>
                          <a:pt x="515086" y="543036"/>
                          <a:pt x="516162" y="546219"/>
                        </a:cubicBezTo>
                        <a:cubicBezTo>
                          <a:pt x="518618" y="553472"/>
                          <a:pt x="518775" y="561050"/>
                          <a:pt x="518567" y="568631"/>
                        </a:cubicBezTo>
                        <a:cubicBezTo>
                          <a:pt x="518787" y="574359"/>
                          <a:pt x="516565" y="582674"/>
                          <a:pt x="522556" y="586060"/>
                        </a:cubicBezTo>
                        <a:cubicBezTo>
                          <a:pt x="521713" y="591120"/>
                          <a:pt x="520894" y="596211"/>
                          <a:pt x="519412" y="601125"/>
                        </a:cubicBezTo>
                        <a:cubicBezTo>
                          <a:pt x="514703" y="594657"/>
                          <a:pt x="506788" y="592042"/>
                          <a:pt x="502394" y="600280"/>
                        </a:cubicBezTo>
                        <a:cubicBezTo>
                          <a:pt x="497411" y="611264"/>
                          <a:pt x="510041" y="614479"/>
                          <a:pt x="507397" y="626435"/>
                        </a:cubicBezTo>
                        <a:cubicBezTo>
                          <a:pt x="507197" y="629113"/>
                          <a:pt x="511174" y="630058"/>
                          <a:pt x="512399" y="627788"/>
                        </a:cubicBezTo>
                        <a:cubicBezTo>
                          <a:pt x="514315" y="624239"/>
                          <a:pt x="514344" y="619990"/>
                          <a:pt x="513259" y="616161"/>
                        </a:cubicBezTo>
                        <a:cubicBezTo>
                          <a:pt x="512590" y="612232"/>
                          <a:pt x="508933" y="609754"/>
                          <a:pt x="507999" y="606042"/>
                        </a:cubicBezTo>
                        <a:cubicBezTo>
                          <a:pt x="507773" y="604660"/>
                          <a:pt x="508584" y="601733"/>
                          <a:pt x="510252" y="601933"/>
                        </a:cubicBezTo>
                        <a:cubicBezTo>
                          <a:pt x="513872" y="604426"/>
                          <a:pt x="516134" y="608543"/>
                          <a:pt x="519732" y="611141"/>
                        </a:cubicBezTo>
                        <a:cubicBezTo>
                          <a:pt x="535142" y="622443"/>
                          <a:pt x="550478" y="599506"/>
                          <a:pt x="563147" y="592607"/>
                        </a:cubicBezTo>
                        <a:cubicBezTo>
                          <a:pt x="566565" y="590340"/>
                          <a:pt x="569872" y="587839"/>
                          <a:pt x="573389" y="585732"/>
                        </a:cubicBezTo>
                        <a:cubicBezTo>
                          <a:pt x="576859" y="583650"/>
                          <a:pt x="580051" y="583165"/>
                          <a:pt x="584040" y="583079"/>
                        </a:cubicBezTo>
                        <a:cubicBezTo>
                          <a:pt x="587620" y="583005"/>
                          <a:pt x="588851" y="577437"/>
                          <a:pt x="585436" y="576383"/>
                        </a:cubicBezTo>
                        <a:cubicBezTo>
                          <a:pt x="586715" y="574045"/>
                          <a:pt x="587589" y="571612"/>
                          <a:pt x="589388" y="569582"/>
                        </a:cubicBezTo>
                        <a:cubicBezTo>
                          <a:pt x="593711" y="576723"/>
                          <a:pt x="594913" y="585415"/>
                          <a:pt x="600495" y="591879"/>
                        </a:cubicBezTo>
                        <a:cubicBezTo>
                          <a:pt x="595787" y="592011"/>
                          <a:pt x="591492" y="594629"/>
                          <a:pt x="589197" y="598663"/>
                        </a:cubicBezTo>
                        <a:cubicBezTo>
                          <a:pt x="588152" y="600508"/>
                          <a:pt x="590798" y="602767"/>
                          <a:pt x="592240" y="601014"/>
                        </a:cubicBezTo>
                        <a:cubicBezTo>
                          <a:pt x="596127" y="595962"/>
                          <a:pt x="599453" y="597830"/>
                          <a:pt x="603847" y="595777"/>
                        </a:cubicBezTo>
                        <a:cubicBezTo>
                          <a:pt x="605018" y="597013"/>
                          <a:pt x="606240" y="598195"/>
                          <a:pt x="607522" y="599323"/>
                        </a:cubicBezTo>
                        <a:cubicBezTo>
                          <a:pt x="604661" y="600736"/>
                          <a:pt x="602177" y="603138"/>
                          <a:pt x="601006" y="605816"/>
                        </a:cubicBezTo>
                        <a:cubicBezTo>
                          <a:pt x="600292" y="607452"/>
                          <a:pt x="602137" y="609160"/>
                          <a:pt x="603582" y="607803"/>
                        </a:cubicBezTo>
                        <a:cubicBezTo>
                          <a:pt x="605932" y="605548"/>
                          <a:pt x="608704" y="603492"/>
                          <a:pt x="611937" y="602864"/>
                        </a:cubicBezTo>
                        <a:cubicBezTo>
                          <a:pt x="614024" y="604388"/>
                          <a:pt x="616200" y="605782"/>
                          <a:pt x="618444" y="607058"/>
                        </a:cubicBezTo>
                        <a:cubicBezTo>
                          <a:pt x="615731" y="608472"/>
                          <a:pt x="613236" y="610153"/>
                          <a:pt x="610880" y="612092"/>
                        </a:cubicBezTo>
                        <a:cubicBezTo>
                          <a:pt x="609093" y="613548"/>
                          <a:pt x="611471" y="616672"/>
                          <a:pt x="613364" y="615313"/>
                        </a:cubicBezTo>
                        <a:cubicBezTo>
                          <a:pt x="616437" y="612877"/>
                          <a:pt x="620163" y="611561"/>
                          <a:pt x="623552" y="609714"/>
                        </a:cubicBezTo>
                        <a:cubicBezTo>
                          <a:pt x="654713" y="624961"/>
                          <a:pt x="663042" y="609811"/>
                          <a:pt x="684348" y="617003"/>
                        </a:cubicBezTo>
                        <a:cubicBezTo>
                          <a:pt x="655281" y="627839"/>
                          <a:pt x="625662" y="643681"/>
                          <a:pt x="594707" y="647213"/>
                        </a:cubicBezTo>
                        <a:cubicBezTo>
                          <a:pt x="571239" y="645900"/>
                          <a:pt x="547023" y="645120"/>
                          <a:pt x="524343" y="652327"/>
                        </a:cubicBezTo>
                        <a:cubicBezTo>
                          <a:pt x="523424" y="652627"/>
                          <a:pt x="523512" y="654251"/>
                          <a:pt x="524586" y="654120"/>
                        </a:cubicBezTo>
                        <a:cubicBezTo>
                          <a:pt x="546937" y="650608"/>
                          <a:pt x="569429" y="648903"/>
                          <a:pt x="592018" y="650836"/>
                        </a:cubicBezTo>
                        <a:cubicBezTo>
                          <a:pt x="603256" y="651362"/>
                          <a:pt x="613561" y="647987"/>
                          <a:pt x="624046" y="644358"/>
                        </a:cubicBezTo>
                        <a:cubicBezTo>
                          <a:pt x="645715" y="636868"/>
                          <a:pt x="667105" y="628576"/>
                          <a:pt x="688189" y="619579"/>
                        </a:cubicBezTo>
                        <a:cubicBezTo>
                          <a:pt x="688725" y="620141"/>
                          <a:pt x="689125" y="620744"/>
                          <a:pt x="689479" y="621372"/>
                        </a:cubicBezTo>
                        <a:cubicBezTo>
                          <a:pt x="678478" y="626666"/>
                          <a:pt x="668667" y="634070"/>
                          <a:pt x="657993" y="639975"/>
                        </a:cubicBezTo>
                        <a:cubicBezTo>
                          <a:pt x="631410" y="652852"/>
                          <a:pt x="601714" y="658100"/>
                          <a:pt x="573752" y="667380"/>
                        </a:cubicBezTo>
                        <a:close/>
                        <a:moveTo>
                          <a:pt x="732095" y="645580"/>
                        </a:moveTo>
                        <a:cubicBezTo>
                          <a:pt x="733671" y="645631"/>
                          <a:pt x="735242" y="645742"/>
                          <a:pt x="736807" y="645791"/>
                        </a:cubicBezTo>
                        <a:cubicBezTo>
                          <a:pt x="687752" y="660485"/>
                          <a:pt x="637195" y="669279"/>
                          <a:pt x="586244" y="673708"/>
                        </a:cubicBezTo>
                        <a:cubicBezTo>
                          <a:pt x="586507" y="672880"/>
                          <a:pt x="586767" y="672037"/>
                          <a:pt x="586892" y="671141"/>
                        </a:cubicBezTo>
                        <a:cubicBezTo>
                          <a:pt x="605843" y="665453"/>
                          <a:pt x="624888" y="660039"/>
                          <a:pt x="643762" y="654112"/>
                        </a:cubicBezTo>
                        <a:cubicBezTo>
                          <a:pt x="643765" y="654660"/>
                          <a:pt x="644219" y="655225"/>
                          <a:pt x="644916" y="655060"/>
                        </a:cubicBezTo>
                        <a:cubicBezTo>
                          <a:pt x="648217" y="654271"/>
                          <a:pt x="651580" y="654189"/>
                          <a:pt x="654935" y="653746"/>
                        </a:cubicBezTo>
                        <a:cubicBezTo>
                          <a:pt x="664481" y="652510"/>
                          <a:pt x="674120" y="652341"/>
                          <a:pt x="683711" y="651673"/>
                        </a:cubicBezTo>
                        <a:cubicBezTo>
                          <a:pt x="700061" y="651211"/>
                          <a:pt x="715680" y="644623"/>
                          <a:pt x="732095" y="645580"/>
                        </a:cubicBezTo>
                        <a:close/>
                        <a:moveTo>
                          <a:pt x="737920" y="636874"/>
                        </a:moveTo>
                        <a:cubicBezTo>
                          <a:pt x="735208" y="636694"/>
                          <a:pt x="732378" y="637254"/>
                          <a:pt x="729737" y="636885"/>
                        </a:cubicBezTo>
                        <a:cubicBezTo>
                          <a:pt x="727295" y="636366"/>
                          <a:pt x="726173" y="639966"/>
                          <a:pt x="726305" y="641859"/>
                        </a:cubicBezTo>
                        <a:cubicBezTo>
                          <a:pt x="712490" y="641334"/>
                          <a:pt x="699276" y="646345"/>
                          <a:pt x="685585" y="647424"/>
                        </a:cubicBezTo>
                        <a:cubicBezTo>
                          <a:pt x="674266" y="648712"/>
                          <a:pt x="662736" y="648758"/>
                          <a:pt x="651589" y="651242"/>
                        </a:cubicBezTo>
                        <a:cubicBezTo>
                          <a:pt x="668195" y="645825"/>
                          <a:pt x="683694" y="628122"/>
                          <a:pt x="700361" y="626752"/>
                        </a:cubicBezTo>
                        <a:cubicBezTo>
                          <a:pt x="706671" y="626526"/>
                          <a:pt x="712939" y="626018"/>
                          <a:pt x="719249" y="625715"/>
                        </a:cubicBezTo>
                        <a:cubicBezTo>
                          <a:pt x="716519" y="627982"/>
                          <a:pt x="715149" y="644089"/>
                          <a:pt x="721345" y="640826"/>
                        </a:cubicBezTo>
                        <a:cubicBezTo>
                          <a:pt x="721896" y="640440"/>
                          <a:pt x="721879" y="639869"/>
                          <a:pt x="721602" y="639344"/>
                        </a:cubicBezTo>
                        <a:cubicBezTo>
                          <a:pt x="719520" y="634495"/>
                          <a:pt x="720406" y="628016"/>
                          <a:pt x="724637" y="624590"/>
                        </a:cubicBezTo>
                        <a:cubicBezTo>
                          <a:pt x="724866" y="624459"/>
                          <a:pt x="725111" y="624336"/>
                          <a:pt x="725280" y="624127"/>
                        </a:cubicBezTo>
                        <a:cubicBezTo>
                          <a:pt x="726053" y="624582"/>
                          <a:pt x="726733" y="625235"/>
                          <a:pt x="726973" y="626121"/>
                        </a:cubicBezTo>
                        <a:cubicBezTo>
                          <a:pt x="726770" y="626772"/>
                          <a:pt x="727170" y="627677"/>
                          <a:pt x="727998" y="627645"/>
                        </a:cubicBezTo>
                        <a:cubicBezTo>
                          <a:pt x="732472" y="627480"/>
                          <a:pt x="736687" y="627565"/>
                          <a:pt x="741218" y="627457"/>
                        </a:cubicBezTo>
                        <a:cubicBezTo>
                          <a:pt x="739936" y="630352"/>
                          <a:pt x="739865" y="633856"/>
                          <a:pt x="741284" y="636802"/>
                        </a:cubicBezTo>
                        <a:cubicBezTo>
                          <a:pt x="740105" y="636791"/>
                          <a:pt x="738922" y="636888"/>
                          <a:pt x="737920" y="636874"/>
                        </a:cubicBezTo>
                        <a:close/>
                        <a:moveTo>
                          <a:pt x="745156" y="636854"/>
                        </a:moveTo>
                        <a:cubicBezTo>
                          <a:pt x="742095" y="635772"/>
                          <a:pt x="742663" y="630212"/>
                          <a:pt x="743868" y="627902"/>
                        </a:cubicBezTo>
                        <a:cubicBezTo>
                          <a:pt x="744736" y="627740"/>
                          <a:pt x="745570" y="628085"/>
                          <a:pt x="746421" y="628262"/>
                        </a:cubicBezTo>
                        <a:cubicBezTo>
                          <a:pt x="747123" y="630369"/>
                          <a:pt x="748639" y="636548"/>
                          <a:pt x="745156" y="636854"/>
                        </a:cubicBezTo>
                        <a:close/>
                      </a:path>
                    </a:pathLst>
                  </a:custGeom>
                  <a:grpFill/>
                  <a:ln w="2826" cap="flat">
                    <a:noFill/>
                    <a:prstDash val="solid"/>
                    <a:miter/>
                  </a:ln>
                </p:spPr>
                <p:txBody>
                  <a:bodyPr rtlCol="0" anchor="ctr"/>
                  <a:lstStyle/>
                  <a:p>
                    <a:endParaRPr lang="fr-CA"/>
                  </a:p>
                </p:txBody>
              </p:sp>
            </p:grpSp>
          </p:grpSp>
          <p:grpSp>
            <p:nvGrpSpPr>
              <p:cNvPr id="1702" name="Graphique 35" descr="Garçon dans un fauteuil roulant">
                <a:extLst>
                  <a:ext uri="{FF2B5EF4-FFF2-40B4-BE49-F238E27FC236}">
                    <a16:creationId xmlns:a16="http://schemas.microsoft.com/office/drawing/2014/main" id="{3CF0480D-42AB-E041-30A4-6AA53687929E}"/>
                  </a:ext>
                </a:extLst>
              </p:cNvPr>
              <p:cNvGrpSpPr/>
              <p:nvPr/>
            </p:nvGrpSpPr>
            <p:grpSpPr>
              <a:xfrm>
                <a:off x="9352242" y="3832116"/>
                <a:ext cx="154059" cy="189583"/>
                <a:chOff x="9352242" y="3832116"/>
                <a:chExt cx="154059" cy="189583"/>
              </a:xfrm>
              <a:grpFill/>
            </p:grpSpPr>
            <p:sp>
              <p:nvSpPr>
                <p:cNvPr id="1712" name="Forme libre : forme 1711">
                  <a:extLst>
                    <a:ext uri="{FF2B5EF4-FFF2-40B4-BE49-F238E27FC236}">
                      <a16:creationId xmlns:a16="http://schemas.microsoft.com/office/drawing/2014/main" id="{E770BE2D-C950-FCBC-6A84-BE9F3306F956}"/>
                    </a:ext>
                  </a:extLst>
                </p:cNvPr>
                <p:cNvSpPr/>
                <p:nvPr/>
              </p:nvSpPr>
              <p:spPr>
                <a:xfrm>
                  <a:off x="9353792" y="3844553"/>
                  <a:ext cx="148476" cy="174319"/>
                </a:xfrm>
                <a:custGeom>
                  <a:avLst/>
                  <a:gdLst>
                    <a:gd name="connsiteX0" fmla="*/ 77552 w 148476"/>
                    <a:gd name="connsiteY0" fmla="*/ 2095 h 174319"/>
                    <a:gd name="connsiteX1" fmla="*/ 129491 w 148476"/>
                    <a:gd name="connsiteY1" fmla="*/ 19427 h 174319"/>
                    <a:gd name="connsiteX2" fmla="*/ 132803 w 148476"/>
                    <a:gd name="connsiteY2" fmla="*/ 32076 h 174319"/>
                    <a:gd name="connsiteX3" fmla="*/ 149193 w 148476"/>
                    <a:gd name="connsiteY3" fmla="*/ 139009 h 174319"/>
                    <a:gd name="connsiteX4" fmla="*/ 94227 w 148476"/>
                    <a:gd name="connsiteY4" fmla="*/ 176414 h 174319"/>
                    <a:gd name="connsiteX5" fmla="*/ 33666 w 148476"/>
                    <a:gd name="connsiteY5" fmla="*/ 153286 h 174319"/>
                    <a:gd name="connsiteX6" fmla="*/ 17476 w 148476"/>
                    <a:gd name="connsiteY6" fmla="*/ 125960 h 174319"/>
                    <a:gd name="connsiteX7" fmla="*/ 10023 w 148476"/>
                    <a:gd name="connsiteY7" fmla="*/ 126960 h 174319"/>
                    <a:gd name="connsiteX8" fmla="*/ 1228 w 148476"/>
                    <a:gd name="connsiteY8" fmla="*/ 110227 h 174319"/>
                    <a:gd name="connsiteX9" fmla="*/ 12222 w 148476"/>
                    <a:gd name="connsiteY9" fmla="*/ 91439 h 174319"/>
                    <a:gd name="connsiteX10" fmla="*/ 18218 w 148476"/>
                    <a:gd name="connsiteY10" fmla="*/ 22882 h 174319"/>
                    <a:gd name="connsiteX11" fmla="*/ 77552 w 148476"/>
                    <a:gd name="connsiteY11" fmla="*/ 2095 h 1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476" h="174319">
                      <a:moveTo>
                        <a:pt x="77552" y="2095"/>
                      </a:moveTo>
                      <a:cubicBezTo>
                        <a:pt x="96369" y="2095"/>
                        <a:pt x="119840" y="7891"/>
                        <a:pt x="129491" y="19427"/>
                      </a:cubicBezTo>
                      <a:cubicBezTo>
                        <a:pt x="131832" y="22197"/>
                        <a:pt x="132289" y="29164"/>
                        <a:pt x="132803" y="32076"/>
                      </a:cubicBezTo>
                      <a:cubicBezTo>
                        <a:pt x="135830" y="49751"/>
                        <a:pt x="152848" y="117251"/>
                        <a:pt x="149193" y="139009"/>
                      </a:cubicBezTo>
                      <a:cubicBezTo>
                        <a:pt x="145538" y="160738"/>
                        <a:pt x="125807" y="176414"/>
                        <a:pt x="94227" y="176414"/>
                      </a:cubicBezTo>
                      <a:cubicBezTo>
                        <a:pt x="62647" y="176414"/>
                        <a:pt x="39062" y="159196"/>
                        <a:pt x="33666" y="153286"/>
                      </a:cubicBezTo>
                      <a:cubicBezTo>
                        <a:pt x="28240" y="147347"/>
                        <a:pt x="17476" y="125960"/>
                        <a:pt x="17476" y="125960"/>
                      </a:cubicBezTo>
                      <a:cubicBezTo>
                        <a:pt x="17476" y="125960"/>
                        <a:pt x="13335" y="128359"/>
                        <a:pt x="10023" y="126960"/>
                      </a:cubicBezTo>
                      <a:cubicBezTo>
                        <a:pt x="5455" y="125018"/>
                        <a:pt x="1286" y="118251"/>
                        <a:pt x="1228" y="110227"/>
                      </a:cubicBezTo>
                      <a:cubicBezTo>
                        <a:pt x="1143" y="96436"/>
                        <a:pt x="12222" y="91439"/>
                        <a:pt x="12222" y="91439"/>
                      </a:cubicBezTo>
                      <a:cubicBezTo>
                        <a:pt x="12222" y="91439"/>
                        <a:pt x="8281" y="37044"/>
                        <a:pt x="18218" y="22882"/>
                      </a:cubicBezTo>
                      <a:cubicBezTo>
                        <a:pt x="28155" y="8720"/>
                        <a:pt x="54224" y="2095"/>
                        <a:pt x="77552" y="2095"/>
                      </a:cubicBezTo>
                      <a:close/>
                    </a:path>
                  </a:pathLst>
                </a:custGeom>
                <a:grpFill/>
                <a:ln w="2826" cap="flat">
                  <a:noFill/>
                  <a:prstDash val="solid"/>
                  <a:miter/>
                </a:ln>
              </p:spPr>
              <p:txBody>
                <a:bodyPr rtlCol="0" anchor="ctr"/>
                <a:lstStyle/>
                <a:p>
                  <a:endParaRPr lang="fr-CA"/>
                </a:p>
              </p:txBody>
            </p:sp>
            <p:sp>
              <p:nvSpPr>
                <p:cNvPr id="1713" name="Forme libre : forme 1712">
                  <a:extLst>
                    <a:ext uri="{FF2B5EF4-FFF2-40B4-BE49-F238E27FC236}">
                      <a16:creationId xmlns:a16="http://schemas.microsoft.com/office/drawing/2014/main" id="{B75048D6-7E86-F779-7F07-9D18A5C24FF0}"/>
                    </a:ext>
                  </a:extLst>
                </p:cNvPr>
                <p:cNvSpPr/>
                <p:nvPr/>
              </p:nvSpPr>
              <p:spPr>
                <a:xfrm>
                  <a:off x="9352242" y="3832116"/>
                  <a:ext cx="154059" cy="189583"/>
                </a:xfrm>
                <a:custGeom>
                  <a:avLst/>
                  <a:gdLst>
                    <a:gd name="connsiteX0" fmla="*/ 97119 w 154059"/>
                    <a:gd name="connsiteY0" fmla="*/ 191678 h 189583"/>
                    <a:gd name="connsiteX1" fmla="*/ 82671 w 154059"/>
                    <a:gd name="connsiteY1" fmla="*/ 190108 h 189583"/>
                    <a:gd name="connsiteX2" fmla="*/ 80415 w 154059"/>
                    <a:gd name="connsiteY2" fmla="*/ 182456 h 189583"/>
                    <a:gd name="connsiteX3" fmla="*/ 142690 w 154059"/>
                    <a:gd name="connsiteY3" fmla="*/ 162525 h 189583"/>
                    <a:gd name="connsiteX4" fmla="*/ 145117 w 154059"/>
                    <a:gd name="connsiteY4" fmla="*/ 124749 h 189583"/>
                    <a:gd name="connsiteX5" fmla="*/ 137208 w 154059"/>
                    <a:gd name="connsiteY5" fmla="*/ 72782 h 189583"/>
                    <a:gd name="connsiteX6" fmla="*/ 137208 w 154059"/>
                    <a:gd name="connsiteY6" fmla="*/ 72782 h 189583"/>
                    <a:gd name="connsiteX7" fmla="*/ 134095 w 154059"/>
                    <a:gd name="connsiteY7" fmla="*/ 48026 h 189583"/>
                    <a:gd name="connsiteX8" fmla="*/ 133867 w 154059"/>
                    <a:gd name="connsiteY8" fmla="*/ 41630 h 189583"/>
                    <a:gd name="connsiteX9" fmla="*/ 136608 w 154059"/>
                    <a:gd name="connsiteY9" fmla="*/ 49625 h 189583"/>
                    <a:gd name="connsiteX10" fmla="*/ 145659 w 154059"/>
                    <a:gd name="connsiteY10" fmla="*/ 88344 h 189583"/>
                    <a:gd name="connsiteX11" fmla="*/ 154026 w 154059"/>
                    <a:gd name="connsiteY11" fmla="*/ 133601 h 189583"/>
                    <a:gd name="connsiteX12" fmla="*/ 151027 w 154059"/>
                    <a:gd name="connsiteY12" fmla="*/ 164667 h 189583"/>
                    <a:gd name="connsiteX13" fmla="*/ 97119 w 154059"/>
                    <a:gd name="connsiteY13" fmla="*/ 191678 h 189583"/>
                    <a:gd name="connsiteX14" fmla="*/ 44666 w 154059"/>
                    <a:gd name="connsiteY14" fmla="*/ 173490 h 189583"/>
                    <a:gd name="connsiteX15" fmla="*/ 19396 w 154059"/>
                    <a:gd name="connsiteY15" fmla="*/ 139968 h 189583"/>
                    <a:gd name="connsiteX16" fmla="*/ 12686 w 154059"/>
                    <a:gd name="connsiteY16" fmla="*/ 142652 h 189583"/>
                    <a:gd name="connsiteX17" fmla="*/ 8060 w 154059"/>
                    <a:gd name="connsiteY17" fmla="*/ 106304 h 189583"/>
                    <a:gd name="connsiteX18" fmla="*/ 7718 w 154059"/>
                    <a:gd name="connsiteY18" fmla="*/ 60760 h 189583"/>
                    <a:gd name="connsiteX19" fmla="*/ 10887 w 154059"/>
                    <a:gd name="connsiteY19" fmla="*/ 36947 h 189583"/>
                    <a:gd name="connsiteX20" fmla="*/ 33330 w 154059"/>
                    <a:gd name="connsiteY20" fmla="*/ 2997 h 189583"/>
                    <a:gd name="connsiteX21" fmla="*/ 43866 w 154059"/>
                    <a:gd name="connsiteY21" fmla="*/ 2112 h 189583"/>
                    <a:gd name="connsiteX22" fmla="*/ 109282 w 154059"/>
                    <a:gd name="connsiteY22" fmla="*/ 3568 h 189583"/>
                    <a:gd name="connsiteX23" fmla="*/ 126871 w 154059"/>
                    <a:gd name="connsiteY23" fmla="*/ 3825 h 189583"/>
                    <a:gd name="connsiteX24" fmla="*/ 138835 w 154059"/>
                    <a:gd name="connsiteY24" fmla="*/ 7851 h 189583"/>
                    <a:gd name="connsiteX25" fmla="*/ 142062 w 154059"/>
                    <a:gd name="connsiteY25" fmla="*/ 8136 h 189583"/>
                    <a:gd name="connsiteX26" fmla="*/ 144546 w 154059"/>
                    <a:gd name="connsiteY26" fmla="*/ 12305 h 189583"/>
                    <a:gd name="connsiteX27" fmla="*/ 141862 w 154059"/>
                    <a:gd name="connsiteY27" fmla="*/ 23984 h 189583"/>
                    <a:gd name="connsiteX28" fmla="*/ 138921 w 154059"/>
                    <a:gd name="connsiteY28" fmla="*/ 38889 h 189583"/>
                    <a:gd name="connsiteX29" fmla="*/ 132011 w 154059"/>
                    <a:gd name="connsiteY29" fmla="*/ 37318 h 189583"/>
                    <a:gd name="connsiteX30" fmla="*/ 38099 w 154059"/>
                    <a:gd name="connsiteY30" fmla="*/ 46627 h 189583"/>
                    <a:gd name="connsiteX31" fmla="*/ 36014 w 154059"/>
                    <a:gd name="connsiteY31" fmla="*/ 53137 h 189583"/>
                    <a:gd name="connsiteX32" fmla="*/ 37413 w 154059"/>
                    <a:gd name="connsiteY32" fmla="*/ 56792 h 189583"/>
                    <a:gd name="connsiteX33" fmla="*/ 40526 w 154059"/>
                    <a:gd name="connsiteY33" fmla="*/ 65415 h 189583"/>
                    <a:gd name="connsiteX34" fmla="*/ 35015 w 154059"/>
                    <a:gd name="connsiteY34" fmla="*/ 73296 h 189583"/>
                    <a:gd name="connsiteX35" fmla="*/ 27419 w 154059"/>
                    <a:gd name="connsiteY35" fmla="*/ 89457 h 189583"/>
                    <a:gd name="connsiteX36" fmla="*/ 27933 w 154059"/>
                    <a:gd name="connsiteY36" fmla="*/ 105361 h 189583"/>
                    <a:gd name="connsiteX37" fmla="*/ 23622 w 154059"/>
                    <a:gd name="connsiteY37" fmla="*/ 109416 h 189583"/>
                    <a:gd name="connsiteX38" fmla="*/ 22851 w 154059"/>
                    <a:gd name="connsiteY38" fmla="*/ 109131 h 189583"/>
                    <a:gd name="connsiteX39" fmla="*/ 12486 w 154059"/>
                    <a:gd name="connsiteY39" fmla="*/ 108759 h 189583"/>
                    <a:gd name="connsiteX40" fmla="*/ 13200 w 154059"/>
                    <a:gd name="connsiteY40" fmla="*/ 135542 h 189583"/>
                    <a:gd name="connsiteX41" fmla="*/ 19910 w 154059"/>
                    <a:gd name="connsiteY41" fmla="*/ 138683 h 189583"/>
                    <a:gd name="connsiteX42" fmla="*/ 46864 w 154059"/>
                    <a:gd name="connsiteY42" fmla="*/ 167522 h 189583"/>
                    <a:gd name="connsiteX43" fmla="*/ 44666 w 154059"/>
                    <a:gd name="connsiteY43" fmla="*/ 173490 h 189583"/>
                    <a:gd name="connsiteX44" fmla="*/ 21966 w 154059"/>
                    <a:gd name="connsiteY44" fmla="*/ 128804 h 189583"/>
                    <a:gd name="connsiteX45" fmla="*/ 19025 w 154059"/>
                    <a:gd name="connsiteY45" fmla="*/ 126434 h 189583"/>
                    <a:gd name="connsiteX46" fmla="*/ 11515 w 154059"/>
                    <a:gd name="connsiteY46" fmla="*/ 119695 h 189583"/>
                    <a:gd name="connsiteX47" fmla="*/ 11344 w 154059"/>
                    <a:gd name="connsiteY47" fmla="*/ 119096 h 189583"/>
                    <a:gd name="connsiteX48" fmla="*/ 21109 w 154059"/>
                    <a:gd name="connsiteY48" fmla="*/ 119609 h 189583"/>
                    <a:gd name="connsiteX49" fmla="*/ 21966 w 154059"/>
                    <a:gd name="connsiteY49" fmla="*/ 128804 h 18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4059" h="189583">
                      <a:moveTo>
                        <a:pt x="97119" y="191678"/>
                      </a:moveTo>
                      <a:cubicBezTo>
                        <a:pt x="92265" y="191678"/>
                        <a:pt x="87439" y="191136"/>
                        <a:pt x="82671" y="190108"/>
                      </a:cubicBezTo>
                      <a:cubicBezTo>
                        <a:pt x="76389" y="189594"/>
                        <a:pt x="70078" y="182085"/>
                        <a:pt x="80415" y="182456"/>
                      </a:cubicBezTo>
                      <a:cubicBezTo>
                        <a:pt x="102372" y="187453"/>
                        <a:pt x="126843" y="183741"/>
                        <a:pt x="142690" y="162525"/>
                      </a:cubicBezTo>
                      <a:cubicBezTo>
                        <a:pt x="150143" y="151161"/>
                        <a:pt x="147116" y="137541"/>
                        <a:pt x="145117" y="124749"/>
                      </a:cubicBezTo>
                      <a:cubicBezTo>
                        <a:pt x="141862" y="103991"/>
                        <a:pt x="139920" y="90628"/>
                        <a:pt x="137208" y="72782"/>
                      </a:cubicBezTo>
                      <a:lnTo>
                        <a:pt x="137208" y="72782"/>
                      </a:lnTo>
                      <a:cubicBezTo>
                        <a:pt x="135951" y="64358"/>
                        <a:pt x="134666" y="56763"/>
                        <a:pt x="134095" y="48026"/>
                      </a:cubicBezTo>
                      <a:cubicBezTo>
                        <a:pt x="133953" y="45970"/>
                        <a:pt x="133382" y="41658"/>
                        <a:pt x="133867" y="41630"/>
                      </a:cubicBezTo>
                      <a:cubicBezTo>
                        <a:pt x="134381" y="41601"/>
                        <a:pt x="135780" y="46998"/>
                        <a:pt x="136608" y="49625"/>
                      </a:cubicBezTo>
                      <a:cubicBezTo>
                        <a:pt x="140634" y="62217"/>
                        <a:pt x="142576" y="73952"/>
                        <a:pt x="145659" y="88344"/>
                      </a:cubicBezTo>
                      <a:cubicBezTo>
                        <a:pt x="148515" y="103306"/>
                        <a:pt x="151542" y="118410"/>
                        <a:pt x="154026" y="133601"/>
                      </a:cubicBezTo>
                      <a:cubicBezTo>
                        <a:pt x="155767" y="143937"/>
                        <a:pt x="156453" y="155273"/>
                        <a:pt x="151027" y="164667"/>
                      </a:cubicBezTo>
                      <a:cubicBezTo>
                        <a:pt x="140149" y="182941"/>
                        <a:pt x="117620" y="191393"/>
                        <a:pt x="97119" y="191678"/>
                      </a:cubicBezTo>
                      <a:close/>
                      <a:moveTo>
                        <a:pt x="44666" y="173490"/>
                      </a:moveTo>
                      <a:cubicBezTo>
                        <a:pt x="31503" y="169407"/>
                        <a:pt x="21794" y="153017"/>
                        <a:pt x="19396" y="139968"/>
                      </a:cubicBezTo>
                      <a:cubicBezTo>
                        <a:pt x="18368" y="142595"/>
                        <a:pt x="15199" y="143195"/>
                        <a:pt x="12686" y="142652"/>
                      </a:cubicBezTo>
                      <a:cubicBezTo>
                        <a:pt x="-1220" y="140311"/>
                        <a:pt x="-2105" y="112956"/>
                        <a:pt x="8060" y="106304"/>
                      </a:cubicBezTo>
                      <a:cubicBezTo>
                        <a:pt x="1921" y="91856"/>
                        <a:pt x="5947" y="75722"/>
                        <a:pt x="7718" y="60760"/>
                      </a:cubicBezTo>
                      <a:cubicBezTo>
                        <a:pt x="7718" y="60760"/>
                        <a:pt x="10887" y="36947"/>
                        <a:pt x="10887" y="36947"/>
                      </a:cubicBezTo>
                      <a:cubicBezTo>
                        <a:pt x="12172" y="23127"/>
                        <a:pt x="17511" y="5653"/>
                        <a:pt x="33330" y="2997"/>
                      </a:cubicBezTo>
                      <a:cubicBezTo>
                        <a:pt x="36785" y="2254"/>
                        <a:pt x="40326" y="2026"/>
                        <a:pt x="43866" y="2112"/>
                      </a:cubicBezTo>
                      <a:cubicBezTo>
                        <a:pt x="53489" y="2283"/>
                        <a:pt x="93835" y="3225"/>
                        <a:pt x="109282" y="3568"/>
                      </a:cubicBezTo>
                      <a:cubicBezTo>
                        <a:pt x="113765" y="3653"/>
                        <a:pt x="122303" y="3739"/>
                        <a:pt x="126871" y="3825"/>
                      </a:cubicBezTo>
                      <a:cubicBezTo>
                        <a:pt x="130612" y="4282"/>
                        <a:pt x="138721" y="2311"/>
                        <a:pt x="138835" y="7851"/>
                      </a:cubicBezTo>
                      <a:lnTo>
                        <a:pt x="142062" y="8136"/>
                      </a:lnTo>
                      <a:cubicBezTo>
                        <a:pt x="144089" y="8165"/>
                        <a:pt x="145488" y="10478"/>
                        <a:pt x="144546" y="12305"/>
                      </a:cubicBezTo>
                      <a:cubicBezTo>
                        <a:pt x="143432" y="14618"/>
                        <a:pt x="142576" y="19729"/>
                        <a:pt x="141862" y="23984"/>
                      </a:cubicBezTo>
                      <a:cubicBezTo>
                        <a:pt x="140577" y="29124"/>
                        <a:pt x="140463" y="34663"/>
                        <a:pt x="138921" y="38889"/>
                      </a:cubicBezTo>
                      <a:cubicBezTo>
                        <a:pt x="137208" y="41944"/>
                        <a:pt x="131554" y="41373"/>
                        <a:pt x="132011" y="37318"/>
                      </a:cubicBezTo>
                      <a:cubicBezTo>
                        <a:pt x="100459" y="36291"/>
                        <a:pt x="68023" y="36947"/>
                        <a:pt x="38099" y="46627"/>
                      </a:cubicBezTo>
                      <a:cubicBezTo>
                        <a:pt x="35700" y="48083"/>
                        <a:pt x="35757" y="50738"/>
                        <a:pt x="36014" y="53137"/>
                      </a:cubicBezTo>
                      <a:cubicBezTo>
                        <a:pt x="36185" y="55450"/>
                        <a:pt x="37070" y="55050"/>
                        <a:pt x="37413" y="56792"/>
                      </a:cubicBezTo>
                      <a:cubicBezTo>
                        <a:pt x="38184" y="59733"/>
                        <a:pt x="39127" y="62674"/>
                        <a:pt x="40526" y="65415"/>
                      </a:cubicBezTo>
                      <a:cubicBezTo>
                        <a:pt x="43324" y="69355"/>
                        <a:pt x="38841" y="73067"/>
                        <a:pt x="35015" y="73296"/>
                      </a:cubicBezTo>
                      <a:cubicBezTo>
                        <a:pt x="27305" y="73895"/>
                        <a:pt x="27848" y="83518"/>
                        <a:pt x="27419" y="89457"/>
                      </a:cubicBezTo>
                      <a:cubicBezTo>
                        <a:pt x="27048" y="94768"/>
                        <a:pt x="27477" y="100079"/>
                        <a:pt x="27933" y="105361"/>
                      </a:cubicBezTo>
                      <a:cubicBezTo>
                        <a:pt x="28305" y="108502"/>
                        <a:pt x="25906" y="111557"/>
                        <a:pt x="23622" y="109416"/>
                      </a:cubicBezTo>
                      <a:cubicBezTo>
                        <a:pt x="23308" y="109131"/>
                        <a:pt x="23136" y="109473"/>
                        <a:pt x="22851" y="109131"/>
                      </a:cubicBezTo>
                      <a:cubicBezTo>
                        <a:pt x="20224" y="106104"/>
                        <a:pt x="15570" y="106503"/>
                        <a:pt x="12486" y="108759"/>
                      </a:cubicBezTo>
                      <a:cubicBezTo>
                        <a:pt x="5462" y="113156"/>
                        <a:pt x="6319" y="132316"/>
                        <a:pt x="13200" y="135542"/>
                      </a:cubicBezTo>
                      <a:cubicBezTo>
                        <a:pt x="15142" y="136342"/>
                        <a:pt x="20795" y="135257"/>
                        <a:pt x="19910" y="138683"/>
                      </a:cubicBezTo>
                      <a:cubicBezTo>
                        <a:pt x="25335" y="148705"/>
                        <a:pt x="35072" y="162639"/>
                        <a:pt x="46864" y="167522"/>
                      </a:cubicBezTo>
                      <a:cubicBezTo>
                        <a:pt x="50691" y="168636"/>
                        <a:pt x="48007" y="173947"/>
                        <a:pt x="44666" y="173490"/>
                      </a:cubicBezTo>
                      <a:close/>
                      <a:moveTo>
                        <a:pt x="21966" y="128804"/>
                      </a:moveTo>
                      <a:cubicBezTo>
                        <a:pt x="20567" y="128861"/>
                        <a:pt x="19282" y="127804"/>
                        <a:pt x="19025" y="126434"/>
                      </a:cubicBezTo>
                      <a:cubicBezTo>
                        <a:pt x="18225" y="123122"/>
                        <a:pt x="14941" y="120152"/>
                        <a:pt x="11515" y="119695"/>
                      </a:cubicBezTo>
                      <a:cubicBezTo>
                        <a:pt x="11230" y="119667"/>
                        <a:pt x="11030" y="119210"/>
                        <a:pt x="11344" y="119096"/>
                      </a:cubicBezTo>
                      <a:cubicBezTo>
                        <a:pt x="14485" y="117525"/>
                        <a:pt x="18168" y="117725"/>
                        <a:pt x="21109" y="119609"/>
                      </a:cubicBezTo>
                      <a:cubicBezTo>
                        <a:pt x="24935" y="121780"/>
                        <a:pt x="28448" y="128061"/>
                        <a:pt x="21966" y="128804"/>
                      </a:cubicBezTo>
                      <a:close/>
                    </a:path>
                  </a:pathLst>
                </a:custGeom>
                <a:grpFill/>
                <a:ln w="2826" cap="flat">
                  <a:noFill/>
                  <a:prstDash val="solid"/>
                  <a:miter/>
                </a:ln>
              </p:spPr>
              <p:txBody>
                <a:bodyPr rtlCol="0" anchor="ctr"/>
                <a:lstStyle/>
                <a:p>
                  <a:endParaRPr lang="fr-CA"/>
                </a:p>
              </p:txBody>
            </p:sp>
          </p:grpSp>
          <p:grpSp>
            <p:nvGrpSpPr>
              <p:cNvPr id="1703" name="Graphique 35" descr="Garçon dans un fauteuil roulant">
                <a:extLst>
                  <a:ext uri="{FF2B5EF4-FFF2-40B4-BE49-F238E27FC236}">
                    <a16:creationId xmlns:a16="http://schemas.microsoft.com/office/drawing/2014/main" id="{4DED3726-FEDF-6876-A2DC-A393E5AF0684}"/>
                  </a:ext>
                </a:extLst>
              </p:cNvPr>
              <p:cNvGrpSpPr/>
              <p:nvPr/>
            </p:nvGrpSpPr>
            <p:grpSpPr>
              <a:xfrm>
                <a:off x="9408469" y="3907926"/>
                <a:ext cx="79331" cy="83686"/>
                <a:chOff x="9408469" y="3907926"/>
                <a:chExt cx="79331" cy="83686"/>
              </a:xfrm>
              <a:grpFill/>
            </p:grpSpPr>
            <p:sp>
              <p:nvSpPr>
                <p:cNvPr id="1704" name="Forme libre : forme 1703">
                  <a:extLst>
                    <a:ext uri="{FF2B5EF4-FFF2-40B4-BE49-F238E27FC236}">
                      <a16:creationId xmlns:a16="http://schemas.microsoft.com/office/drawing/2014/main" id="{22A072B9-68E7-B377-6134-BD353603A1E1}"/>
                    </a:ext>
                  </a:extLst>
                </p:cNvPr>
                <p:cNvSpPr/>
                <p:nvPr/>
              </p:nvSpPr>
              <p:spPr>
                <a:xfrm>
                  <a:off x="9413190" y="3960732"/>
                  <a:ext cx="64888" cy="27596"/>
                </a:xfrm>
                <a:custGeom>
                  <a:avLst/>
                  <a:gdLst>
                    <a:gd name="connsiteX0" fmla="*/ 8773 w 64888"/>
                    <a:gd name="connsiteY0" fmla="*/ 2387 h 27596"/>
                    <a:gd name="connsiteX1" fmla="*/ 43265 w 64888"/>
                    <a:gd name="connsiteY1" fmla="*/ 3186 h 27596"/>
                    <a:gd name="connsiteX2" fmla="*/ 62910 w 64888"/>
                    <a:gd name="connsiteY2" fmla="*/ 3415 h 27596"/>
                    <a:gd name="connsiteX3" fmla="*/ 56000 w 64888"/>
                    <a:gd name="connsiteY3" fmla="*/ 25658 h 27596"/>
                    <a:gd name="connsiteX4" fmla="*/ 6032 w 64888"/>
                    <a:gd name="connsiteY4" fmla="*/ 25258 h 27596"/>
                    <a:gd name="connsiteX5" fmla="*/ 8773 w 64888"/>
                    <a:gd name="connsiteY5" fmla="*/ 2387 h 2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88" h="27596">
                      <a:moveTo>
                        <a:pt x="8773" y="2387"/>
                      </a:moveTo>
                      <a:cubicBezTo>
                        <a:pt x="13199" y="-297"/>
                        <a:pt x="30245" y="2472"/>
                        <a:pt x="43265" y="3186"/>
                      </a:cubicBezTo>
                      <a:cubicBezTo>
                        <a:pt x="53716" y="1816"/>
                        <a:pt x="60540" y="1816"/>
                        <a:pt x="62910" y="3415"/>
                      </a:cubicBezTo>
                      <a:cubicBezTo>
                        <a:pt x="68250" y="7012"/>
                        <a:pt x="68992" y="18491"/>
                        <a:pt x="56000" y="25658"/>
                      </a:cubicBezTo>
                      <a:cubicBezTo>
                        <a:pt x="49890" y="28770"/>
                        <a:pt x="11828" y="31054"/>
                        <a:pt x="6032" y="25258"/>
                      </a:cubicBezTo>
                      <a:cubicBezTo>
                        <a:pt x="-1021" y="18205"/>
                        <a:pt x="806" y="7184"/>
                        <a:pt x="8773" y="2387"/>
                      </a:cubicBezTo>
                      <a:close/>
                    </a:path>
                  </a:pathLst>
                </a:custGeom>
                <a:grpFill/>
                <a:ln w="2826" cap="flat">
                  <a:noFill/>
                  <a:prstDash val="solid"/>
                  <a:miter/>
                </a:ln>
              </p:spPr>
              <p:txBody>
                <a:bodyPr rtlCol="0" anchor="ctr"/>
                <a:lstStyle/>
                <a:p>
                  <a:endParaRPr lang="fr-CA"/>
                </a:p>
              </p:txBody>
            </p:sp>
            <p:grpSp>
              <p:nvGrpSpPr>
                <p:cNvPr id="1705" name="Graphique 35" descr="Garçon dans un fauteuil roulant">
                  <a:extLst>
                    <a:ext uri="{FF2B5EF4-FFF2-40B4-BE49-F238E27FC236}">
                      <a16:creationId xmlns:a16="http://schemas.microsoft.com/office/drawing/2014/main" id="{97CC6F03-1929-3060-C285-8B11C8F06484}"/>
                    </a:ext>
                  </a:extLst>
                </p:cNvPr>
                <p:cNvGrpSpPr/>
                <p:nvPr/>
              </p:nvGrpSpPr>
              <p:grpSpPr>
                <a:xfrm>
                  <a:off x="9408469" y="3907926"/>
                  <a:ext cx="79331" cy="83686"/>
                  <a:chOff x="9408469" y="3907926"/>
                  <a:chExt cx="79331" cy="83686"/>
                </a:xfrm>
                <a:grpFill/>
              </p:grpSpPr>
              <p:sp>
                <p:nvSpPr>
                  <p:cNvPr id="1706" name="Forme libre : forme 1705">
                    <a:extLst>
                      <a:ext uri="{FF2B5EF4-FFF2-40B4-BE49-F238E27FC236}">
                        <a16:creationId xmlns:a16="http://schemas.microsoft.com/office/drawing/2014/main" id="{F23FBFFA-44D5-9935-300B-4227C49B0BDA}"/>
                      </a:ext>
                    </a:extLst>
                  </p:cNvPr>
                  <p:cNvSpPr/>
                  <p:nvPr/>
                </p:nvSpPr>
                <p:spPr>
                  <a:xfrm>
                    <a:off x="9410128" y="3957123"/>
                    <a:ext cx="71444" cy="34489"/>
                  </a:xfrm>
                  <a:custGeom>
                    <a:avLst/>
                    <a:gdLst>
                      <a:gd name="connsiteX0" fmla="*/ 69656 w 71444"/>
                      <a:gd name="connsiteY0" fmla="*/ 6709 h 34489"/>
                      <a:gd name="connsiteX1" fmla="*/ 61775 w 71444"/>
                      <a:gd name="connsiteY1" fmla="*/ 2911 h 34489"/>
                      <a:gd name="connsiteX2" fmla="*/ 52324 w 71444"/>
                      <a:gd name="connsiteY2" fmla="*/ 3368 h 34489"/>
                      <a:gd name="connsiteX3" fmla="*/ 51125 w 71444"/>
                      <a:gd name="connsiteY3" fmla="*/ 4967 h 34489"/>
                      <a:gd name="connsiteX4" fmla="*/ 9408 w 71444"/>
                      <a:gd name="connsiteY4" fmla="*/ 4025 h 34489"/>
                      <a:gd name="connsiteX5" fmla="*/ 13634 w 71444"/>
                      <a:gd name="connsiteY5" fmla="*/ 34092 h 34489"/>
                      <a:gd name="connsiteX6" fmla="*/ 38533 w 71444"/>
                      <a:gd name="connsiteY6" fmla="*/ 35719 h 34489"/>
                      <a:gd name="connsiteX7" fmla="*/ 72255 w 71444"/>
                      <a:gd name="connsiteY7" fmla="*/ 20186 h 34489"/>
                      <a:gd name="connsiteX8" fmla="*/ 69656 w 71444"/>
                      <a:gd name="connsiteY8" fmla="*/ 6709 h 34489"/>
                      <a:gd name="connsiteX9" fmla="*/ 22486 w 71444"/>
                      <a:gd name="connsiteY9" fmla="*/ 7023 h 34489"/>
                      <a:gd name="connsiteX10" fmla="*/ 22486 w 71444"/>
                      <a:gd name="connsiteY10" fmla="*/ 7023 h 34489"/>
                      <a:gd name="connsiteX11" fmla="*/ 31337 w 71444"/>
                      <a:gd name="connsiteY11" fmla="*/ 7708 h 34489"/>
                      <a:gd name="connsiteX12" fmla="*/ 33079 w 71444"/>
                      <a:gd name="connsiteY12" fmla="*/ 7908 h 34489"/>
                      <a:gd name="connsiteX13" fmla="*/ 32851 w 71444"/>
                      <a:gd name="connsiteY13" fmla="*/ 12391 h 34489"/>
                      <a:gd name="connsiteX14" fmla="*/ 32822 w 71444"/>
                      <a:gd name="connsiteY14" fmla="*/ 17302 h 34489"/>
                      <a:gd name="connsiteX15" fmla="*/ 19773 w 71444"/>
                      <a:gd name="connsiteY15" fmla="*/ 17845 h 34489"/>
                      <a:gd name="connsiteX16" fmla="*/ 19145 w 71444"/>
                      <a:gd name="connsiteY16" fmla="*/ 12562 h 34489"/>
                      <a:gd name="connsiteX17" fmla="*/ 18460 w 71444"/>
                      <a:gd name="connsiteY17" fmla="*/ 7280 h 34489"/>
                      <a:gd name="connsiteX18" fmla="*/ 22486 w 71444"/>
                      <a:gd name="connsiteY18" fmla="*/ 7023 h 34489"/>
                      <a:gd name="connsiteX19" fmla="*/ 16775 w 71444"/>
                      <a:gd name="connsiteY19" fmla="*/ 7594 h 34489"/>
                      <a:gd name="connsiteX20" fmla="*/ 15833 w 71444"/>
                      <a:gd name="connsiteY20" fmla="*/ 18016 h 34489"/>
                      <a:gd name="connsiteX21" fmla="*/ 7752 w 71444"/>
                      <a:gd name="connsiteY21" fmla="*/ 18530 h 34489"/>
                      <a:gd name="connsiteX22" fmla="*/ 16775 w 71444"/>
                      <a:gd name="connsiteY22" fmla="*/ 7594 h 34489"/>
                      <a:gd name="connsiteX23" fmla="*/ 7838 w 71444"/>
                      <a:gd name="connsiteY23" fmla="*/ 19587 h 34489"/>
                      <a:gd name="connsiteX24" fmla="*/ 15804 w 71444"/>
                      <a:gd name="connsiteY24" fmla="*/ 19929 h 34489"/>
                      <a:gd name="connsiteX25" fmla="*/ 16261 w 71444"/>
                      <a:gd name="connsiteY25" fmla="*/ 27011 h 34489"/>
                      <a:gd name="connsiteX26" fmla="*/ 17318 w 71444"/>
                      <a:gd name="connsiteY26" fmla="*/ 28610 h 34489"/>
                      <a:gd name="connsiteX27" fmla="*/ 17575 w 71444"/>
                      <a:gd name="connsiteY27" fmla="*/ 28724 h 34489"/>
                      <a:gd name="connsiteX28" fmla="*/ 16861 w 71444"/>
                      <a:gd name="connsiteY28" fmla="*/ 28581 h 34489"/>
                      <a:gd name="connsiteX29" fmla="*/ 7838 w 71444"/>
                      <a:gd name="connsiteY29" fmla="*/ 19587 h 34489"/>
                      <a:gd name="connsiteX30" fmla="*/ 18803 w 71444"/>
                      <a:gd name="connsiteY30" fmla="*/ 28924 h 34489"/>
                      <a:gd name="connsiteX31" fmla="*/ 18803 w 71444"/>
                      <a:gd name="connsiteY31" fmla="*/ 28838 h 34489"/>
                      <a:gd name="connsiteX32" fmla="*/ 21201 w 71444"/>
                      <a:gd name="connsiteY32" fmla="*/ 25669 h 34489"/>
                      <a:gd name="connsiteX33" fmla="*/ 20487 w 71444"/>
                      <a:gd name="connsiteY33" fmla="*/ 21785 h 34489"/>
                      <a:gd name="connsiteX34" fmla="*/ 20487 w 71444"/>
                      <a:gd name="connsiteY34" fmla="*/ 21785 h 34489"/>
                      <a:gd name="connsiteX35" fmla="*/ 20145 w 71444"/>
                      <a:gd name="connsiteY35" fmla="*/ 19986 h 34489"/>
                      <a:gd name="connsiteX36" fmla="*/ 32851 w 71444"/>
                      <a:gd name="connsiteY36" fmla="*/ 19929 h 34489"/>
                      <a:gd name="connsiteX37" fmla="*/ 33022 w 71444"/>
                      <a:gd name="connsiteY37" fmla="*/ 26125 h 34489"/>
                      <a:gd name="connsiteX38" fmla="*/ 33193 w 71444"/>
                      <a:gd name="connsiteY38" fmla="*/ 29409 h 34489"/>
                      <a:gd name="connsiteX39" fmla="*/ 18803 w 71444"/>
                      <a:gd name="connsiteY39" fmla="*/ 28924 h 34489"/>
                      <a:gd name="connsiteX40" fmla="*/ 52096 w 71444"/>
                      <a:gd name="connsiteY40" fmla="*/ 20386 h 34489"/>
                      <a:gd name="connsiteX41" fmla="*/ 52096 w 71444"/>
                      <a:gd name="connsiteY41" fmla="*/ 20386 h 34489"/>
                      <a:gd name="connsiteX42" fmla="*/ 51867 w 71444"/>
                      <a:gd name="connsiteY42" fmla="*/ 24041 h 34489"/>
                      <a:gd name="connsiteX43" fmla="*/ 51582 w 71444"/>
                      <a:gd name="connsiteY43" fmla="*/ 27524 h 34489"/>
                      <a:gd name="connsiteX44" fmla="*/ 51011 w 71444"/>
                      <a:gd name="connsiteY44" fmla="*/ 28695 h 34489"/>
                      <a:gd name="connsiteX45" fmla="*/ 38733 w 71444"/>
                      <a:gd name="connsiteY45" fmla="*/ 29466 h 34489"/>
                      <a:gd name="connsiteX46" fmla="*/ 38733 w 71444"/>
                      <a:gd name="connsiteY46" fmla="*/ 29466 h 34489"/>
                      <a:gd name="connsiteX47" fmla="*/ 37905 w 71444"/>
                      <a:gd name="connsiteY47" fmla="*/ 28610 h 34489"/>
                      <a:gd name="connsiteX48" fmla="*/ 37933 w 71444"/>
                      <a:gd name="connsiteY48" fmla="*/ 28438 h 34489"/>
                      <a:gd name="connsiteX49" fmla="*/ 37790 w 71444"/>
                      <a:gd name="connsiteY49" fmla="*/ 27353 h 34489"/>
                      <a:gd name="connsiteX50" fmla="*/ 36734 w 71444"/>
                      <a:gd name="connsiteY50" fmla="*/ 19872 h 34489"/>
                      <a:gd name="connsiteX51" fmla="*/ 52153 w 71444"/>
                      <a:gd name="connsiteY51" fmla="*/ 19444 h 34489"/>
                      <a:gd name="connsiteX52" fmla="*/ 52096 w 71444"/>
                      <a:gd name="connsiteY52" fmla="*/ 20386 h 34489"/>
                      <a:gd name="connsiteX53" fmla="*/ 52381 w 71444"/>
                      <a:gd name="connsiteY53" fmla="*/ 16360 h 34489"/>
                      <a:gd name="connsiteX54" fmla="*/ 36420 w 71444"/>
                      <a:gd name="connsiteY54" fmla="*/ 17160 h 34489"/>
                      <a:gd name="connsiteX55" fmla="*/ 35649 w 71444"/>
                      <a:gd name="connsiteY55" fmla="*/ 9821 h 34489"/>
                      <a:gd name="connsiteX56" fmla="*/ 35649 w 71444"/>
                      <a:gd name="connsiteY56" fmla="*/ 9821 h 34489"/>
                      <a:gd name="connsiteX57" fmla="*/ 35506 w 71444"/>
                      <a:gd name="connsiteY57" fmla="*/ 8137 h 34489"/>
                      <a:gd name="connsiteX58" fmla="*/ 35506 w 71444"/>
                      <a:gd name="connsiteY58" fmla="*/ 8137 h 34489"/>
                      <a:gd name="connsiteX59" fmla="*/ 52381 w 71444"/>
                      <a:gd name="connsiteY59" fmla="*/ 7594 h 34489"/>
                      <a:gd name="connsiteX60" fmla="*/ 52924 w 71444"/>
                      <a:gd name="connsiteY60" fmla="*/ 7880 h 34489"/>
                      <a:gd name="connsiteX61" fmla="*/ 53095 w 71444"/>
                      <a:gd name="connsiteY61" fmla="*/ 7937 h 34489"/>
                      <a:gd name="connsiteX62" fmla="*/ 52381 w 71444"/>
                      <a:gd name="connsiteY62" fmla="*/ 16360 h 34489"/>
                      <a:gd name="connsiteX63" fmla="*/ 55522 w 71444"/>
                      <a:gd name="connsiteY63" fmla="*/ 27553 h 34489"/>
                      <a:gd name="connsiteX64" fmla="*/ 55180 w 71444"/>
                      <a:gd name="connsiteY64" fmla="*/ 24127 h 34489"/>
                      <a:gd name="connsiteX65" fmla="*/ 54922 w 71444"/>
                      <a:gd name="connsiteY65" fmla="*/ 20101 h 34489"/>
                      <a:gd name="connsiteX66" fmla="*/ 54922 w 71444"/>
                      <a:gd name="connsiteY66" fmla="*/ 20072 h 34489"/>
                      <a:gd name="connsiteX67" fmla="*/ 54866 w 71444"/>
                      <a:gd name="connsiteY67" fmla="*/ 19330 h 34489"/>
                      <a:gd name="connsiteX68" fmla="*/ 61461 w 71444"/>
                      <a:gd name="connsiteY68" fmla="*/ 19073 h 34489"/>
                      <a:gd name="connsiteX69" fmla="*/ 62261 w 71444"/>
                      <a:gd name="connsiteY69" fmla="*/ 19073 h 34489"/>
                      <a:gd name="connsiteX70" fmla="*/ 66030 w 71444"/>
                      <a:gd name="connsiteY70" fmla="*/ 18787 h 34489"/>
                      <a:gd name="connsiteX71" fmla="*/ 55522 w 71444"/>
                      <a:gd name="connsiteY71" fmla="*/ 27553 h 34489"/>
                      <a:gd name="connsiteX72" fmla="*/ 61604 w 71444"/>
                      <a:gd name="connsiteY72" fmla="*/ 15789 h 34489"/>
                      <a:gd name="connsiteX73" fmla="*/ 54637 w 71444"/>
                      <a:gd name="connsiteY73" fmla="*/ 16246 h 34489"/>
                      <a:gd name="connsiteX74" fmla="*/ 54152 w 71444"/>
                      <a:gd name="connsiteY74" fmla="*/ 8279 h 34489"/>
                      <a:gd name="connsiteX75" fmla="*/ 54152 w 71444"/>
                      <a:gd name="connsiteY75" fmla="*/ 8279 h 34489"/>
                      <a:gd name="connsiteX76" fmla="*/ 54152 w 71444"/>
                      <a:gd name="connsiteY76" fmla="*/ 8279 h 34489"/>
                      <a:gd name="connsiteX77" fmla="*/ 54152 w 71444"/>
                      <a:gd name="connsiteY77" fmla="*/ 8279 h 34489"/>
                      <a:gd name="connsiteX78" fmla="*/ 57921 w 71444"/>
                      <a:gd name="connsiteY78" fmla="*/ 8794 h 34489"/>
                      <a:gd name="connsiteX79" fmla="*/ 66772 w 71444"/>
                      <a:gd name="connsiteY79" fmla="*/ 15818 h 34489"/>
                      <a:gd name="connsiteX80" fmla="*/ 61604 w 71444"/>
                      <a:gd name="connsiteY80" fmla="*/ 15789 h 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1444" h="34489">
                        <a:moveTo>
                          <a:pt x="69656" y="6709"/>
                        </a:moveTo>
                        <a:cubicBezTo>
                          <a:pt x="67229" y="4310"/>
                          <a:pt x="64031" y="3340"/>
                          <a:pt x="61775" y="2911"/>
                        </a:cubicBezTo>
                        <a:cubicBezTo>
                          <a:pt x="58663" y="2426"/>
                          <a:pt x="55265" y="1855"/>
                          <a:pt x="52324" y="3368"/>
                        </a:cubicBezTo>
                        <a:cubicBezTo>
                          <a:pt x="51667" y="3625"/>
                          <a:pt x="51211" y="4254"/>
                          <a:pt x="51125" y="4967"/>
                        </a:cubicBezTo>
                        <a:cubicBezTo>
                          <a:pt x="37248" y="5681"/>
                          <a:pt x="22543" y="-3056"/>
                          <a:pt x="9408" y="4025"/>
                        </a:cubicBezTo>
                        <a:cubicBezTo>
                          <a:pt x="-2641" y="10764"/>
                          <a:pt x="-243" y="30751"/>
                          <a:pt x="13634" y="34092"/>
                        </a:cubicBezTo>
                        <a:cubicBezTo>
                          <a:pt x="21658" y="36433"/>
                          <a:pt x="30367" y="35462"/>
                          <a:pt x="38533" y="35719"/>
                        </a:cubicBezTo>
                        <a:cubicBezTo>
                          <a:pt x="51496" y="35891"/>
                          <a:pt x="67086" y="33692"/>
                          <a:pt x="72255" y="20186"/>
                        </a:cubicBezTo>
                        <a:cubicBezTo>
                          <a:pt x="73853" y="15675"/>
                          <a:pt x="73225" y="10135"/>
                          <a:pt x="69656" y="6709"/>
                        </a:cubicBezTo>
                        <a:close/>
                        <a:moveTo>
                          <a:pt x="22486" y="7023"/>
                        </a:moveTo>
                        <a:lnTo>
                          <a:pt x="22486" y="7023"/>
                        </a:lnTo>
                        <a:cubicBezTo>
                          <a:pt x="25455" y="7080"/>
                          <a:pt x="28397" y="7309"/>
                          <a:pt x="31337" y="7708"/>
                        </a:cubicBezTo>
                        <a:cubicBezTo>
                          <a:pt x="31566" y="7737"/>
                          <a:pt x="32822" y="7880"/>
                          <a:pt x="33079" y="7908"/>
                        </a:cubicBezTo>
                        <a:cubicBezTo>
                          <a:pt x="32879" y="9393"/>
                          <a:pt x="32822" y="10906"/>
                          <a:pt x="32851" y="12391"/>
                        </a:cubicBezTo>
                        <a:cubicBezTo>
                          <a:pt x="32879" y="14133"/>
                          <a:pt x="32822" y="15532"/>
                          <a:pt x="32822" y="17302"/>
                        </a:cubicBezTo>
                        <a:cubicBezTo>
                          <a:pt x="28482" y="17474"/>
                          <a:pt x="24142" y="17616"/>
                          <a:pt x="19773" y="17845"/>
                        </a:cubicBezTo>
                        <a:cubicBezTo>
                          <a:pt x="19431" y="15903"/>
                          <a:pt x="19259" y="14476"/>
                          <a:pt x="19145" y="12562"/>
                        </a:cubicBezTo>
                        <a:cubicBezTo>
                          <a:pt x="19088" y="10792"/>
                          <a:pt x="18859" y="9022"/>
                          <a:pt x="18460" y="7280"/>
                        </a:cubicBezTo>
                        <a:cubicBezTo>
                          <a:pt x="19802" y="7080"/>
                          <a:pt x="21087" y="7023"/>
                          <a:pt x="22486" y="7023"/>
                        </a:cubicBezTo>
                        <a:close/>
                        <a:moveTo>
                          <a:pt x="16775" y="7594"/>
                        </a:moveTo>
                        <a:cubicBezTo>
                          <a:pt x="15776" y="10992"/>
                          <a:pt x="15975" y="14590"/>
                          <a:pt x="15833" y="18016"/>
                        </a:cubicBezTo>
                        <a:cubicBezTo>
                          <a:pt x="13206" y="18102"/>
                          <a:pt x="10436" y="18216"/>
                          <a:pt x="7752" y="18530"/>
                        </a:cubicBezTo>
                        <a:cubicBezTo>
                          <a:pt x="7181" y="12934"/>
                          <a:pt x="12092" y="8337"/>
                          <a:pt x="16775" y="7594"/>
                        </a:cubicBezTo>
                        <a:close/>
                        <a:moveTo>
                          <a:pt x="7838" y="19587"/>
                        </a:moveTo>
                        <a:cubicBezTo>
                          <a:pt x="10579" y="19872"/>
                          <a:pt x="13406" y="19901"/>
                          <a:pt x="15804" y="19929"/>
                        </a:cubicBezTo>
                        <a:cubicBezTo>
                          <a:pt x="15804" y="22299"/>
                          <a:pt x="15947" y="24669"/>
                          <a:pt x="16261" y="27011"/>
                        </a:cubicBezTo>
                        <a:cubicBezTo>
                          <a:pt x="16318" y="27696"/>
                          <a:pt x="16718" y="28295"/>
                          <a:pt x="17318" y="28610"/>
                        </a:cubicBezTo>
                        <a:cubicBezTo>
                          <a:pt x="17403" y="28667"/>
                          <a:pt x="17603" y="28695"/>
                          <a:pt x="17575" y="28724"/>
                        </a:cubicBezTo>
                        <a:cubicBezTo>
                          <a:pt x="17546" y="28781"/>
                          <a:pt x="17089" y="28638"/>
                          <a:pt x="16861" y="28581"/>
                        </a:cubicBezTo>
                        <a:cubicBezTo>
                          <a:pt x="11521" y="27353"/>
                          <a:pt x="8494" y="24355"/>
                          <a:pt x="7838" y="19587"/>
                        </a:cubicBezTo>
                        <a:close/>
                        <a:moveTo>
                          <a:pt x="18803" y="28924"/>
                        </a:moveTo>
                        <a:cubicBezTo>
                          <a:pt x="18745" y="28924"/>
                          <a:pt x="18745" y="28838"/>
                          <a:pt x="18803" y="28838"/>
                        </a:cubicBezTo>
                        <a:cubicBezTo>
                          <a:pt x="20259" y="28581"/>
                          <a:pt x="21515" y="27182"/>
                          <a:pt x="21201" y="25669"/>
                        </a:cubicBezTo>
                        <a:cubicBezTo>
                          <a:pt x="20972" y="24355"/>
                          <a:pt x="20715" y="23070"/>
                          <a:pt x="20487" y="21785"/>
                        </a:cubicBezTo>
                        <a:lnTo>
                          <a:pt x="20487" y="21785"/>
                        </a:lnTo>
                        <a:cubicBezTo>
                          <a:pt x="20373" y="21186"/>
                          <a:pt x="20259" y="20586"/>
                          <a:pt x="20145" y="19986"/>
                        </a:cubicBezTo>
                        <a:cubicBezTo>
                          <a:pt x="24256" y="20072"/>
                          <a:pt x="28825" y="20015"/>
                          <a:pt x="32851" y="19929"/>
                        </a:cubicBezTo>
                        <a:cubicBezTo>
                          <a:pt x="32851" y="22014"/>
                          <a:pt x="33022" y="24041"/>
                          <a:pt x="33022" y="26125"/>
                        </a:cubicBezTo>
                        <a:cubicBezTo>
                          <a:pt x="32994" y="27210"/>
                          <a:pt x="33051" y="28324"/>
                          <a:pt x="33193" y="29409"/>
                        </a:cubicBezTo>
                        <a:cubicBezTo>
                          <a:pt x="28397" y="29438"/>
                          <a:pt x="23571" y="29609"/>
                          <a:pt x="18803" y="28924"/>
                        </a:cubicBezTo>
                        <a:close/>
                        <a:moveTo>
                          <a:pt x="52096" y="20386"/>
                        </a:moveTo>
                        <a:lnTo>
                          <a:pt x="52096" y="20386"/>
                        </a:lnTo>
                        <a:cubicBezTo>
                          <a:pt x="52010" y="21585"/>
                          <a:pt x="51925" y="22813"/>
                          <a:pt x="51867" y="24041"/>
                        </a:cubicBezTo>
                        <a:cubicBezTo>
                          <a:pt x="51867" y="25212"/>
                          <a:pt x="51753" y="26354"/>
                          <a:pt x="51582" y="27524"/>
                        </a:cubicBezTo>
                        <a:cubicBezTo>
                          <a:pt x="51239" y="27810"/>
                          <a:pt x="51039" y="28238"/>
                          <a:pt x="51011" y="28695"/>
                        </a:cubicBezTo>
                        <a:cubicBezTo>
                          <a:pt x="46928" y="29381"/>
                          <a:pt x="42844" y="29552"/>
                          <a:pt x="38733" y="29466"/>
                        </a:cubicBezTo>
                        <a:lnTo>
                          <a:pt x="38733" y="29466"/>
                        </a:lnTo>
                        <a:cubicBezTo>
                          <a:pt x="38561" y="29095"/>
                          <a:pt x="38276" y="28752"/>
                          <a:pt x="37905" y="28610"/>
                        </a:cubicBezTo>
                        <a:lnTo>
                          <a:pt x="37933" y="28438"/>
                        </a:lnTo>
                        <a:cubicBezTo>
                          <a:pt x="37933" y="28067"/>
                          <a:pt x="37876" y="27696"/>
                          <a:pt x="37790" y="27353"/>
                        </a:cubicBezTo>
                        <a:cubicBezTo>
                          <a:pt x="37305" y="24783"/>
                          <a:pt x="37048" y="22356"/>
                          <a:pt x="36734" y="19872"/>
                        </a:cubicBezTo>
                        <a:cubicBezTo>
                          <a:pt x="42017" y="19758"/>
                          <a:pt x="47213" y="19615"/>
                          <a:pt x="52153" y="19444"/>
                        </a:cubicBezTo>
                        <a:cubicBezTo>
                          <a:pt x="52153" y="19758"/>
                          <a:pt x="52124" y="20072"/>
                          <a:pt x="52096" y="20386"/>
                        </a:cubicBezTo>
                        <a:close/>
                        <a:moveTo>
                          <a:pt x="52381" y="16360"/>
                        </a:moveTo>
                        <a:cubicBezTo>
                          <a:pt x="46471" y="16674"/>
                          <a:pt x="41103" y="16931"/>
                          <a:pt x="36420" y="17160"/>
                        </a:cubicBezTo>
                        <a:cubicBezTo>
                          <a:pt x="36134" y="14675"/>
                          <a:pt x="35849" y="12134"/>
                          <a:pt x="35649" y="9821"/>
                        </a:cubicBezTo>
                        <a:lnTo>
                          <a:pt x="35649" y="9821"/>
                        </a:lnTo>
                        <a:cubicBezTo>
                          <a:pt x="35592" y="9279"/>
                          <a:pt x="35563" y="8708"/>
                          <a:pt x="35506" y="8137"/>
                        </a:cubicBezTo>
                        <a:lnTo>
                          <a:pt x="35506" y="8137"/>
                        </a:lnTo>
                        <a:cubicBezTo>
                          <a:pt x="41388" y="8622"/>
                          <a:pt x="46642" y="8365"/>
                          <a:pt x="52381" y="7594"/>
                        </a:cubicBezTo>
                        <a:cubicBezTo>
                          <a:pt x="52553" y="7708"/>
                          <a:pt x="52724" y="7794"/>
                          <a:pt x="52924" y="7880"/>
                        </a:cubicBezTo>
                        <a:lnTo>
                          <a:pt x="53095" y="7937"/>
                        </a:lnTo>
                        <a:cubicBezTo>
                          <a:pt x="52752" y="10792"/>
                          <a:pt x="52581" y="13619"/>
                          <a:pt x="52381" y="16360"/>
                        </a:cubicBezTo>
                        <a:close/>
                        <a:moveTo>
                          <a:pt x="55522" y="27553"/>
                        </a:moveTo>
                        <a:cubicBezTo>
                          <a:pt x="55322" y="26439"/>
                          <a:pt x="55208" y="25298"/>
                          <a:pt x="55180" y="24127"/>
                        </a:cubicBezTo>
                        <a:cubicBezTo>
                          <a:pt x="55123" y="22813"/>
                          <a:pt x="55008" y="21414"/>
                          <a:pt x="54922" y="20101"/>
                        </a:cubicBezTo>
                        <a:lnTo>
                          <a:pt x="54922" y="20072"/>
                        </a:lnTo>
                        <a:cubicBezTo>
                          <a:pt x="54894" y="19844"/>
                          <a:pt x="54866" y="19587"/>
                          <a:pt x="54866" y="19330"/>
                        </a:cubicBezTo>
                        <a:cubicBezTo>
                          <a:pt x="57035" y="19272"/>
                          <a:pt x="59263" y="19101"/>
                          <a:pt x="61461" y="19073"/>
                        </a:cubicBezTo>
                        <a:cubicBezTo>
                          <a:pt x="61661" y="19073"/>
                          <a:pt x="62061" y="19073"/>
                          <a:pt x="62261" y="19073"/>
                        </a:cubicBezTo>
                        <a:cubicBezTo>
                          <a:pt x="63517" y="19130"/>
                          <a:pt x="64774" y="19016"/>
                          <a:pt x="66030" y="18787"/>
                        </a:cubicBezTo>
                        <a:cubicBezTo>
                          <a:pt x="64031" y="23156"/>
                          <a:pt x="60376" y="25840"/>
                          <a:pt x="55522" y="27553"/>
                        </a:cubicBezTo>
                        <a:close/>
                        <a:moveTo>
                          <a:pt x="61604" y="15789"/>
                        </a:moveTo>
                        <a:cubicBezTo>
                          <a:pt x="59520" y="16046"/>
                          <a:pt x="56750" y="16103"/>
                          <a:pt x="54637" y="16246"/>
                        </a:cubicBezTo>
                        <a:cubicBezTo>
                          <a:pt x="54494" y="13590"/>
                          <a:pt x="54352" y="10964"/>
                          <a:pt x="54152" y="8279"/>
                        </a:cubicBezTo>
                        <a:cubicBezTo>
                          <a:pt x="54152" y="8279"/>
                          <a:pt x="54152" y="8279"/>
                          <a:pt x="54152" y="8279"/>
                        </a:cubicBezTo>
                        <a:lnTo>
                          <a:pt x="54152" y="8279"/>
                        </a:lnTo>
                        <a:lnTo>
                          <a:pt x="54152" y="8279"/>
                        </a:lnTo>
                        <a:cubicBezTo>
                          <a:pt x="55379" y="8565"/>
                          <a:pt x="56664" y="8736"/>
                          <a:pt x="57921" y="8794"/>
                        </a:cubicBezTo>
                        <a:cubicBezTo>
                          <a:pt x="62289" y="8794"/>
                          <a:pt x="67429" y="10906"/>
                          <a:pt x="66772" y="15818"/>
                        </a:cubicBezTo>
                        <a:cubicBezTo>
                          <a:pt x="65088" y="15361"/>
                          <a:pt x="63317" y="15589"/>
                          <a:pt x="61604" y="15789"/>
                        </a:cubicBezTo>
                        <a:close/>
                      </a:path>
                    </a:pathLst>
                  </a:custGeom>
                  <a:grpFill/>
                  <a:ln w="2826" cap="flat">
                    <a:noFill/>
                    <a:prstDash val="solid"/>
                    <a:miter/>
                  </a:ln>
                </p:spPr>
                <p:txBody>
                  <a:bodyPr rtlCol="0" anchor="ctr"/>
                  <a:lstStyle/>
                  <a:p>
                    <a:endParaRPr lang="fr-CA"/>
                  </a:p>
                </p:txBody>
              </p:sp>
              <p:sp>
                <p:nvSpPr>
                  <p:cNvPr id="1707" name="Forme libre : forme 1706">
                    <a:extLst>
                      <a:ext uri="{FF2B5EF4-FFF2-40B4-BE49-F238E27FC236}">
                        <a16:creationId xmlns:a16="http://schemas.microsoft.com/office/drawing/2014/main" id="{FD6A58A1-B370-76B6-2F02-F507A829948F}"/>
                      </a:ext>
                    </a:extLst>
                  </p:cNvPr>
                  <p:cNvSpPr/>
                  <p:nvPr/>
                </p:nvSpPr>
                <p:spPr>
                  <a:xfrm>
                    <a:off x="9449973" y="3937634"/>
                    <a:ext cx="19505" cy="16824"/>
                  </a:xfrm>
                  <a:custGeom>
                    <a:avLst/>
                    <a:gdLst>
                      <a:gd name="connsiteX0" fmla="*/ 7368 w 19505"/>
                      <a:gd name="connsiteY0" fmla="*/ 18061 h 16824"/>
                      <a:gd name="connsiteX1" fmla="*/ 1914 w 19505"/>
                      <a:gd name="connsiteY1" fmla="*/ 12950 h 16824"/>
                      <a:gd name="connsiteX2" fmla="*/ 4684 w 19505"/>
                      <a:gd name="connsiteY2" fmla="*/ 10894 h 16824"/>
                      <a:gd name="connsiteX3" fmla="*/ 6283 w 19505"/>
                      <a:gd name="connsiteY3" fmla="*/ 11436 h 16824"/>
                      <a:gd name="connsiteX4" fmla="*/ 8510 w 19505"/>
                      <a:gd name="connsiteY4" fmla="*/ 11951 h 16824"/>
                      <a:gd name="connsiteX5" fmla="*/ 12822 w 19505"/>
                      <a:gd name="connsiteY5" fmla="*/ 11208 h 16824"/>
                      <a:gd name="connsiteX6" fmla="*/ 16334 w 19505"/>
                      <a:gd name="connsiteY6" fmla="*/ 8667 h 16824"/>
                      <a:gd name="connsiteX7" fmla="*/ 14221 w 19505"/>
                      <a:gd name="connsiteY7" fmla="*/ 4612 h 16824"/>
                      <a:gd name="connsiteX8" fmla="*/ 11108 w 19505"/>
                      <a:gd name="connsiteY8" fmla="*/ 4127 h 16824"/>
                      <a:gd name="connsiteX9" fmla="*/ 10538 w 19505"/>
                      <a:gd name="connsiteY9" fmla="*/ 4098 h 16824"/>
                      <a:gd name="connsiteX10" fmla="*/ 6026 w 19505"/>
                      <a:gd name="connsiteY10" fmla="*/ 4498 h 16824"/>
                      <a:gd name="connsiteX11" fmla="*/ 3057 w 19505"/>
                      <a:gd name="connsiteY11" fmla="*/ 4841 h 16824"/>
                      <a:gd name="connsiteX12" fmla="*/ 2685 w 19505"/>
                      <a:gd name="connsiteY12" fmla="*/ 4555 h 16824"/>
                      <a:gd name="connsiteX13" fmla="*/ 2857 w 19505"/>
                      <a:gd name="connsiteY13" fmla="*/ 4070 h 16824"/>
                      <a:gd name="connsiteX14" fmla="*/ 7625 w 19505"/>
                      <a:gd name="connsiteY14" fmla="*/ 2128 h 16824"/>
                      <a:gd name="connsiteX15" fmla="*/ 18590 w 19505"/>
                      <a:gd name="connsiteY15" fmla="*/ 2556 h 16824"/>
                      <a:gd name="connsiteX16" fmla="*/ 19475 w 19505"/>
                      <a:gd name="connsiteY16" fmla="*/ 12778 h 16824"/>
                      <a:gd name="connsiteX17" fmla="*/ 7368 w 19505"/>
                      <a:gd name="connsiteY17" fmla="*/ 18061 h 16824"/>
                      <a:gd name="connsiteX18" fmla="*/ 7368 w 19505"/>
                      <a:gd name="connsiteY18" fmla="*/ 18061 h 1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505" h="16824">
                        <a:moveTo>
                          <a:pt x="7368" y="18061"/>
                        </a:moveTo>
                        <a:cubicBezTo>
                          <a:pt x="4113" y="18146"/>
                          <a:pt x="630" y="16234"/>
                          <a:pt x="1914" y="12950"/>
                        </a:cubicBezTo>
                        <a:cubicBezTo>
                          <a:pt x="2371" y="11836"/>
                          <a:pt x="3456" y="10922"/>
                          <a:pt x="4684" y="10894"/>
                        </a:cubicBezTo>
                        <a:cubicBezTo>
                          <a:pt x="5255" y="10922"/>
                          <a:pt x="5826" y="11094"/>
                          <a:pt x="6283" y="11436"/>
                        </a:cubicBezTo>
                        <a:cubicBezTo>
                          <a:pt x="6968" y="11808"/>
                          <a:pt x="7739" y="11979"/>
                          <a:pt x="8510" y="11951"/>
                        </a:cubicBezTo>
                        <a:cubicBezTo>
                          <a:pt x="9967" y="11893"/>
                          <a:pt x="11423" y="11636"/>
                          <a:pt x="12822" y="11208"/>
                        </a:cubicBezTo>
                        <a:cubicBezTo>
                          <a:pt x="14021" y="10865"/>
                          <a:pt x="15620" y="10009"/>
                          <a:pt x="16334" y="8667"/>
                        </a:cubicBezTo>
                        <a:cubicBezTo>
                          <a:pt x="17190" y="6925"/>
                          <a:pt x="16191" y="5240"/>
                          <a:pt x="14221" y="4612"/>
                        </a:cubicBezTo>
                        <a:cubicBezTo>
                          <a:pt x="13222" y="4298"/>
                          <a:pt x="12165" y="4127"/>
                          <a:pt x="11108" y="4127"/>
                        </a:cubicBezTo>
                        <a:cubicBezTo>
                          <a:pt x="10909" y="4098"/>
                          <a:pt x="10738" y="4098"/>
                          <a:pt x="10538" y="4098"/>
                        </a:cubicBezTo>
                        <a:cubicBezTo>
                          <a:pt x="9024" y="4127"/>
                          <a:pt x="7511" y="4269"/>
                          <a:pt x="6026" y="4498"/>
                        </a:cubicBezTo>
                        <a:cubicBezTo>
                          <a:pt x="5055" y="4641"/>
                          <a:pt x="4056" y="4784"/>
                          <a:pt x="3057" y="4841"/>
                        </a:cubicBezTo>
                        <a:cubicBezTo>
                          <a:pt x="2885" y="4869"/>
                          <a:pt x="2714" y="4726"/>
                          <a:pt x="2685" y="4555"/>
                        </a:cubicBezTo>
                        <a:cubicBezTo>
                          <a:pt x="2628" y="4384"/>
                          <a:pt x="2685" y="4155"/>
                          <a:pt x="2857" y="4070"/>
                        </a:cubicBezTo>
                        <a:cubicBezTo>
                          <a:pt x="4370" y="3242"/>
                          <a:pt x="5969" y="2585"/>
                          <a:pt x="7625" y="2128"/>
                        </a:cubicBezTo>
                        <a:cubicBezTo>
                          <a:pt x="10966" y="1129"/>
                          <a:pt x="15820" y="615"/>
                          <a:pt x="18590" y="2556"/>
                        </a:cubicBezTo>
                        <a:cubicBezTo>
                          <a:pt x="21788" y="4584"/>
                          <a:pt x="21873" y="9923"/>
                          <a:pt x="19475" y="12778"/>
                        </a:cubicBezTo>
                        <a:cubicBezTo>
                          <a:pt x="16363" y="16490"/>
                          <a:pt x="12765" y="17633"/>
                          <a:pt x="7368" y="18061"/>
                        </a:cubicBezTo>
                        <a:lnTo>
                          <a:pt x="7368" y="18061"/>
                        </a:lnTo>
                        <a:close/>
                      </a:path>
                    </a:pathLst>
                  </a:custGeom>
                  <a:grpFill/>
                  <a:ln w="2826" cap="flat">
                    <a:noFill/>
                    <a:prstDash val="solid"/>
                    <a:miter/>
                  </a:ln>
                </p:spPr>
                <p:txBody>
                  <a:bodyPr rtlCol="0" anchor="ctr"/>
                  <a:lstStyle/>
                  <a:p>
                    <a:endParaRPr lang="fr-CA"/>
                  </a:p>
                </p:txBody>
              </p:sp>
              <p:sp>
                <p:nvSpPr>
                  <p:cNvPr id="1708" name="Forme libre : forme 1707">
                    <a:extLst>
                      <a:ext uri="{FF2B5EF4-FFF2-40B4-BE49-F238E27FC236}">
                        <a16:creationId xmlns:a16="http://schemas.microsoft.com/office/drawing/2014/main" id="{F5F984E7-726F-D8B3-CEC6-DD0D9472C683}"/>
                      </a:ext>
                    </a:extLst>
                  </p:cNvPr>
                  <p:cNvSpPr/>
                  <p:nvPr/>
                </p:nvSpPr>
                <p:spPr>
                  <a:xfrm>
                    <a:off x="9465049" y="3926096"/>
                    <a:ext cx="16520" cy="15025"/>
                  </a:xfrm>
                  <a:custGeom>
                    <a:avLst/>
                    <a:gdLst>
                      <a:gd name="connsiteX0" fmla="*/ 15449 w 16520"/>
                      <a:gd name="connsiteY0" fmla="*/ 16265 h 15025"/>
                      <a:gd name="connsiteX1" fmla="*/ 14592 w 16520"/>
                      <a:gd name="connsiteY1" fmla="*/ 16150 h 15025"/>
                      <a:gd name="connsiteX2" fmla="*/ 13164 w 16520"/>
                      <a:gd name="connsiteY2" fmla="*/ 15208 h 15025"/>
                      <a:gd name="connsiteX3" fmla="*/ 12622 w 16520"/>
                      <a:gd name="connsiteY3" fmla="*/ 13609 h 15025"/>
                      <a:gd name="connsiteX4" fmla="*/ 12193 w 16520"/>
                      <a:gd name="connsiteY4" fmla="*/ 9041 h 15025"/>
                      <a:gd name="connsiteX5" fmla="*/ 9110 w 16520"/>
                      <a:gd name="connsiteY5" fmla="*/ 6414 h 15025"/>
                      <a:gd name="connsiteX6" fmla="*/ 4570 w 16520"/>
                      <a:gd name="connsiteY6" fmla="*/ 11154 h 15025"/>
                      <a:gd name="connsiteX7" fmla="*/ 1743 w 16520"/>
                      <a:gd name="connsiteY7" fmla="*/ 9041 h 15025"/>
                      <a:gd name="connsiteX8" fmla="*/ 15791 w 16520"/>
                      <a:gd name="connsiteY8" fmla="*/ 4729 h 15025"/>
                      <a:gd name="connsiteX9" fmla="*/ 17847 w 16520"/>
                      <a:gd name="connsiteY9" fmla="*/ 14323 h 15025"/>
                      <a:gd name="connsiteX10" fmla="*/ 16962 w 16520"/>
                      <a:gd name="connsiteY10" fmla="*/ 15665 h 15025"/>
                      <a:gd name="connsiteX11" fmla="*/ 15449 w 16520"/>
                      <a:gd name="connsiteY11" fmla="*/ 16265 h 15025"/>
                      <a:gd name="connsiteX12" fmla="*/ 15449 w 16520"/>
                      <a:gd name="connsiteY12" fmla="*/ 16265 h 1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20" h="15025">
                        <a:moveTo>
                          <a:pt x="15449" y="16265"/>
                        </a:moveTo>
                        <a:cubicBezTo>
                          <a:pt x="15163" y="16265"/>
                          <a:pt x="14849" y="16236"/>
                          <a:pt x="14592" y="16150"/>
                        </a:cubicBezTo>
                        <a:cubicBezTo>
                          <a:pt x="14021" y="16008"/>
                          <a:pt x="13535" y="15665"/>
                          <a:pt x="13164" y="15208"/>
                        </a:cubicBezTo>
                        <a:cubicBezTo>
                          <a:pt x="12793" y="14751"/>
                          <a:pt x="12593" y="14180"/>
                          <a:pt x="12622" y="13609"/>
                        </a:cubicBezTo>
                        <a:cubicBezTo>
                          <a:pt x="12708" y="12267"/>
                          <a:pt x="12765" y="10583"/>
                          <a:pt x="12193" y="9041"/>
                        </a:cubicBezTo>
                        <a:cubicBezTo>
                          <a:pt x="11737" y="7642"/>
                          <a:pt x="10538" y="6642"/>
                          <a:pt x="9110" y="6414"/>
                        </a:cubicBezTo>
                        <a:cubicBezTo>
                          <a:pt x="6369" y="5786"/>
                          <a:pt x="4570" y="8555"/>
                          <a:pt x="4570" y="11154"/>
                        </a:cubicBezTo>
                        <a:cubicBezTo>
                          <a:pt x="3941" y="13038"/>
                          <a:pt x="1800" y="10011"/>
                          <a:pt x="1743" y="9041"/>
                        </a:cubicBezTo>
                        <a:cubicBezTo>
                          <a:pt x="458" y="874"/>
                          <a:pt x="11680" y="-1410"/>
                          <a:pt x="15791" y="4729"/>
                        </a:cubicBezTo>
                        <a:cubicBezTo>
                          <a:pt x="17904" y="7442"/>
                          <a:pt x="18647" y="10982"/>
                          <a:pt x="17847" y="14323"/>
                        </a:cubicBezTo>
                        <a:cubicBezTo>
                          <a:pt x="17704" y="14837"/>
                          <a:pt x="17390" y="15322"/>
                          <a:pt x="16962" y="15665"/>
                        </a:cubicBezTo>
                        <a:cubicBezTo>
                          <a:pt x="16534" y="16036"/>
                          <a:pt x="16020" y="16265"/>
                          <a:pt x="15449" y="16265"/>
                        </a:cubicBezTo>
                        <a:lnTo>
                          <a:pt x="15449" y="16265"/>
                        </a:lnTo>
                        <a:close/>
                      </a:path>
                    </a:pathLst>
                  </a:custGeom>
                  <a:grpFill/>
                  <a:ln w="2826" cap="flat">
                    <a:noFill/>
                    <a:prstDash val="solid"/>
                    <a:miter/>
                  </a:ln>
                </p:spPr>
                <p:txBody>
                  <a:bodyPr rtlCol="0" anchor="ctr"/>
                  <a:lstStyle/>
                  <a:p>
                    <a:endParaRPr lang="fr-CA"/>
                  </a:p>
                </p:txBody>
              </p:sp>
              <p:sp>
                <p:nvSpPr>
                  <p:cNvPr id="1709" name="Forme libre : forme 1708">
                    <a:extLst>
                      <a:ext uri="{FF2B5EF4-FFF2-40B4-BE49-F238E27FC236}">
                        <a16:creationId xmlns:a16="http://schemas.microsoft.com/office/drawing/2014/main" id="{35CF1575-338E-2FB1-DEDC-C9EB48A82961}"/>
                      </a:ext>
                    </a:extLst>
                  </p:cNvPr>
                  <p:cNvSpPr/>
                  <p:nvPr/>
                </p:nvSpPr>
                <p:spPr>
                  <a:xfrm>
                    <a:off x="9415068" y="3927226"/>
                    <a:ext cx="20723" cy="12695"/>
                  </a:xfrm>
                  <a:custGeom>
                    <a:avLst/>
                    <a:gdLst>
                      <a:gd name="connsiteX0" fmla="*/ 3754 w 20723"/>
                      <a:gd name="connsiteY0" fmla="*/ 13935 h 12695"/>
                      <a:gd name="connsiteX1" fmla="*/ 1641 w 20723"/>
                      <a:gd name="connsiteY1" fmla="*/ 10908 h 12695"/>
                      <a:gd name="connsiteX2" fmla="*/ 20829 w 20723"/>
                      <a:gd name="connsiteY2" fmla="*/ 6968 h 12695"/>
                      <a:gd name="connsiteX3" fmla="*/ 20972 w 20723"/>
                      <a:gd name="connsiteY3" fmla="*/ 12250 h 12695"/>
                      <a:gd name="connsiteX4" fmla="*/ 15918 w 20723"/>
                      <a:gd name="connsiteY4" fmla="*/ 10994 h 12695"/>
                      <a:gd name="connsiteX5" fmla="*/ 6181 w 20723"/>
                      <a:gd name="connsiteY5" fmla="*/ 10937 h 12695"/>
                      <a:gd name="connsiteX6" fmla="*/ 4268 w 20723"/>
                      <a:gd name="connsiteY6" fmla="*/ 13735 h 12695"/>
                      <a:gd name="connsiteX7" fmla="*/ 3754 w 20723"/>
                      <a:gd name="connsiteY7" fmla="*/ 13935 h 1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23" h="12695">
                        <a:moveTo>
                          <a:pt x="3754" y="13935"/>
                        </a:moveTo>
                        <a:cubicBezTo>
                          <a:pt x="2241" y="13649"/>
                          <a:pt x="1698" y="11936"/>
                          <a:pt x="1641" y="10908"/>
                        </a:cubicBezTo>
                        <a:cubicBezTo>
                          <a:pt x="1869" y="-28"/>
                          <a:pt x="16003" y="-2169"/>
                          <a:pt x="20829" y="6968"/>
                        </a:cubicBezTo>
                        <a:cubicBezTo>
                          <a:pt x="23342" y="7596"/>
                          <a:pt x="22314" y="10851"/>
                          <a:pt x="20972" y="12250"/>
                        </a:cubicBezTo>
                        <a:cubicBezTo>
                          <a:pt x="19516" y="13906"/>
                          <a:pt x="16489" y="13079"/>
                          <a:pt x="15918" y="10994"/>
                        </a:cubicBezTo>
                        <a:cubicBezTo>
                          <a:pt x="14376" y="5826"/>
                          <a:pt x="7865" y="5997"/>
                          <a:pt x="6181" y="10937"/>
                        </a:cubicBezTo>
                        <a:cubicBezTo>
                          <a:pt x="5724" y="11965"/>
                          <a:pt x="5067" y="12936"/>
                          <a:pt x="4268" y="13735"/>
                        </a:cubicBezTo>
                        <a:cubicBezTo>
                          <a:pt x="4125" y="13849"/>
                          <a:pt x="3925" y="13935"/>
                          <a:pt x="3754" y="13935"/>
                        </a:cubicBezTo>
                        <a:close/>
                      </a:path>
                    </a:pathLst>
                  </a:custGeom>
                  <a:grpFill/>
                  <a:ln w="2826" cap="flat">
                    <a:noFill/>
                    <a:prstDash val="solid"/>
                    <a:miter/>
                  </a:ln>
                </p:spPr>
                <p:txBody>
                  <a:bodyPr rtlCol="0" anchor="ctr"/>
                  <a:lstStyle/>
                  <a:p>
                    <a:endParaRPr lang="fr-CA"/>
                  </a:p>
                </p:txBody>
              </p:sp>
              <p:sp>
                <p:nvSpPr>
                  <p:cNvPr id="1710" name="Forme libre : forme 1709">
                    <a:extLst>
                      <a:ext uri="{FF2B5EF4-FFF2-40B4-BE49-F238E27FC236}">
                        <a16:creationId xmlns:a16="http://schemas.microsoft.com/office/drawing/2014/main" id="{A2531AC7-5BE4-38F8-DB0C-EB6D9E06A484}"/>
                      </a:ext>
                    </a:extLst>
                  </p:cNvPr>
                  <p:cNvSpPr/>
                  <p:nvPr/>
                </p:nvSpPr>
                <p:spPr>
                  <a:xfrm>
                    <a:off x="9408469" y="3907926"/>
                    <a:ext cx="23705" cy="23030"/>
                  </a:xfrm>
                  <a:custGeom>
                    <a:avLst/>
                    <a:gdLst>
                      <a:gd name="connsiteX0" fmla="*/ 1987 w 23705"/>
                      <a:gd name="connsiteY0" fmla="*/ 24269 h 23030"/>
                      <a:gd name="connsiteX1" fmla="*/ 1730 w 23705"/>
                      <a:gd name="connsiteY1" fmla="*/ 24012 h 23030"/>
                      <a:gd name="connsiteX2" fmla="*/ 8098 w 23705"/>
                      <a:gd name="connsiteY2" fmla="*/ 5995 h 23030"/>
                      <a:gd name="connsiteX3" fmla="*/ 12923 w 23705"/>
                      <a:gd name="connsiteY3" fmla="*/ 2711 h 23030"/>
                      <a:gd name="connsiteX4" fmla="*/ 22688 w 23705"/>
                      <a:gd name="connsiteY4" fmla="*/ 2197 h 23030"/>
                      <a:gd name="connsiteX5" fmla="*/ 25230 w 23705"/>
                      <a:gd name="connsiteY5" fmla="*/ 5510 h 23030"/>
                      <a:gd name="connsiteX6" fmla="*/ 24944 w 23705"/>
                      <a:gd name="connsiteY6" fmla="*/ 7737 h 23030"/>
                      <a:gd name="connsiteX7" fmla="*/ 23145 w 23705"/>
                      <a:gd name="connsiteY7" fmla="*/ 9165 h 23030"/>
                      <a:gd name="connsiteX8" fmla="*/ 21775 w 23705"/>
                      <a:gd name="connsiteY8" fmla="*/ 9279 h 23030"/>
                      <a:gd name="connsiteX9" fmla="*/ 19262 w 23705"/>
                      <a:gd name="connsiteY9" fmla="*/ 9022 h 23030"/>
                      <a:gd name="connsiteX10" fmla="*/ 19262 w 23705"/>
                      <a:gd name="connsiteY10" fmla="*/ 9022 h 23030"/>
                      <a:gd name="connsiteX11" fmla="*/ 16721 w 23705"/>
                      <a:gd name="connsiteY11" fmla="*/ 8736 h 23030"/>
                      <a:gd name="connsiteX12" fmla="*/ 10525 w 23705"/>
                      <a:gd name="connsiteY12" fmla="*/ 10792 h 23030"/>
                      <a:gd name="connsiteX13" fmla="*/ 5043 w 23705"/>
                      <a:gd name="connsiteY13" fmla="*/ 18872 h 23030"/>
                      <a:gd name="connsiteX14" fmla="*/ 1987 w 23705"/>
                      <a:gd name="connsiteY14" fmla="*/ 24269 h 2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05" h="23030">
                        <a:moveTo>
                          <a:pt x="1987" y="24269"/>
                        </a:moveTo>
                        <a:cubicBezTo>
                          <a:pt x="1845" y="24269"/>
                          <a:pt x="1730" y="24155"/>
                          <a:pt x="1730" y="24012"/>
                        </a:cubicBezTo>
                        <a:cubicBezTo>
                          <a:pt x="1131" y="17502"/>
                          <a:pt x="3586" y="10735"/>
                          <a:pt x="8098" y="5995"/>
                        </a:cubicBezTo>
                        <a:cubicBezTo>
                          <a:pt x="9497" y="4624"/>
                          <a:pt x="11124" y="3511"/>
                          <a:pt x="12923" y="2711"/>
                        </a:cubicBezTo>
                        <a:cubicBezTo>
                          <a:pt x="15893" y="1369"/>
                          <a:pt x="19690" y="456"/>
                          <a:pt x="22688" y="2197"/>
                        </a:cubicBezTo>
                        <a:cubicBezTo>
                          <a:pt x="23888" y="2968"/>
                          <a:pt x="24773" y="4139"/>
                          <a:pt x="25230" y="5510"/>
                        </a:cubicBezTo>
                        <a:cubicBezTo>
                          <a:pt x="25458" y="6252"/>
                          <a:pt x="25344" y="7052"/>
                          <a:pt x="24944" y="7737"/>
                        </a:cubicBezTo>
                        <a:cubicBezTo>
                          <a:pt x="24573" y="8451"/>
                          <a:pt x="23916" y="8964"/>
                          <a:pt x="23145" y="9165"/>
                        </a:cubicBezTo>
                        <a:cubicBezTo>
                          <a:pt x="22688" y="9250"/>
                          <a:pt x="22232" y="9279"/>
                          <a:pt x="21775" y="9279"/>
                        </a:cubicBezTo>
                        <a:cubicBezTo>
                          <a:pt x="20918" y="9250"/>
                          <a:pt x="20090" y="9165"/>
                          <a:pt x="19262" y="9022"/>
                        </a:cubicBezTo>
                        <a:lnTo>
                          <a:pt x="19262" y="9022"/>
                        </a:lnTo>
                        <a:cubicBezTo>
                          <a:pt x="18405" y="8851"/>
                          <a:pt x="17578" y="8765"/>
                          <a:pt x="16721" y="8736"/>
                        </a:cubicBezTo>
                        <a:cubicBezTo>
                          <a:pt x="14494" y="8765"/>
                          <a:pt x="12323" y="9479"/>
                          <a:pt x="10525" y="10792"/>
                        </a:cubicBezTo>
                        <a:cubicBezTo>
                          <a:pt x="7841" y="12876"/>
                          <a:pt x="6413" y="15932"/>
                          <a:pt x="5043" y="18872"/>
                        </a:cubicBezTo>
                        <a:cubicBezTo>
                          <a:pt x="4157" y="20700"/>
                          <a:pt x="3329" y="22813"/>
                          <a:pt x="1987" y="24269"/>
                        </a:cubicBezTo>
                        <a:close/>
                      </a:path>
                    </a:pathLst>
                  </a:custGeom>
                  <a:grpFill/>
                  <a:ln w="2826" cap="flat">
                    <a:noFill/>
                    <a:prstDash val="solid"/>
                    <a:miter/>
                  </a:ln>
                </p:spPr>
                <p:txBody>
                  <a:bodyPr rtlCol="0" anchor="ctr"/>
                  <a:lstStyle/>
                  <a:p>
                    <a:endParaRPr lang="fr-CA"/>
                  </a:p>
                </p:txBody>
              </p:sp>
              <p:sp>
                <p:nvSpPr>
                  <p:cNvPr id="1711" name="Forme libre : forme 1710">
                    <a:extLst>
                      <a:ext uri="{FF2B5EF4-FFF2-40B4-BE49-F238E27FC236}">
                        <a16:creationId xmlns:a16="http://schemas.microsoft.com/office/drawing/2014/main" id="{293BAD59-B15D-D2E0-576B-0094CB11976C}"/>
                      </a:ext>
                    </a:extLst>
                  </p:cNvPr>
                  <p:cNvSpPr/>
                  <p:nvPr/>
                </p:nvSpPr>
                <p:spPr>
                  <a:xfrm>
                    <a:off x="9461120" y="3907996"/>
                    <a:ext cx="26679" cy="18163"/>
                  </a:xfrm>
                  <a:custGeom>
                    <a:avLst/>
                    <a:gdLst>
                      <a:gd name="connsiteX0" fmla="*/ 24146 w 26679"/>
                      <a:gd name="connsiteY0" fmla="*/ 19403 h 18163"/>
                      <a:gd name="connsiteX1" fmla="*/ 18578 w 26679"/>
                      <a:gd name="connsiteY1" fmla="*/ 13378 h 18163"/>
                      <a:gd name="connsiteX2" fmla="*/ 1931 w 26679"/>
                      <a:gd name="connsiteY2" fmla="*/ 6896 h 18163"/>
                      <a:gd name="connsiteX3" fmla="*/ 1646 w 26679"/>
                      <a:gd name="connsiteY3" fmla="*/ 6725 h 18163"/>
                      <a:gd name="connsiteX4" fmla="*/ 2217 w 26679"/>
                      <a:gd name="connsiteY4" fmla="*/ 5754 h 18163"/>
                      <a:gd name="connsiteX5" fmla="*/ 3958 w 26679"/>
                      <a:gd name="connsiteY5" fmla="*/ 3784 h 18163"/>
                      <a:gd name="connsiteX6" fmla="*/ 25117 w 26679"/>
                      <a:gd name="connsiteY6" fmla="*/ 9466 h 18163"/>
                      <a:gd name="connsiteX7" fmla="*/ 26202 w 26679"/>
                      <a:gd name="connsiteY7" fmla="*/ 11979 h 18163"/>
                      <a:gd name="connsiteX8" fmla="*/ 28286 w 26679"/>
                      <a:gd name="connsiteY8" fmla="*/ 14948 h 18163"/>
                      <a:gd name="connsiteX9" fmla="*/ 24146 w 26679"/>
                      <a:gd name="connsiteY9" fmla="*/ 19403 h 1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79" h="18163">
                        <a:moveTo>
                          <a:pt x="24146" y="19403"/>
                        </a:moveTo>
                        <a:cubicBezTo>
                          <a:pt x="20548" y="19260"/>
                          <a:pt x="19577" y="16062"/>
                          <a:pt x="18578" y="13378"/>
                        </a:cubicBezTo>
                        <a:cubicBezTo>
                          <a:pt x="16036" y="7296"/>
                          <a:pt x="8184" y="5212"/>
                          <a:pt x="1931" y="6896"/>
                        </a:cubicBezTo>
                        <a:cubicBezTo>
                          <a:pt x="1817" y="6896"/>
                          <a:pt x="1703" y="6810"/>
                          <a:pt x="1646" y="6725"/>
                        </a:cubicBezTo>
                        <a:cubicBezTo>
                          <a:pt x="1588" y="6353"/>
                          <a:pt x="2074" y="6039"/>
                          <a:pt x="2217" y="5754"/>
                        </a:cubicBezTo>
                        <a:cubicBezTo>
                          <a:pt x="2702" y="5011"/>
                          <a:pt x="3273" y="4355"/>
                          <a:pt x="3958" y="3784"/>
                        </a:cubicBezTo>
                        <a:cubicBezTo>
                          <a:pt x="10868" y="-1641"/>
                          <a:pt x="21176" y="2242"/>
                          <a:pt x="25117" y="9466"/>
                        </a:cubicBezTo>
                        <a:cubicBezTo>
                          <a:pt x="25545" y="10294"/>
                          <a:pt x="25773" y="11179"/>
                          <a:pt x="26202" y="11979"/>
                        </a:cubicBezTo>
                        <a:cubicBezTo>
                          <a:pt x="27315" y="12607"/>
                          <a:pt x="28086" y="13720"/>
                          <a:pt x="28286" y="14948"/>
                        </a:cubicBezTo>
                        <a:cubicBezTo>
                          <a:pt x="28629" y="17290"/>
                          <a:pt x="26373" y="19403"/>
                          <a:pt x="24146" y="19403"/>
                        </a:cubicBezTo>
                        <a:close/>
                      </a:path>
                    </a:pathLst>
                  </a:custGeom>
                  <a:grpFill/>
                  <a:ln w="2826" cap="flat">
                    <a:noFill/>
                    <a:prstDash val="solid"/>
                    <a:miter/>
                  </a:ln>
                </p:spPr>
                <p:txBody>
                  <a:bodyPr rtlCol="0" anchor="ctr"/>
                  <a:lstStyle/>
                  <a:p>
                    <a:endParaRPr lang="fr-CA"/>
                  </a:p>
                </p:txBody>
              </p:sp>
            </p:grpSp>
          </p:grpSp>
        </p:grpSp>
        <p:pic>
          <p:nvPicPr>
            <p:cNvPr id="1696" name="Graphique 1695" descr="Fille portant un sac à dos">
              <a:extLst>
                <a:ext uri="{FF2B5EF4-FFF2-40B4-BE49-F238E27FC236}">
                  <a16:creationId xmlns:a16="http://schemas.microsoft.com/office/drawing/2014/main" id="{9DA4BC2B-1D7B-28F0-F631-AF576B316C4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flipH="1">
              <a:off x="4216411" y="4975122"/>
              <a:ext cx="431158" cy="1070756"/>
            </a:xfrm>
            <a:prstGeom prst="rect">
              <a:avLst/>
            </a:prstGeom>
          </p:spPr>
        </p:pic>
        <p:pic>
          <p:nvPicPr>
            <p:cNvPr id="1697" name="Graphique 1696" descr="Garçon portant un sac à dos">
              <a:extLst>
                <a:ext uri="{FF2B5EF4-FFF2-40B4-BE49-F238E27FC236}">
                  <a16:creationId xmlns:a16="http://schemas.microsoft.com/office/drawing/2014/main" id="{6BBF9074-53AB-2E48-DA67-8DA381288C0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4500900" y="5097843"/>
              <a:ext cx="431158" cy="1070756"/>
            </a:xfrm>
            <a:prstGeom prst="rect">
              <a:avLst/>
            </a:prstGeom>
          </p:spPr>
        </p:pic>
        <p:pic>
          <p:nvPicPr>
            <p:cNvPr id="1698" name="Graphique 1697" descr="Homme en smoking">
              <a:extLst>
                <a:ext uri="{FF2B5EF4-FFF2-40B4-BE49-F238E27FC236}">
                  <a16:creationId xmlns:a16="http://schemas.microsoft.com/office/drawing/2014/main" id="{3CAC1AF7-CFEB-3601-8929-90F09B88049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flipH="1">
              <a:off x="4024533" y="4213138"/>
              <a:ext cx="479699" cy="1370568"/>
            </a:xfrm>
            <a:prstGeom prst="rect">
              <a:avLst/>
            </a:prstGeom>
          </p:spPr>
        </p:pic>
        <p:pic>
          <p:nvPicPr>
            <p:cNvPr id="1699" name="Graphique 1698" descr="Homme âgé portant une veste">
              <a:extLst>
                <a:ext uri="{FF2B5EF4-FFF2-40B4-BE49-F238E27FC236}">
                  <a16:creationId xmlns:a16="http://schemas.microsoft.com/office/drawing/2014/main" id="{8E37CCBA-F17A-6BD4-94ED-41FDEF0FE64C}"/>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flipH="1">
              <a:off x="4139263" y="2951037"/>
              <a:ext cx="428302" cy="1333448"/>
            </a:xfrm>
            <a:prstGeom prst="rect">
              <a:avLst/>
            </a:prstGeom>
          </p:spPr>
        </p:pic>
        <p:pic>
          <p:nvPicPr>
            <p:cNvPr id="1700" name="Graphique 1699" descr="Femme levant le doigt">
              <a:extLst>
                <a:ext uri="{FF2B5EF4-FFF2-40B4-BE49-F238E27FC236}">
                  <a16:creationId xmlns:a16="http://schemas.microsoft.com/office/drawing/2014/main" id="{45D1C117-923A-35BB-E38D-D71E59110236}"/>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flipH="1">
              <a:off x="3501504" y="3383977"/>
              <a:ext cx="633888" cy="1230656"/>
            </a:xfrm>
            <a:prstGeom prst="rect">
              <a:avLst/>
            </a:prstGeom>
          </p:spPr>
        </p:pic>
      </p:grpSp>
      <p:grpSp>
        <p:nvGrpSpPr>
          <p:cNvPr id="1403" name="Groupe 1402">
            <a:extLst>
              <a:ext uri="{FF2B5EF4-FFF2-40B4-BE49-F238E27FC236}">
                <a16:creationId xmlns:a16="http://schemas.microsoft.com/office/drawing/2014/main" id="{F1816C77-D75F-8EF1-3304-DD74B27649D0}"/>
              </a:ext>
            </a:extLst>
          </p:cNvPr>
          <p:cNvGrpSpPr/>
          <p:nvPr>
            <p:custDataLst>
              <p:tags r:id="rId2"/>
            </p:custDataLst>
          </p:nvPr>
        </p:nvGrpSpPr>
        <p:grpSpPr>
          <a:xfrm>
            <a:off x="855310" y="2800907"/>
            <a:ext cx="4554890" cy="3715011"/>
            <a:chOff x="3501504" y="2643317"/>
            <a:chExt cx="4554890" cy="3715011"/>
          </a:xfrm>
          <a:solidFill>
            <a:srgbClr val="000000">
              <a:alpha val="30000"/>
            </a:srgbClr>
          </a:solidFill>
        </p:grpSpPr>
        <p:pic>
          <p:nvPicPr>
            <p:cNvPr id="1305" name="Graphique 1304" descr="Homme non-voyant portant des lunettes de soleil">
              <a:extLst>
                <a:ext uri="{FF2B5EF4-FFF2-40B4-BE49-F238E27FC236}">
                  <a16:creationId xmlns:a16="http://schemas.microsoft.com/office/drawing/2014/main" id="{A9EAA24A-4730-F605-A0DC-ED3597130C0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H="1">
              <a:off x="4305733" y="2926313"/>
              <a:ext cx="730969" cy="1444807"/>
            </a:xfrm>
            <a:prstGeom prst="rect">
              <a:avLst/>
            </a:prstGeom>
          </p:spPr>
        </p:pic>
        <p:pic>
          <p:nvPicPr>
            <p:cNvPr id="7" name="Graphique 6" descr="Un bébé à quatre pattes">
              <a:extLst>
                <a:ext uri="{FF2B5EF4-FFF2-40B4-BE49-F238E27FC236}">
                  <a16:creationId xmlns:a16="http://schemas.microsoft.com/office/drawing/2014/main" id="{D841DCC1-8FDE-0C64-4BF8-A2F1BFCDBB3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flipH="1">
              <a:off x="5745541" y="4718082"/>
              <a:ext cx="396893" cy="379761"/>
            </a:xfrm>
            <a:prstGeom prst="rect">
              <a:avLst/>
            </a:prstGeom>
          </p:spPr>
        </p:pic>
        <p:pic>
          <p:nvPicPr>
            <p:cNvPr id="10" name="Graphique 9" descr="Garçon portant un sac à dos">
              <a:extLst>
                <a:ext uri="{FF2B5EF4-FFF2-40B4-BE49-F238E27FC236}">
                  <a16:creationId xmlns:a16="http://schemas.microsoft.com/office/drawing/2014/main" id="{AC942370-6A3F-314E-6095-902DCBA0FE2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7225782" y="5163816"/>
              <a:ext cx="431158" cy="1070756"/>
            </a:xfrm>
            <a:prstGeom prst="rect">
              <a:avLst/>
            </a:prstGeom>
          </p:spPr>
        </p:pic>
        <p:pic>
          <p:nvPicPr>
            <p:cNvPr id="11" name="Graphique 10" descr="Garçon portant une cape">
              <a:extLst>
                <a:ext uri="{FF2B5EF4-FFF2-40B4-BE49-F238E27FC236}">
                  <a16:creationId xmlns:a16="http://schemas.microsoft.com/office/drawing/2014/main" id="{DF537BC1-3572-BF3C-B88F-4823AE93C8F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flipH="1">
              <a:off x="7401478" y="4190813"/>
              <a:ext cx="571070" cy="1184970"/>
            </a:xfrm>
            <a:prstGeom prst="rect">
              <a:avLst/>
            </a:prstGeom>
          </p:spPr>
        </p:pic>
        <p:pic>
          <p:nvPicPr>
            <p:cNvPr id="12" name="Graphique 11" descr="Fille portant un sac à dos">
              <a:extLst>
                <a:ext uri="{FF2B5EF4-FFF2-40B4-BE49-F238E27FC236}">
                  <a16:creationId xmlns:a16="http://schemas.microsoft.com/office/drawing/2014/main" id="{BA0CAB16-F6CF-15C2-BD5B-126BDEE8426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flipH="1">
              <a:off x="7625236" y="4837482"/>
              <a:ext cx="431158" cy="1070756"/>
            </a:xfrm>
            <a:prstGeom prst="rect">
              <a:avLst/>
            </a:prstGeom>
          </p:spPr>
        </p:pic>
        <p:pic>
          <p:nvPicPr>
            <p:cNvPr id="16" name="Graphique 15" descr="Homme non-voyant portant des lunettes de soleil">
              <a:extLst>
                <a:ext uri="{FF2B5EF4-FFF2-40B4-BE49-F238E27FC236}">
                  <a16:creationId xmlns:a16="http://schemas.microsoft.com/office/drawing/2014/main" id="{DE8ED06F-1E3B-F5DB-CC15-6CFFA9052E7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H="1">
              <a:off x="7229553" y="2934628"/>
              <a:ext cx="730969" cy="1444807"/>
            </a:xfrm>
            <a:prstGeom prst="rect">
              <a:avLst/>
            </a:prstGeom>
          </p:spPr>
        </p:pic>
        <p:pic>
          <p:nvPicPr>
            <p:cNvPr id="18" name="Graphique 17" descr="Homme en smoking">
              <a:extLst>
                <a:ext uri="{FF2B5EF4-FFF2-40B4-BE49-F238E27FC236}">
                  <a16:creationId xmlns:a16="http://schemas.microsoft.com/office/drawing/2014/main" id="{997E5F86-3FE3-DC54-4B10-31496EEEC9D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flipH="1">
              <a:off x="6890458" y="4259181"/>
              <a:ext cx="479699" cy="1370568"/>
            </a:xfrm>
            <a:prstGeom prst="rect">
              <a:avLst/>
            </a:prstGeom>
          </p:spPr>
        </p:pic>
        <p:pic>
          <p:nvPicPr>
            <p:cNvPr id="19" name="Graphique 18" descr="Homme avec un Mohawk">
              <a:extLst>
                <a:ext uri="{FF2B5EF4-FFF2-40B4-BE49-F238E27FC236}">
                  <a16:creationId xmlns:a16="http://schemas.microsoft.com/office/drawing/2014/main" id="{72BCA02F-8E47-0B78-F188-9851010DFE7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flipH="1">
              <a:off x="6365862" y="3574884"/>
              <a:ext cx="414026" cy="1322027"/>
            </a:xfrm>
            <a:prstGeom prst="rect">
              <a:avLst/>
            </a:prstGeom>
          </p:spPr>
        </p:pic>
        <p:pic>
          <p:nvPicPr>
            <p:cNvPr id="20" name="Graphique 19" descr="Homme portant un collier">
              <a:extLst>
                <a:ext uri="{FF2B5EF4-FFF2-40B4-BE49-F238E27FC236}">
                  <a16:creationId xmlns:a16="http://schemas.microsoft.com/office/drawing/2014/main" id="{CF57D28C-690E-DDA3-A2C9-1205DCDC671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flipH="1">
              <a:off x="6233703" y="4597750"/>
              <a:ext cx="582491" cy="1299184"/>
            </a:xfrm>
            <a:prstGeom prst="rect">
              <a:avLst/>
            </a:prstGeom>
          </p:spPr>
        </p:pic>
        <p:pic>
          <p:nvPicPr>
            <p:cNvPr id="21" name="Graphique 20" descr="Homme avec bras prothétique">
              <a:extLst>
                <a:ext uri="{FF2B5EF4-FFF2-40B4-BE49-F238E27FC236}">
                  <a16:creationId xmlns:a16="http://schemas.microsoft.com/office/drawing/2014/main" id="{280C7A64-9415-EC5A-4540-30A88FDC689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flipH="1">
              <a:off x="5687165" y="2922124"/>
              <a:ext cx="414026" cy="1384845"/>
            </a:xfrm>
            <a:prstGeom prst="rect">
              <a:avLst/>
            </a:prstGeom>
          </p:spPr>
        </p:pic>
        <p:pic>
          <p:nvPicPr>
            <p:cNvPr id="22" name="Graphique 21" descr="Homme portant une chemise avec motif">
              <a:extLst>
                <a:ext uri="{FF2B5EF4-FFF2-40B4-BE49-F238E27FC236}">
                  <a16:creationId xmlns:a16="http://schemas.microsoft.com/office/drawing/2014/main" id="{A7339A05-3ED8-4D39-8570-05A9A717F37A}"/>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flipH="1">
              <a:off x="5344090" y="3927422"/>
              <a:ext cx="559649" cy="1362002"/>
            </a:xfrm>
            <a:prstGeom prst="rect">
              <a:avLst/>
            </a:prstGeom>
          </p:spPr>
        </p:pic>
        <p:pic>
          <p:nvPicPr>
            <p:cNvPr id="23" name="Graphique 22" descr="Homme roulant sur un scooter">
              <a:extLst>
                <a:ext uri="{FF2B5EF4-FFF2-40B4-BE49-F238E27FC236}">
                  <a16:creationId xmlns:a16="http://schemas.microsoft.com/office/drawing/2014/main" id="{9FCCA5F5-DEB0-DF83-94B5-1239579A7631}"/>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flipH="1">
              <a:off x="4849169" y="4750256"/>
              <a:ext cx="533950" cy="1461939"/>
            </a:xfrm>
            <a:prstGeom prst="rect">
              <a:avLst/>
            </a:prstGeom>
          </p:spPr>
        </p:pic>
        <p:pic>
          <p:nvPicPr>
            <p:cNvPr id="24" name="Graphique 23" descr="Homme âgé portant une veste">
              <a:extLst>
                <a:ext uri="{FF2B5EF4-FFF2-40B4-BE49-F238E27FC236}">
                  <a16:creationId xmlns:a16="http://schemas.microsoft.com/office/drawing/2014/main" id="{F299C658-D49B-64EF-E41C-B9A8D88F8FC2}"/>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flipH="1">
              <a:off x="6964465" y="2975647"/>
              <a:ext cx="428302" cy="1333448"/>
            </a:xfrm>
            <a:prstGeom prst="rect">
              <a:avLst/>
            </a:prstGeom>
          </p:spPr>
        </p:pic>
        <p:pic>
          <p:nvPicPr>
            <p:cNvPr id="25" name="Graphique 24" descr="Homme portant une tunique">
              <a:extLst>
                <a:ext uri="{FF2B5EF4-FFF2-40B4-BE49-F238E27FC236}">
                  <a16:creationId xmlns:a16="http://schemas.microsoft.com/office/drawing/2014/main" id="{6ABCD79B-4B3D-54FA-E6CF-928A1623BE23}"/>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flipH="1">
              <a:off x="4258678" y="4089671"/>
              <a:ext cx="753812" cy="1362002"/>
            </a:xfrm>
            <a:prstGeom prst="rect">
              <a:avLst/>
            </a:prstGeom>
          </p:spPr>
        </p:pic>
        <p:pic>
          <p:nvPicPr>
            <p:cNvPr id="27" name="Graphique 26" descr="Femme non-voyante utilisant un bâton">
              <a:extLst>
                <a:ext uri="{FF2B5EF4-FFF2-40B4-BE49-F238E27FC236}">
                  <a16:creationId xmlns:a16="http://schemas.microsoft.com/office/drawing/2014/main" id="{7CDB3D68-0C65-BB42-844A-FC814572DD61}"/>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flipH="1">
              <a:off x="6017699" y="4075281"/>
              <a:ext cx="476843" cy="1441951"/>
            </a:xfrm>
            <a:prstGeom prst="rect">
              <a:avLst/>
            </a:prstGeom>
          </p:spPr>
        </p:pic>
        <p:pic>
          <p:nvPicPr>
            <p:cNvPr id="29" name="Graphique 28" descr="Femme avec les mains sur la hanche">
              <a:extLst>
                <a:ext uri="{FF2B5EF4-FFF2-40B4-BE49-F238E27FC236}">
                  <a16:creationId xmlns:a16="http://schemas.microsoft.com/office/drawing/2014/main" id="{22622497-EA9D-BCBC-A55D-0711E5CF49A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flipH="1">
              <a:off x="6041392" y="2780928"/>
              <a:ext cx="513963" cy="1259209"/>
            </a:xfrm>
            <a:prstGeom prst="rect">
              <a:avLst/>
            </a:prstGeom>
          </p:spPr>
        </p:pic>
        <p:pic>
          <p:nvPicPr>
            <p:cNvPr id="30" name="Graphique 29" descr="Femme portant une robe longue">
              <a:extLst>
                <a:ext uri="{FF2B5EF4-FFF2-40B4-BE49-F238E27FC236}">
                  <a16:creationId xmlns:a16="http://schemas.microsoft.com/office/drawing/2014/main" id="{BDCBBF62-DF37-178F-6E59-7307831ABEB9}"/>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flipH="1">
              <a:off x="4868488" y="2643317"/>
              <a:ext cx="725259" cy="1421964"/>
            </a:xfrm>
            <a:prstGeom prst="rect">
              <a:avLst/>
            </a:prstGeom>
          </p:spPr>
        </p:pic>
        <p:pic>
          <p:nvPicPr>
            <p:cNvPr id="31" name="Graphique 30" descr="Femme avec main prothétique">
              <a:extLst>
                <a:ext uri="{FF2B5EF4-FFF2-40B4-BE49-F238E27FC236}">
                  <a16:creationId xmlns:a16="http://schemas.microsoft.com/office/drawing/2014/main" id="{F2A98CE6-13DD-554D-7771-4C47557CBBC5}"/>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flipH="1">
              <a:off x="4378646" y="4741492"/>
              <a:ext cx="365485" cy="1344870"/>
            </a:xfrm>
            <a:prstGeom prst="rect">
              <a:avLst/>
            </a:prstGeom>
          </p:spPr>
        </p:pic>
        <p:pic>
          <p:nvPicPr>
            <p:cNvPr id="32" name="Graphique 31" descr="Femme portant un blazer">
              <a:extLst>
                <a:ext uri="{FF2B5EF4-FFF2-40B4-BE49-F238E27FC236}">
                  <a16:creationId xmlns:a16="http://schemas.microsoft.com/office/drawing/2014/main" id="{37002CA2-CE4B-0417-E5FC-68CEEEE44165}"/>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flipH="1">
              <a:off x="5367734" y="4812568"/>
              <a:ext cx="508253" cy="1324883"/>
            </a:xfrm>
            <a:prstGeom prst="rect">
              <a:avLst/>
            </a:prstGeom>
          </p:spPr>
        </p:pic>
        <p:pic>
          <p:nvPicPr>
            <p:cNvPr id="35" name="Graphique 34" descr="Homme âgé utilisant une cane">
              <a:extLst>
                <a:ext uri="{FF2B5EF4-FFF2-40B4-BE49-F238E27FC236}">
                  <a16:creationId xmlns:a16="http://schemas.microsoft.com/office/drawing/2014/main" id="{5D36B6ED-D246-EE73-510B-E234408AE478}"/>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flipH="1">
              <a:off x="4900482" y="3507428"/>
              <a:ext cx="651020" cy="1379134"/>
            </a:xfrm>
            <a:prstGeom prst="rect">
              <a:avLst/>
            </a:prstGeom>
          </p:spPr>
        </p:pic>
        <p:grpSp>
          <p:nvGrpSpPr>
            <p:cNvPr id="1030" name="Graphique 35" descr="Garçon dans un fauteuil roulant">
              <a:extLst>
                <a:ext uri="{FF2B5EF4-FFF2-40B4-BE49-F238E27FC236}">
                  <a16:creationId xmlns:a16="http://schemas.microsoft.com/office/drawing/2014/main" id="{1260B42B-57AF-5F18-310D-0DBA012FF0A1}"/>
                </a:ext>
              </a:extLst>
            </p:cNvPr>
            <p:cNvGrpSpPr/>
            <p:nvPr/>
          </p:nvGrpSpPr>
          <p:grpSpPr>
            <a:xfrm>
              <a:off x="6596747" y="5481226"/>
              <a:ext cx="751062" cy="877102"/>
              <a:chOff x="9153323" y="3832116"/>
              <a:chExt cx="751062" cy="877102"/>
            </a:xfrm>
            <a:grpFill/>
          </p:grpSpPr>
          <p:grpSp>
            <p:nvGrpSpPr>
              <p:cNvPr id="1031" name="Graphique 35" descr="Garçon dans un fauteuil roulant">
                <a:extLst>
                  <a:ext uri="{FF2B5EF4-FFF2-40B4-BE49-F238E27FC236}">
                    <a16:creationId xmlns:a16="http://schemas.microsoft.com/office/drawing/2014/main" id="{76BC9FCA-E95E-304F-0FB3-76177F894BB4}"/>
                  </a:ext>
                </a:extLst>
              </p:cNvPr>
              <p:cNvGrpSpPr/>
              <p:nvPr/>
            </p:nvGrpSpPr>
            <p:grpSpPr>
              <a:xfrm>
                <a:off x="9153323" y="3985440"/>
                <a:ext cx="751062" cy="723778"/>
                <a:chOff x="9153323" y="3985440"/>
                <a:chExt cx="751062" cy="723778"/>
              </a:xfrm>
              <a:grpFill/>
            </p:grpSpPr>
            <p:sp>
              <p:nvSpPr>
                <p:cNvPr id="1032" name="Forme libre : forme 1031">
                  <a:extLst>
                    <a:ext uri="{FF2B5EF4-FFF2-40B4-BE49-F238E27FC236}">
                      <a16:creationId xmlns:a16="http://schemas.microsoft.com/office/drawing/2014/main" id="{9F5370E7-DCBE-1236-2274-08C08C450D31}"/>
                    </a:ext>
                  </a:extLst>
                </p:cNvPr>
                <p:cNvSpPr/>
                <p:nvPr/>
              </p:nvSpPr>
              <p:spPr>
                <a:xfrm>
                  <a:off x="9156791" y="3985719"/>
                  <a:ext cx="746079" cy="721501"/>
                </a:xfrm>
                <a:custGeom>
                  <a:avLst/>
                  <a:gdLst>
                    <a:gd name="connsiteX0" fmla="*/ 725289 w 746079"/>
                    <a:gd name="connsiteY0" fmla="*/ 643256 h 721501"/>
                    <a:gd name="connsiteX1" fmla="*/ 726086 w 746079"/>
                    <a:gd name="connsiteY1" fmla="*/ 638168 h 721501"/>
                    <a:gd name="connsiteX2" fmla="*/ 744217 w 746079"/>
                    <a:gd name="connsiteY2" fmla="*/ 637691 h 721501"/>
                    <a:gd name="connsiteX3" fmla="*/ 744694 w 746079"/>
                    <a:gd name="connsiteY3" fmla="*/ 626398 h 721501"/>
                    <a:gd name="connsiteX4" fmla="*/ 726403 w 746079"/>
                    <a:gd name="connsiteY4" fmla="*/ 626238 h 721501"/>
                    <a:gd name="connsiteX5" fmla="*/ 723222 w 746079"/>
                    <a:gd name="connsiteY5" fmla="*/ 622581 h 721501"/>
                    <a:gd name="connsiteX6" fmla="*/ 690936 w 746079"/>
                    <a:gd name="connsiteY6" fmla="*/ 624648 h 721501"/>
                    <a:gd name="connsiteX7" fmla="*/ 679963 w 746079"/>
                    <a:gd name="connsiteY7" fmla="*/ 611764 h 721501"/>
                    <a:gd name="connsiteX8" fmla="*/ 622308 w 746079"/>
                    <a:gd name="connsiteY8" fmla="*/ 388228 h 721501"/>
                    <a:gd name="connsiteX9" fmla="*/ 602109 w 746079"/>
                    <a:gd name="connsiteY9" fmla="*/ 375187 h 721501"/>
                    <a:gd name="connsiteX10" fmla="*/ 604893 w 746079"/>
                    <a:gd name="connsiteY10" fmla="*/ 342982 h 721501"/>
                    <a:gd name="connsiteX11" fmla="*/ 576203 w 746079"/>
                    <a:gd name="connsiteY11" fmla="*/ 293430 h 721501"/>
                    <a:gd name="connsiteX12" fmla="*/ 573976 w 746079"/>
                    <a:gd name="connsiteY12" fmla="*/ 250965 h 721501"/>
                    <a:gd name="connsiteX13" fmla="*/ 557594 w 746079"/>
                    <a:gd name="connsiteY13" fmla="*/ 248261 h 721501"/>
                    <a:gd name="connsiteX14" fmla="*/ 440060 w 746079"/>
                    <a:gd name="connsiteY14" fmla="*/ 214542 h 721501"/>
                    <a:gd name="connsiteX15" fmla="*/ 396321 w 746079"/>
                    <a:gd name="connsiteY15" fmla="*/ 127226 h 721501"/>
                    <a:gd name="connsiteX16" fmla="*/ 367200 w 746079"/>
                    <a:gd name="connsiteY16" fmla="*/ 65764 h 721501"/>
                    <a:gd name="connsiteX17" fmla="*/ 314239 w 746079"/>
                    <a:gd name="connsiteY17" fmla="*/ 42545 h 721501"/>
                    <a:gd name="connsiteX18" fmla="*/ 302064 w 746079"/>
                    <a:gd name="connsiteY18" fmla="*/ 24747 h 721501"/>
                    <a:gd name="connsiteX19" fmla="*/ 231933 w 746079"/>
                    <a:gd name="connsiteY19" fmla="*/ 0 h 721501"/>
                    <a:gd name="connsiteX20" fmla="*/ 231536 w 746079"/>
                    <a:gd name="connsiteY20" fmla="*/ 17812 h 721501"/>
                    <a:gd name="connsiteX21" fmla="*/ 214995 w 746079"/>
                    <a:gd name="connsiteY21" fmla="*/ 45883 h 721501"/>
                    <a:gd name="connsiteX22" fmla="*/ 190422 w 746079"/>
                    <a:gd name="connsiteY22" fmla="*/ 59720 h 721501"/>
                    <a:gd name="connsiteX23" fmla="*/ 167203 w 746079"/>
                    <a:gd name="connsiteY23" fmla="*/ 83896 h 721501"/>
                    <a:gd name="connsiteX24" fmla="*/ 124101 w 746079"/>
                    <a:gd name="connsiteY24" fmla="*/ 78965 h 721501"/>
                    <a:gd name="connsiteX25" fmla="*/ 65255 w 746079"/>
                    <a:gd name="connsiteY25" fmla="*/ 58766 h 721501"/>
                    <a:gd name="connsiteX26" fmla="*/ 63665 w 746079"/>
                    <a:gd name="connsiteY26" fmla="*/ 73557 h 721501"/>
                    <a:gd name="connsiteX27" fmla="*/ 96427 w 746079"/>
                    <a:gd name="connsiteY27" fmla="*/ 77214 h 721501"/>
                    <a:gd name="connsiteX28" fmla="*/ 111209 w 746079"/>
                    <a:gd name="connsiteY28" fmla="*/ 101882 h 721501"/>
                    <a:gd name="connsiteX29" fmla="*/ 121237 w 746079"/>
                    <a:gd name="connsiteY29" fmla="*/ 259640 h 721501"/>
                    <a:gd name="connsiteX30" fmla="*/ 117103 w 746079"/>
                    <a:gd name="connsiteY30" fmla="*/ 268865 h 721501"/>
                    <a:gd name="connsiteX31" fmla="*/ 75911 w 746079"/>
                    <a:gd name="connsiteY31" fmla="*/ 271093 h 721501"/>
                    <a:gd name="connsiteX32" fmla="*/ 14362 w 746079"/>
                    <a:gd name="connsiteY32" fmla="*/ 360157 h 721501"/>
                    <a:gd name="connsiteX33" fmla="*/ 365 w 746079"/>
                    <a:gd name="connsiteY33" fmla="*/ 435544 h 721501"/>
                    <a:gd name="connsiteX34" fmla="*/ 4659 w 746079"/>
                    <a:gd name="connsiteY34" fmla="*/ 511250 h 721501"/>
                    <a:gd name="connsiteX35" fmla="*/ 90385 w 746079"/>
                    <a:gd name="connsiteY35" fmla="*/ 647394 h 721501"/>
                    <a:gd name="connsiteX36" fmla="*/ 130623 w 746079"/>
                    <a:gd name="connsiteY36" fmla="*/ 663775 h 721501"/>
                    <a:gd name="connsiteX37" fmla="*/ 196150 w 746079"/>
                    <a:gd name="connsiteY37" fmla="*/ 625445 h 721501"/>
                    <a:gd name="connsiteX38" fmla="*/ 234480 w 746079"/>
                    <a:gd name="connsiteY38" fmla="*/ 631806 h 721501"/>
                    <a:gd name="connsiteX39" fmla="*/ 241159 w 746079"/>
                    <a:gd name="connsiteY39" fmla="*/ 631170 h 721501"/>
                    <a:gd name="connsiteX40" fmla="*/ 224938 w 746079"/>
                    <a:gd name="connsiteY40" fmla="*/ 689062 h 721501"/>
                    <a:gd name="connsiteX41" fmla="*/ 260724 w 746079"/>
                    <a:gd name="connsiteY41" fmla="*/ 720234 h 721501"/>
                    <a:gd name="connsiteX42" fmla="*/ 314798 w 746079"/>
                    <a:gd name="connsiteY42" fmla="*/ 700352 h 721501"/>
                    <a:gd name="connsiteX43" fmla="*/ 301758 w 746079"/>
                    <a:gd name="connsiteY43" fmla="*/ 627669 h 721501"/>
                    <a:gd name="connsiteX44" fmla="*/ 310415 w 746079"/>
                    <a:gd name="connsiteY44" fmla="*/ 606848 h 721501"/>
                    <a:gd name="connsiteX45" fmla="*/ 315595 w 746079"/>
                    <a:gd name="connsiteY45" fmla="*/ 580590 h 721501"/>
                    <a:gd name="connsiteX46" fmla="*/ 377782 w 746079"/>
                    <a:gd name="connsiteY46" fmla="*/ 594587 h 721501"/>
                    <a:gd name="connsiteX47" fmla="*/ 384620 w 746079"/>
                    <a:gd name="connsiteY47" fmla="*/ 652796 h 721501"/>
                    <a:gd name="connsiteX48" fmla="*/ 400208 w 746079"/>
                    <a:gd name="connsiteY48" fmla="*/ 661545 h 721501"/>
                    <a:gd name="connsiteX49" fmla="*/ 403388 w 746079"/>
                    <a:gd name="connsiteY49" fmla="*/ 678880 h 721501"/>
                    <a:gd name="connsiteX50" fmla="*/ 407523 w 746079"/>
                    <a:gd name="connsiteY50" fmla="*/ 678880 h 721501"/>
                    <a:gd name="connsiteX51" fmla="*/ 411500 w 746079"/>
                    <a:gd name="connsiteY51" fmla="*/ 686195 h 721501"/>
                    <a:gd name="connsiteX52" fmla="*/ 415635 w 746079"/>
                    <a:gd name="connsiteY52" fmla="*/ 672835 h 721501"/>
                    <a:gd name="connsiteX53" fmla="*/ 454125 w 746079"/>
                    <a:gd name="connsiteY53" fmla="*/ 665359 h 721501"/>
                    <a:gd name="connsiteX54" fmla="*/ 457783 w 746079"/>
                    <a:gd name="connsiteY54" fmla="*/ 660748 h 721501"/>
                    <a:gd name="connsiteX55" fmla="*/ 471303 w 746079"/>
                    <a:gd name="connsiteY55" fmla="*/ 662498 h 721501"/>
                    <a:gd name="connsiteX56" fmla="*/ 501681 w 746079"/>
                    <a:gd name="connsiteY56" fmla="*/ 654546 h 721501"/>
                    <a:gd name="connsiteX57" fmla="*/ 496901 w 746079"/>
                    <a:gd name="connsiteY57" fmla="*/ 668477 h 721501"/>
                    <a:gd name="connsiteX58" fmla="*/ 509625 w 746079"/>
                    <a:gd name="connsiteY58" fmla="*/ 676033 h 721501"/>
                    <a:gd name="connsiteX59" fmla="*/ 561164 w 746079"/>
                    <a:gd name="connsiteY59" fmla="*/ 674111 h 721501"/>
                    <a:gd name="connsiteX60" fmla="*/ 582636 w 746079"/>
                    <a:gd name="connsiteY60" fmla="*/ 666476 h 721501"/>
                    <a:gd name="connsiteX61" fmla="*/ 581839 w 746079"/>
                    <a:gd name="connsiteY61" fmla="*/ 675542 h 721501"/>
                    <a:gd name="connsiteX62" fmla="*/ 662951 w 746079"/>
                    <a:gd name="connsiteY62" fmla="*/ 665839 h 721501"/>
                    <a:gd name="connsiteX63" fmla="*/ 724501 w 746079"/>
                    <a:gd name="connsiteY63" fmla="*/ 650729 h 721501"/>
                    <a:gd name="connsiteX64" fmla="*/ 737541 w 746079"/>
                    <a:gd name="connsiteY64" fmla="*/ 644684 h 721501"/>
                    <a:gd name="connsiteX65" fmla="*/ 725289 w 746079"/>
                    <a:gd name="connsiteY65" fmla="*/ 643256 h 721501"/>
                    <a:gd name="connsiteX66" fmla="*/ 305730 w 746079"/>
                    <a:gd name="connsiteY66" fmla="*/ 403415 h 721501"/>
                    <a:gd name="connsiteX67" fmla="*/ 306047 w 746079"/>
                    <a:gd name="connsiteY67" fmla="*/ 411051 h 721501"/>
                    <a:gd name="connsiteX68" fmla="*/ 285531 w 746079"/>
                    <a:gd name="connsiteY68" fmla="*/ 409143 h 721501"/>
                    <a:gd name="connsiteX69" fmla="*/ 282510 w 746079"/>
                    <a:gd name="connsiteY69" fmla="*/ 399917 h 721501"/>
                    <a:gd name="connsiteX70" fmla="*/ 305730 w 746079"/>
                    <a:gd name="connsiteY70" fmla="*/ 403415 h 721501"/>
                    <a:gd name="connsiteX71" fmla="*/ 191376 w 746079"/>
                    <a:gd name="connsiteY71" fmla="*/ 604132 h 721501"/>
                    <a:gd name="connsiteX72" fmla="*/ 107240 w 746079"/>
                    <a:gd name="connsiteY72" fmla="*/ 586478 h 721501"/>
                    <a:gd name="connsiteX73" fmla="*/ 98492 w 746079"/>
                    <a:gd name="connsiteY73" fmla="*/ 601268 h 721501"/>
                    <a:gd name="connsiteX74" fmla="*/ 150570 w 746079"/>
                    <a:gd name="connsiteY74" fmla="*/ 616393 h 721501"/>
                    <a:gd name="connsiteX75" fmla="*/ 180083 w 746079"/>
                    <a:gd name="connsiteY75" fmla="*/ 620833 h 721501"/>
                    <a:gd name="connsiteX76" fmla="*/ 147161 w 746079"/>
                    <a:gd name="connsiteY76" fmla="*/ 644053 h 721501"/>
                    <a:gd name="connsiteX77" fmla="*/ 100473 w 746079"/>
                    <a:gd name="connsiteY77" fmla="*/ 637468 h 721501"/>
                    <a:gd name="connsiteX78" fmla="*/ 28039 w 746079"/>
                    <a:gd name="connsiteY78" fmla="*/ 525884 h 721501"/>
                    <a:gd name="connsiteX79" fmla="*/ 15315 w 746079"/>
                    <a:gd name="connsiteY79" fmla="*/ 459720 h 721501"/>
                    <a:gd name="connsiteX80" fmla="*/ 14601 w 746079"/>
                    <a:gd name="connsiteY80" fmla="*/ 432206 h 721501"/>
                    <a:gd name="connsiteX81" fmla="*/ 35834 w 746079"/>
                    <a:gd name="connsiteY81" fmla="*/ 334236 h 721501"/>
                    <a:gd name="connsiteX82" fmla="*/ 51570 w 746079"/>
                    <a:gd name="connsiteY82" fmla="*/ 310634 h 721501"/>
                    <a:gd name="connsiteX83" fmla="*/ 54442 w 746079"/>
                    <a:gd name="connsiteY83" fmla="*/ 305237 h 721501"/>
                    <a:gd name="connsiteX84" fmla="*/ 117637 w 746079"/>
                    <a:gd name="connsiteY84" fmla="*/ 287000 h 721501"/>
                    <a:gd name="connsiteX85" fmla="*/ 121243 w 746079"/>
                    <a:gd name="connsiteY85" fmla="*/ 351254 h 721501"/>
                    <a:gd name="connsiteX86" fmla="*/ 123998 w 746079"/>
                    <a:gd name="connsiteY86" fmla="*/ 352950 h 721501"/>
                    <a:gd name="connsiteX87" fmla="*/ 125483 w 746079"/>
                    <a:gd name="connsiteY87" fmla="*/ 375005 h 721501"/>
                    <a:gd name="connsiteX88" fmla="*/ 124264 w 746079"/>
                    <a:gd name="connsiteY88" fmla="*/ 443978 h 721501"/>
                    <a:gd name="connsiteX89" fmla="*/ 115995 w 746079"/>
                    <a:gd name="connsiteY89" fmla="*/ 457498 h 721501"/>
                    <a:gd name="connsiteX90" fmla="*/ 103271 w 746079"/>
                    <a:gd name="connsiteY90" fmla="*/ 454158 h 721501"/>
                    <a:gd name="connsiteX91" fmla="*/ 86730 w 746079"/>
                    <a:gd name="connsiteY91" fmla="*/ 466564 h 721501"/>
                    <a:gd name="connsiteX92" fmla="*/ 101204 w 746079"/>
                    <a:gd name="connsiteY92" fmla="*/ 482785 h 721501"/>
                    <a:gd name="connsiteX93" fmla="*/ 106612 w 746079"/>
                    <a:gd name="connsiteY93" fmla="*/ 473560 h 721501"/>
                    <a:gd name="connsiteX94" fmla="*/ 117428 w 746079"/>
                    <a:gd name="connsiteY94" fmla="*/ 471016 h 721501"/>
                    <a:gd name="connsiteX95" fmla="*/ 127924 w 746079"/>
                    <a:gd name="connsiteY95" fmla="*/ 481512 h 721501"/>
                    <a:gd name="connsiteX96" fmla="*/ 138264 w 746079"/>
                    <a:gd name="connsiteY96" fmla="*/ 456065 h 721501"/>
                    <a:gd name="connsiteX97" fmla="*/ 142241 w 746079"/>
                    <a:gd name="connsiteY97" fmla="*/ 377177 h 721501"/>
                    <a:gd name="connsiteX98" fmla="*/ 199497 w 746079"/>
                    <a:gd name="connsiteY98" fmla="*/ 387674 h 721501"/>
                    <a:gd name="connsiteX99" fmla="*/ 214607 w 746079"/>
                    <a:gd name="connsiteY99" fmla="*/ 457972 h 721501"/>
                    <a:gd name="connsiteX100" fmla="*/ 191376 w 746079"/>
                    <a:gd name="connsiteY100" fmla="*/ 604132 h 721501"/>
                    <a:gd name="connsiteX101" fmla="*/ 240519 w 746079"/>
                    <a:gd name="connsiteY101" fmla="*/ 667589 h 721501"/>
                    <a:gd name="connsiteX102" fmla="*/ 261992 w 746079"/>
                    <a:gd name="connsiteY102" fmla="*/ 669657 h 721501"/>
                    <a:gd name="connsiteX103" fmla="*/ 257697 w 746079"/>
                    <a:gd name="connsiteY103" fmla="*/ 681107 h 721501"/>
                    <a:gd name="connsiteX104" fmla="*/ 264059 w 746079"/>
                    <a:gd name="connsiteY104" fmla="*/ 682857 h 721501"/>
                    <a:gd name="connsiteX105" fmla="*/ 255541 w 746079"/>
                    <a:gd name="connsiteY105" fmla="*/ 695118 h 721501"/>
                    <a:gd name="connsiteX106" fmla="*/ 240519 w 746079"/>
                    <a:gd name="connsiteY106" fmla="*/ 667589 h 721501"/>
                    <a:gd name="connsiteX107" fmla="*/ 266923 w 746079"/>
                    <a:gd name="connsiteY107" fmla="*/ 638645 h 721501"/>
                    <a:gd name="connsiteX108" fmla="*/ 268673 w 746079"/>
                    <a:gd name="connsiteY108" fmla="*/ 653435 h 721501"/>
                    <a:gd name="connsiteX109" fmla="*/ 263265 w 746079"/>
                    <a:gd name="connsiteY109" fmla="*/ 668066 h 721501"/>
                    <a:gd name="connsiteX110" fmla="*/ 241624 w 746079"/>
                    <a:gd name="connsiteY110" fmla="*/ 661322 h 721501"/>
                    <a:gd name="connsiteX111" fmla="*/ 266923 w 746079"/>
                    <a:gd name="connsiteY111" fmla="*/ 638645 h 721501"/>
                    <a:gd name="connsiteX112" fmla="*/ 250699 w 746079"/>
                    <a:gd name="connsiteY112" fmla="*/ 624968 h 721501"/>
                    <a:gd name="connsiteX113" fmla="*/ 263739 w 746079"/>
                    <a:gd name="connsiteY113" fmla="*/ 591092 h 721501"/>
                    <a:gd name="connsiteX114" fmla="*/ 290616 w 746079"/>
                    <a:gd name="connsiteY114" fmla="*/ 575187 h 721501"/>
                    <a:gd name="connsiteX115" fmla="*/ 291413 w 746079"/>
                    <a:gd name="connsiteY115" fmla="*/ 588228 h 721501"/>
                    <a:gd name="connsiteX116" fmla="*/ 295231 w 746079"/>
                    <a:gd name="connsiteY116" fmla="*/ 589978 h 721501"/>
                    <a:gd name="connsiteX117" fmla="*/ 282824 w 746079"/>
                    <a:gd name="connsiteY117" fmla="*/ 620196 h 721501"/>
                    <a:gd name="connsiteX118" fmla="*/ 250699 w 746079"/>
                    <a:gd name="connsiteY118" fmla="*/ 624968 h 721501"/>
                    <a:gd name="connsiteX119" fmla="*/ 261038 w 746079"/>
                    <a:gd name="connsiteY119" fmla="*/ 697174 h 721501"/>
                    <a:gd name="connsiteX120" fmla="*/ 271057 w 746079"/>
                    <a:gd name="connsiteY120" fmla="*/ 681746 h 721501"/>
                    <a:gd name="connsiteX121" fmla="*/ 282350 w 746079"/>
                    <a:gd name="connsiteY121" fmla="*/ 678565 h 721501"/>
                    <a:gd name="connsiteX122" fmla="*/ 292210 w 746079"/>
                    <a:gd name="connsiteY122" fmla="*/ 696060 h 721501"/>
                    <a:gd name="connsiteX123" fmla="*/ 261038 w 746079"/>
                    <a:gd name="connsiteY123" fmla="*/ 697174 h 721501"/>
                    <a:gd name="connsiteX124" fmla="*/ 305253 w 746079"/>
                    <a:gd name="connsiteY124" fmla="*/ 659003 h 721501"/>
                    <a:gd name="connsiteX125" fmla="*/ 302072 w 746079"/>
                    <a:gd name="connsiteY125" fmla="*/ 687471 h 721501"/>
                    <a:gd name="connsiteX126" fmla="*/ 296496 w 746079"/>
                    <a:gd name="connsiteY126" fmla="*/ 689950 h 721501"/>
                    <a:gd name="connsiteX127" fmla="*/ 283304 w 746079"/>
                    <a:gd name="connsiteY127" fmla="*/ 675542 h 721501"/>
                    <a:gd name="connsiteX128" fmla="*/ 286708 w 746079"/>
                    <a:gd name="connsiteY128" fmla="*/ 667264 h 721501"/>
                    <a:gd name="connsiteX129" fmla="*/ 305253 w 746079"/>
                    <a:gd name="connsiteY129" fmla="*/ 659003 h 721501"/>
                    <a:gd name="connsiteX130" fmla="*/ 288552 w 746079"/>
                    <a:gd name="connsiteY130" fmla="*/ 557053 h 721501"/>
                    <a:gd name="connsiteX131" fmla="*/ 271534 w 746079"/>
                    <a:gd name="connsiteY131" fmla="*/ 554189 h 721501"/>
                    <a:gd name="connsiteX132" fmla="*/ 250539 w 746079"/>
                    <a:gd name="connsiteY132" fmla="*/ 582817 h 721501"/>
                    <a:gd name="connsiteX133" fmla="*/ 241633 w 746079"/>
                    <a:gd name="connsiteY133" fmla="*/ 604129 h 721501"/>
                    <a:gd name="connsiteX134" fmla="*/ 220321 w 746079"/>
                    <a:gd name="connsiteY134" fmla="*/ 609537 h 721501"/>
                    <a:gd name="connsiteX135" fmla="*/ 207914 w 746079"/>
                    <a:gd name="connsiteY135" fmla="*/ 607150 h 721501"/>
                    <a:gd name="connsiteX136" fmla="*/ 219524 w 746079"/>
                    <a:gd name="connsiteY136" fmla="*/ 579316 h 721501"/>
                    <a:gd name="connsiteX137" fmla="*/ 229067 w 746079"/>
                    <a:gd name="connsiteY137" fmla="*/ 540032 h 721501"/>
                    <a:gd name="connsiteX138" fmla="*/ 232724 w 746079"/>
                    <a:gd name="connsiteY138" fmla="*/ 476572 h 721501"/>
                    <a:gd name="connsiteX139" fmla="*/ 224455 w 746079"/>
                    <a:gd name="connsiteY139" fmla="*/ 421861 h 721501"/>
                    <a:gd name="connsiteX140" fmla="*/ 223890 w 746079"/>
                    <a:gd name="connsiteY140" fmla="*/ 415619 h 721501"/>
                    <a:gd name="connsiteX141" fmla="*/ 288232 w 746079"/>
                    <a:gd name="connsiteY141" fmla="*/ 422498 h 721501"/>
                    <a:gd name="connsiteX142" fmla="*/ 306681 w 746079"/>
                    <a:gd name="connsiteY142" fmla="*/ 424088 h 721501"/>
                    <a:gd name="connsiteX143" fmla="*/ 309702 w 746079"/>
                    <a:gd name="connsiteY143" fmla="*/ 546394 h 721501"/>
                    <a:gd name="connsiteX144" fmla="*/ 288552 w 746079"/>
                    <a:gd name="connsiteY144" fmla="*/ 557053 h 721501"/>
                    <a:gd name="connsiteX145" fmla="*/ 323065 w 746079"/>
                    <a:gd name="connsiteY145" fmla="*/ 394352 h 721501"/>
                    <a:gd name="connsiteX146" fmla="*/ 340399 w 746079"/>
                    <a:gd name="connsiteY146" fmla="*/ 390535 h 721501"/>
                    <a:gd name="connsiteX147" fmla="*/ 341990 w 746079"/>
                    <a:gd name="connsiteY147" fmla="*/ 411210 h 721501"/>
                    <a:gd name="connsiteX148" fmla="*/ 341673 w 746079"/>
                    <a:gd name="connsiteY148" fmla="*/ 415028 h 721501"/>
                    <a:gd name="connsiteX149" fmla="*/ 323701 w 746079"/>
                    <a:gd name="connsiteY149" fmla="*/ 412324 h 721501"/>
                    <a:gd name="connsiteX150" fmla="*/ 323065 w 746079"/>
                    <a:gd name="connsiteY150" fmla="*/ 394352 h 721501"/>
                    <a:gd name="connsiteX151" fmla="*/ 328313 w 746079"/>
                    <a:gd name="connsiteY151" fmla="*/ 566756 h 721501"/>
                    <a:gd name="connsiteX152" fmla="*/ 324858 w 746079"/>
                    <a:gd name="connsiteY152" fmla="*/ 510668 h 721501"/>
                    <a:gd name="connsiteX153" fmla="*/ 324495 w 746079"/>
                    <a:gd name="connsiteY153" fmla="*/ 425841 h 721501"/>
                    <a:gd name="connsiteX154" fmla="*/ 334355 w 746079"/>
                    <a:gd name="connsiteY154" fmla="*/ 427272 h 721501"/>
                    <a:gd name="connsiteX155" fmla="*/ 343420 w 746079"/>
                    <a:gd name="connsiteY155" fmla="*/ 433157 h 721501"/>
                    <a:gd name="connsiteX156" fmla="*/ 353280 w 746079"/>
                    <a:gd name="connsiteY156" fmla="*/ 483893 h 721501"/>
                    <a:gd name="connsiteX157" fmla="*/ 366320 w 746079"/>
                    <a:gd name="connsiteY157" fmla="*/ 515065 h 721501"/>
                    <a:gd name="connsiteX158" fmla="*/ 363139 w 746079"/>
                    <a:gd name="connsiteY158" fmla="*/ 535741 h 721501"/>
                    <a:gd name="connsiteX159" fmla="*/ 371568 w 746079"/>
                    <a:gd name="connsiteY159" fmla="*/ 556257 h 721501"/>
                    <a:gd name="connsiteX160" fmla="*/ 381428 w 746079"/>
                    <a:gd name="connsiteY160" fmla="*/ 561188 h 721501"/>
                    <a:gd name="connsiteX161" fmla="*/ 384292 w 746079"/>
                    <a:gd name="connsiteY161" fmla="*/ 578046 h 721501"/>
                    <a:gd name="connsiteX162" fmla="*/ 328313 w 746079"/>
                    <a:gd name="connsiteY162" fmla="*/ 566756 h 721501"/>
                    <a:gd name="connsiteX163" fmla="*/ 517737 w 746079"/>
                    <a:gd name="connsiteY163" fmla="*/ 605723 h 721501"/>
                    <a:gd name="connsiteX164" fmla="*/ 503106 w 746079"/>
                    <a:gd name="connsiteY164" fmla="*/ 599521 h 721501"/>
                    <a:gd name="connsiteX165" fmla="*/ 506447 w 746079"/>
                    <a:gd name="connsiteY165" fmla="*/ 616539 h 721501"/>
                    <a:gd name="connsiteX166" fmla="*/ 506923 w 746079"/>
                    <a:gd name="connsiteY166" fmla="*/ 633240 h 721501"/>
                    <a:gd name="connsiteX167" fmla="*/ 487042 w 746079"/>
                    <a:gd name="connsiteY167" fmla="*/ 639441 h 721501"/>
                    <a:gd name="connsiteX168" fmla="*/ 468116 w 746079"/>
                    <a:gd name="connsiteY168" fmla="*/ 609860 h 721501"/>
                    <a:gd name="connsiteX169" fmla="*/ 437261 w 746079"/>
                    <a:gd name="connsiteY169" fmla="*/ 573280 h 721501"/>
                    <a:gd name="connsiteX170" fmla="*/ 433444 w 746079"/>
                    <a:gd name="connsiteY170" fmla="*/ 558966 h 721501"/>
                    <a:gd name="connsiteX171" fmla="*/ 431853 w 746079"/>
                    <a:gd name="connsiteY171" fmla="*/ 551651 h 721501"/>
                    <a:gd name="connsiteX172" fmla="*/ 442510 w 746079"/>
                    <a:gd name="connsiteY172" fmla="*/ 533679 h 721501"/>
                    <a:gd name="connsiteX173" fmla="*/ 432082 w 746079"/>
                    <a:gd name="connsiteY173" fmla="*/ 512221 h 721501"/>
                    <a:gd name="connsiteX174" fmla="*/ 434238 w 746079"/>
                    <a:gd name="connsiteY174" fmla="*/ 377337 h 721501"/>
                    <a:gd name="connsiteX175" fmla="*/ 488949 w 746079"/>
                    <a:gd name="connsiteY175" fmla="*/ 371136 h 721501"/>
                    <a:gd name="connsiteX176" fmla="*/ 512805 w 746079"/>
                    <a:gd name="connsiteY176" fmla="*/ 378294 h 721501"/>
                    <a:gd name="connsiteX177" fmla="*/ 517260 w 746079"/>
                    <a:gd name="connsiteY177" fmla="*/ 442071 h 721501"/>
                    <a:gd name="connsiteX178" fmla="*/ 511535 w 746079"/>
                    <a:gd name="connsiteY178" fmla="*/ 524297 h 721501"/>
                    <a:gd name="connsiteX179" fmla="*/ 518365 w 746079"/>
                    <a:gd name="connsiteY179" fmla="*/ 555166 h 721501"/>
                    <a:gd name="connsiteX180" fmla="*/ 519327 w 746079"/>
                    <a:gd name="connsiteY180" fmla="*/ 577101 h 721501"/>
                    <a:gd name="connsiteX181" fmla="*/ 522031 w 746079"/>
                    <a:gd name="connsiteY181" fmla="*/ 585370 h 721501"/>
                    <a:gd name="connsiteX182" fmla="*/ 517737 w 746079"/>
                    <a:gd name="connsiteY182" fmla="*/ 605723 h 721501"/>
                    <a:gd name="connsiteX183" fmla="*/ 596621 w 746079"/>
                    <a:gd name="connsiteY183" fmla="*/ 575981 h 721501"/>
                    <a:gd name="connsiteX184" fmla="*/ 587079 w 746079"/>
                    <a:gd name="connsiteY184" fmla="*/ 563258 h 721501"/>
                    <a:gd name="connsiteX185" fmla="*/ 588032 w 746079"/>
                    <a:gd name="connsiteY185" fmla="*/ 552919 h 721501"/>
                    <a:gd name="connsiteX186" fmla="*/ 597735 w 746079"/>
                    <a:gd name="connsiteY186" fmla="*/ 544650 h 721501"/>
                    <a:gd name="connsiteX187" fmla="*/ 596621 w 746079"/>
                    <a:gd name="connsiteY187" fmla="*/ 575981 h 721501"/>
                    <a:gd name="connsiteX188" fmla="*/ 604097 w 746079"/>
                    <a:gd name="connsiteY188" fmla="*/ 497254 h 721501"/>
                    <a:gd name="connsiteX189" fmla="*/ 593123 w 746079"/>
                    <a:gd name="connsiteY189" fmla="*/ 488665 h 721501"/>
                    <a:gd name="connsiteX190" fmla="*/ 601236 w 746079"/>
                    <a:gd name="connsiteY190" fmla="*/ 393239 h 721501"/>
                    <a:gd name="connsiteX191" fmla="*/ 621274 w 746079"/>
                    <a:gd name="connsiteY191" fmla="*/ 430296 h 721501"/>
                    <a:gd name="connsiteX192" fmla="*/ 645131 w 746079"/>
                    <a:gd name="connsiteY192" fmla="*/ 523974 h 721501"/>
                    <a:gd name="connsiteX193" fmla="*/ 605530 w 746079"/>
                    <a:gd name="connsiteY193" fmla="*/ 520316 h 721501"/>
                    <a:gd name="connsiteX194" fmla="*/ 607437 w 746079"/>
                    <a:gd name="connsiteY194" fmla="*/ 503775 h 721501"/>
                    <a:gd name="connsiteX195" fmla="*/ 604097 w 746079"/>
                    <a:gd name="connsiteY195" fmla="*/ 497254 h 721501"/>
                    <a:gd name="connsiteX196" fmla="*/ 639566 w 746079"/>
                    <a:gd name="connsiteY196" fmla="*/ 612721 h 721501"/>
                    <a:gd name="connsiteX197" fmla="*/ 614279 w 746079"/>
                    <a:gd name="connsiteY197" fmla="*/ 601588 h 721501"/>
                    <a:gd name="connsiteX198" fmla="*/ 612052 w 746079"/>
                    <a:gd name="connsiteY198" fmla="*/ 536697 h 721501"/>
                    <a:gd name="connsiteX199" fmla="*/ 648951 w 746079"/>
                    <a:gd name="connsiteY199" fmla="*/ 540832 h 721501"/>
                    <a:gd name="connsiteX200" fmla="*/ 666446 w 746079"/>
                    <a:gd name="connsiteY200" fmla="*/ 610177 h 721501"/>
                    <a:gd name="connsiteX201" fmla="*/ 639566 w 746079"/>
                    <a:gd name="connsiteY201" fmla="*/ 612721 h 72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746079" h="721501">
                      <a:moveTo>
                        <a:pt x="725289" y="643256"/>
                      </a:moveTo>
                      <a:lnTo>
                        <a:pt x="726086" y="638168"/>
                      </a:lnTo>
                      <a:cubicBezTo>
                        <a:pt x="726086" y="638168"/>
                        <a:pt x="740876" y="639441"/>
                        <a:pt x="744217" y="637691"/>
                      </a:cubicBezTo>
                      <a:cubicBezTo>
                        <a:pt x="746444" y="636526"/>
                        <a:pt x="746761" y="628308"/>
                        <a:pt x="744694" y="626398"/>
                      </a:cubicBezTo>
                      <a:cubicBezTo>
                        <a:pt x="742627" y="624491"/>
                        <a:pt x="726403" y="626238"/>
                        <a:pt x="726403" y="626238"/>
                      </a:cubicBezTo>
                      <a:lnTo>
                        <a:pt x="723222" y="622581"/>
                      </a:lnTo>
                      <a:lnTo>
                        <a:pt x="690936" y="624648"/>
                      </a:lnTo>
                      <a:cubicBezTo>
                        <a:pt x="689983" y="614309"/>
                        <a:pt x="682225" y="610608"/>
                        <a:pt x="679963" y="611764"/>
                      </a:cubicBezTo>
                      <a:cubicBezTo>
                        <a:pt x="672417" y="583953"/>
                        <a:pt x="631454" y="401665"/>
                        <a:pt x="622308" y="388228"/>
                      </a:cubicBezTo>
                      <a:cubicBezTo>
                        <a:pt x="617434" y="381064"/>
                        <a:pt x="602109" y="375187"/>
                        <a:pt x="602109" y="375187"/>
                      </a:cubicBezTo>
                      <a:lnTo>
                        <a:pt x="604893" y="342982"/>
                      </a:lnTo>
                      <a:cubicBezTo>
                        <a:pt x="601315" y="308786"/>
                        <a:pt x="576203" y="293430"/>
                        <a:pt x="576203" y="293430"/>
                      </a:cubicBezTo>
                      <a:cubicBezTo>
                        <a:pt x="576203" y="293430"/>
                        <a:pt x="575660" y="265002"/>
                        <a:pt x="573976" y="250965"/>
                      </a:cubicBezTo>
                      <a:cubicBezTo>
                        <a:pt x="573499" y="246988"/>
                        <a:pt x="557594" y="248261"/>
                        <a:pt x="557594" y="248261"/>
                      </a:cubicBezTo>
                      <a:cubicBezTo>
                        <a:pt x="560444" y="222200"/>
                        <a:pt x="440060" y="214542"/>
                        <a:pt x="440060" y="214542"/>
                      </a:cubicBezTo>
                      <a:lnTo>
                        <a:pt x="396321" y="127226"/>
                      </a:lnTo>
                      <a:cubicBezTo>
                        <a:pt x="396321" y="127226"/>
                        <a:pt x="387079" y="99163"/>
                        <a:pt x="367200" y="65764"/>
                      </a:cubicBezTo>
                      <a:cubicBezTo>
                        <a:pt x="347318" y="32365"/>
                        <a:pt x="314239" y="42545"/>
                        <a:pt x="314239" y="42545"/>
                      </a:cubicBezTo>
                      <a:lnTo>
                        <a:pt x="302064" y="24747"/>
                      </a:lnTo>
                      <a:cubicBezTo>
                        <a:pt x="288147" y="2481"/>
                        <a:pt x="231933" y="0"/>
                        <a:pt x="231933" y="0"/>
                      </a:cubicBezTo>
                      <a:lnTo>
                        <a:pt x="231536" y="17812"/>
                      </a:lnTo>
                      <a:cubicBezTo>
                        <a:pt x="231536" y="17812"/>
                        <a:pt x="218176" y="19642"/>
                        <a:pt x="214995" y="45883"/>
                      </a:cubicBezTo>
                      <a:cubicBezTo>
                        <a:pt x="214995" y="45883"/>
                        <a:pt x="202749" y="49223"/>
                        <a:pt x="190422" y="59720"/>
                      </a:cubicBezTo>
                      <a:lnTo>
                        <a:pt x="167203" y="83896"/>
                      </a:lnTo>
                      <a:lnTo>
                        <a:pt x="124101" y="78965"/>
                      </a:lnTo>
                      <a:cubicBezTo>
                        <a:pt x="124101" y="78965"/>
                        <a:pt x="114876" y="49383"/>
                        <a:pt x="65255" y="58766"/>
                      </a:cubicBezTo>
                      <a:cubicBezTo>
                        <a:pt x="65255" y="58766"/>
                        <a:pt x="54294" y="67506"/>
                        <a:pt x="63665" y="73557"/>
                      </a:cubicBezTo>
                      <a:cubicBezTo>
                        <a:pt x="68690" y="76803"/>
                        <a:pt x="79409" y="75464"/>
                        <a:pt x="96427" y="77214"/>
                      </a:cubicBezTo>
                      <a:cubicBezTo>
                        <a:pt x="96427" y="77214"/>
                        <a:pt x="109151" y="76738"/>
                        <a:pt x="111209" y="101882"/>
                      </a:cubicBezTo>
                      <a:cubicBezTo>
                        <a:pt x="113716" y="132488"/>
                        <a:pt x="121237" y="259640"/>
                        <a:pt x="121237" y="259640"/>
                      </a:cubicBezTo>
                      <a:lnTo>
                        <a:pt x="117103" y="268865"/>
                      </a:lnTo>
                      <a:cubicBezTo>
                        <a:pt x="100890" y="266201"/>
                        <a:pt x="87250" y="266473"/>
                        <a:pt x="75911" y="271093"/>
                      </a:cubicBezTo>
                      <a:cubicBezTo>
                        <a:pt x="36813" y="287017"/>
                        <a:pt x="21360" y="336460"/>
                        <a:pt x="14362" y="360157"/>
                      </a:cubicBezTo>
                      <a:cubicBezTo>
                        <a:pt x="7486" y="383439"/>
                        <a:pt x="2069" y="405009"/>
                        <a:pt x="365" y="435544"/>
                      </a:cubicBezTo>
                      <a:cubicBezTo>
                        <a:pt x="-1543" y="469739"/>
                        <a:pt x="4653" y="511213"/>
                        <a:pt x="4659" y="511250"/>
                      </a:cubicBezTo>
                      <a:cubicBezTo>
                        <a:pt x="20837" y="588628"/>
                        <a:pt x="59530" y="625921"/>
                        <a:pt x="90385" y="647394"/>
                      </a:cubicBezTo>
                      <a:cubicBezTo>
                        <a:pt x="111086" y="661799"/>
                        <a:pt x="130623" y="663775"/>
                        <a:pt x="130623" y="663775"/>
                      </a:cubicBezTo>
                      <a:cubicBezTo>
                        <a:pt x="162157" y="663058"/>
                        <a:pt x="181017" y="646882"/>
                        <a:pt x="196150" y="625445"/>
                      </a:cubicBezTo>
                      <a:lnTo>
                        <a:pt x="234480" y="631806"/>
                      </a:lnTo>
                      <a:lnTo>
                        <a:pt x="241159" y="631170"/>
                      </a:lnTo>
                      <a:cubicBezTo>
                        <a:pt x="215712" y="649061"/>
                        <a:pt x="221597" y="679996"/>
                        <a:pt x="224938" y="689062"/>
                      </a:cubicBezTo>
                      <a:cubicBezTo>
                        <a:pt x="226605" y="693587"/>
                        <a:pt x="236039" y="714840"/>
                        <a:pt x="260724" y="720234"/>
                      </a:cubicBezTo>
                      <a:cubicBezTo>
                        <a:pt x="284740" y="725482"/>
                        <a:pt x="305676" y="713583"/>
                        <a:pt x="314798" y="700352"/>
                      </a:cubicBezTo>
                      <a:cubicBezTo>
                        <a:pt x="328207" y="680913"/>
                        <a:pt x="328119" y="648818"/>
                        <a:pt x="301758" y="627669"/>
                      </a:cubicBezTo>
                      <a:lnTo>
                        <a:pt x="310415" y="606848"/>
                      </a:lnTo>
                      <a:cubicBezTo>
                        <a:pt x="314162" y="598244"/>
                        <a:pt x="315301" y="584307"/>
                        <a:pt x="315595" y="580590"/>
                      </a:cubicBezTo>
                      <a:lnTo>
                        <a:pt x="377782" y="594587"/>
                      </a:lnTo>
                      <a:cubicBezTo>
                        <a:pt x="374124" y="616376"/>
                        <a:pt x="382236" y="643653"/>
                        <a:pt x="384620" y="652796"/>
                      </a:cubicBezTo>
                      <a:cubicBezTo>
                        <a:pt x="387004" y="661939"/>
                        <a:pt x="400208" y="661545"/>
                        <a:pt x="400208" y="661545"/>
                      </a:cubicBezTo>
                      <a:lnTo>
                        <a:pt x="403388" y="678880"/>
                      </a:lnTo>
                      <a:lnTo>
                        <a:pt x="407523" y="678880"/>
                      </a:lnTo>
                      <a:cubicBezTo>
                        <a:pt x="407523" y="678880"/>
                        <a:pt x="406726" y="686355"/>
                        <a:pt x="411500" y="686195"/>
                      </a:cubicBezTo>
                      <a:cubicBezTo>
                        <a:pt x="417303" y="686001"/>
                        <a:pt x="415013" y="675567"/>
                        <a:pt x="415635" y="672835"/>
                      </a:cubicBezTo>
                      <a:cubicBezTo>
                        <a:pt x="415635" y="672835"/>
                        <a:pt x="450308" y="667267"/>
                        <a:pt x="454125" y="665359"/>
                      </a:cubicBezTo>
                      <a:cubicBezTo>
                        <a:pt x="457943" y="663452"/>
                        <a:pt x="457783" y="660748"/>
                        <a:pt x="457783" y="660748"/>
                      </a:cubicBezTo>
                      <a:cubicBezTo>
                        <a:pt x="457783" y="660748"/>
                        <a:pt x="461917" y="664089"/>
                        <a:pt x="471303" y="662498"/>
                      </a:cubicBezTo>
                      <a:cubicBezTo>
                        <a:pt x="480688" y="660908"/>
                        <a:pt x="501681" y="654546"/>
                        <a:pt x="501681" y="654546"/>
                      </a:cubicBezTo>
                      <a:lnTo>
                        <a:pt x="496901" y="668477"/>
                      </a:lnTo>
                      <a:cubicBezTo>
                        <a:pt x="496901" y="668477"/>
                        <a:pt x="495779" y="674774"/>
                        <a:pt x="509625" y="676033"/>
                      </a:cubicBezTo>
                      <a:cubicBezTo>
                        <a:pt x="523470" y="677292"/>
                        <a:pt x="561164" y="674111"/>
                        <a:pt x="561164" y="674111"/>
                      </a:cubicBezTo>
                      <a:lnTo>
                        <a:pt x="582636" y="666476"/>
                      </a:lnTo>
                      <a:cubicBezTo>
                        <a:pt x="582636" y="666476"/>
                        <a:pt x="580092" y="673474"/>
                        <a:pt x="581839" y="675542"/>
                      </a:cubicBezTo>
                      <a:cubicBezTo>
                        <a:pt x="583589" y="677609"/>
                        <a:pt x="662951" y="665839"/>
                        <a:pt x="662951" y="665839"/>
                      </a:cubicBezTo>
                      <a:cubicBezTo>
                        <a:pt x="662951" y="665839"/>
                        <a:pt x="711777" y="653909"/>
                        <a:pt x="724501" y="650729"/>
                      </a:cubicBezTo>
                      <a:cubicBezTo>
                        <a:pt x="737224" y="647548"/>
                        <a:pt x="737541" y="644684"/>
                        <a:pt x="737541" y="644684"/>
                      </a:cubicBezTo>
                      <a:lnTo>
                        <a:pt x="725289" y="643256"/>
                      </a:lnTo>
                      <a:close/>
                      <a:moveTo>
                        <a:pt x="305730" y="403415"/>
                      </a:moveTo>
                      <a:cubicBezTo>
                        <a:pt x="307480" y="404689"/>
                        <a:pt x="307480" y="410254"/>
                        <a:pt x="306047" y="411051"/>
                      </a:cubicBezTo>
                      <a:cubicBezTo>
                        <a:pt x="304613" y="411847"/>
                        <a:pt x="293163" y="408663"/>
                        <a:pt x="285531" y="409143"/>
                      </a:cubicBezTo>
                      <a:cubicBezTo>
                        <a:pt x="283461" y="409272"/>
                        <a:pt x="282510" y="399917"/>
                        <a:pt x="282510" y="399917"/>
                      </a:cubicBezTo>
                      <a:cubicBezTo>
                        <a:pt x="282510" y="399917"/>
                        <a:pt x="303980" y="402145"/>
                        <a:pt x="305730" y="403415"/>
                      </a:cubicBezTo>
                      <a:close/>
                      <a:moveTo>
                        <a:pt x="191376" y="604132"/>
                      </a:moveTo>
                      <a:cubicBezTo>
                        <a:pt x="160310" y="597488"/>
                        <a:pt x="117888" y="588211"/>
                        <a:pt x="107240" y="586478"/>
                      </a:cubicBezTo>
                      <a:cubicBezTo>
                        <a:pt x="90142" y="583694"/>
                        <a:pt x="98492" y="601268"/>
                        <a:pt x="98492" y="601268"/>
                      </a:cubicBezTo>
                      <a:lnTo>
                        <a:pt x="150570" y="616393"/>
                      </a:lnTo>
                      <a:lnTo>
                        <a:pt x="180083" y="620833"/>
                      </a:lnTo>
                      <a:cubicBezTo>
                        <a:pt x="169196" y="632483"/>
                        <a:pt x="158191" y="641406"/>
                        <a:pt x="147161" y="644053"/>
                      </a:cubicBezTo>
                      <a:cubicBezTo>
                        <a:pt x="122896" y="649881"/>
                        <a:pt x="100473" y="637468"/>
                        <a:pt x="100473" y="637468"/>
                      </a:cubicBezTo>
                      <a:cubicBezTo>
                        <a:pt x="46487" y="590932"/>
                        <a:pt x="41079" y="558487"/>
                        <a:pt x="28039" y="525884"/>
                      </a:cubicBezTo>
                      <a:cubicBezTo>
                        <a:pt x="21006" y="508304"/>
                        <a:pt x="17223" y="485170"/>
                        <a:pt x="15315" y="459720"/>
                      </a:cubicBezTo>
                      <a:cubicBezTo>
                        <a:pt x="14681" y="451271"/>
                        <a:pt x="14676" y="441331"/>
                        <a:pt x="14601" y="432206"/>
                      </a:cubicBezTo>
                      <a:cubicBezTo>
                        <a:pt x="14316" y="397756"/>
                        <a:pt x="23639" y="359757"/>
                        <a:pt x="35834" y="334236"/>
                      </a:cubicBezTo>
                      <a:lnTo>
                        <a:pt x="51570" y="310634"/>
                      </a:lnTo>
                      <a:lnTo>
                        <a:pt x="54442" y="305237"/>
                      </a:lnTo>
                      <a:cubicBezTo>
                        <a:pt x="81745" y="277009"/>
                        <a:pt x="109242" y="283853"/>
                        <a:pt x="117637" y="287000"/>
                      </a:cubicBezTo>
                      <a:lnTo>
                        <a:pt x="121243" y="351254"/>
                      </a:lnTo>
                      <a:lnTo>
                        <a:pt x="123998" y="352950"/>
                      </a:lnTo>
                      <a:cubicBezTo>
                        <a:pt x="123998" y="352950"/>
                        <a:pt x="121109" y="369437"/>
                        <a:pt x="125483" y="375005"/>
                      </a:cubicBezTo>
                      <a:lnTo>
                        <a:pt x="124264" y="443978"/>
                      </a:lnTo>
                      <a:cubicBezTo>
                        <a:pt x="121243" y="443342"/>
                        <a:pt x="115995" y="457498"/>
                        <a:pt x="115995" y="457498"/>
                      </a:cubicBezTo>
                      <a:cubicBezTo>
                        <a:pt x="115995" y="457498"/>
                        <a:pt x="111383" y="450183"/>
                        <a:pt x="103271" y="454158"/>
                      </a:cubicBezTo>
                      <a:cubicBezTo>
                        <a:pt x="103271" y="454158"/>
                        <a:pt x="92695" y="433165"/>
                        <a:pt x="86730" y="466564"/>
                      </a:cubicBezTo>
                      <a:cubicBezTo>
                        <a:pt x="86730" y="466564"/>
                        <a:pt x="93252" y="489547"/>
                        <a:pt x="101204" y="482785"/>
                      </a:cubicBezTo>
                      <a:lnTo>
                        <a:pt x="106612" y="473560"/>
                      </a:lnTo>
                      <a:cubicBezTo>
                        <a:pt x="106612" y="473560"/>
                        <a:pt x="112337" y="475310"/>
                        <a:pt x="117428" y="471016"/>
                      </a:cubicBezTo>
                      <a:lnTo>
                        <a:pt x="127924" y="481512"/>
                      </a:lnTo>
                      <a:cubicBezTo>
                        <a:pt x="137627" y="481672"/>
                        <a:pt x="141761" y="469425"/>
                        <a:pt x="138264" y="456065"/>
                      </a:cubicBezTo>
                      <a:lnTo>
                        <a:pt x="142241" y="377177"/>
                      </a:lnTo>
                      <a:lnTo>
                        <a:pt x="199497" y="387674"/>
                      </a:lnTo>
                      <a:cubicBezTo>
                        <a:pt x="206609" y="413223"/>
                        <a:pt x="212163" y="436626"/>
                        <a:pt x="214607" y="457972"/>
                      </a:cubicBezTo>
                      <a:cubicBezTo>
                        <a:pt x="222476" y="526795"/>
                        <a:pt x="207900" y="574311"/>
                        <a:pt x="191376" y="604132"/>
                      </a:cubicBezTo>
                      <a:close/>
                      <a:moveTo>
                        <a:pt x="240519" y="667589"/>
                      </a:moveTo>
                      <a:cubicBezTo>
                        <a:pt x="241642" y="663997"/>
                        <a:pt x="261992" y="669657"/>
                        <a:pt x="261992" y="669657"/>
                      </a:cubicBezTo>
                      <a:lnTo>
                        <a:pt x="257697" y="681107"/>
                      </a:lnTo>
                      <a:lnTo>
                        <a:pt x="264059" y="682857"/>
                      </a:lnTo>
                      <a:cubicBezTo>
                        <a:pt x="264059" y="682857"/>
                        <a:pt x="259747" y="695929"/>
                        <a:pt x="255541" y="695118"/>
                      </a:cubicBezTo>
                      <a:cubicBezTo>
                        <a:pt x="251335" y="694310"/>
                        <a:pt x="239397" y="671184"/>
                        <a:pt x="240519" y="667589"/>
                      </a:cubicBezTo>
                      <a:close/>
                      <a:moveTo>
                        <a:pt x="266923" y="638645"/>
                      </a:moveTo>
                      <a:cubicBezTo>
                        <a:pt x="269475" y="640381"/>
                        <a:pt x="268673" y="653435"/>
                        <a:pt x="268673" y="653435"/>
                      </a:cubicBezTo>
                      <a:lnTo>
                        <a:pt x="263265" y="668066"/>
                      </a:lnTo>
                      <a:cubicBezTo>
                        <a:pt x="263265" y="668066"/>
                        <a:pt x="243049" y="666028"/>
                        <a:pt x="241624" y="661322"/>
                      </a:cubicBezTo>
                      <a:cubicBezTo>
                        <a:pt x="240202" y="656616"/>
                        <a:pt x="264367" y="636909"/>
                        <a:pt x="266923" y="638645"/>
                      </a:cubicBezTo>
                      <a:close/>
                      <a:moveTo>
                        <a:pt x="250699" y="624968"/>
                      </a:moveTo>
                      <a:cubicBezTo>
                        <a:pt x="250699" y="624968"/>
                        <a:pt x="254197" y="617332"/>
                        <a:pt x="263739" y="591092"/>
                      </a:cubicBezTo>
                      <a:cubicBezTo>
                        <a:pt x="273282" y="564848"/>
                        <a:pt x="290616" y="575187"/>
                        <a:pt x="290616" y="575187"/>
                      </a:cubicBezTo>
                      <a:lnTo>
                        <a:pt x="291413" y="588228"/>
                      </a:lnTo>
                      <a:lnTo>
                        <a:pt x="295231" y="589978"/>
                      </a:lnTo>
                      <a:lnTo>
                        <a:pt x="282824" y="620196"/>
                      </a:lnTo>
                      <a:cubicBezTo>
                        <a:pt x="272808" y="615742"/>
                        <a:pt x="250699" y="624968"/>
                        <a:pt x="250699" y="624968"/>
                      </a:cubicBezTo>
                      <a:close/>
                      <a:moveTo>
                        <a:pt x="261038" y="697174"/>
                      </a:moveTo>
                      <a:cubicBezTo>
                        <a:pt x="259607" y="693356"/>
                        <a:pt x="271057" y="681746"/>
                        <a:pt x="271057" y="681746"/>
                      </a:cubicBezTo>
                      <a:cubicBezTo>
                        <a:pt x="278655" y="681746"/>
                        <a:pt x="282216" y="679796"/>
                        <a:pt x="282350" y="678565"/>
                      </a:cubicBezTo>
                      <a:cubicBezTo>
                        <a:pt x="282350" y="678565"/>
                        <a:pt x="295702" y="691223"/>
                        <a:pt x="292210" y="696060"/>
                      </a:cubicBezTo>
                      <a:cubicBezTo>
                        <a:pt x="288718" y="700897"/>
                        <a:pt x="262468" y="700991"/>
                        <a:pt x="261038" y="697174"/>
                      </a:cubicBezTo>
                      <a:close/>
                      <a:moveTo>
                        <a:pt x="305253" y="659003"/>
                      </a:moveTo>
                      <a:lnTo>
                        <a:pt x="302072" y="687471"/>
                      </a:lnTo>
                      <a:lnTo>
                        <a:pt x="296496" y="689950"/>
                      </a:lnTo>
                      <a:lnTo>
                        <a:pt x="283304" y="675542"/>
                      </a:lnTo>
                      <a:cubicBezTo>
                        <a:pt x="284043" y="672195"/>
                        <a:pt x="285251" y="669474"/>
                        <a:pt x="286708" y="667264"/>
                      </a:cubicBezTo>
                      <a:cubicBezTo>
                        <a:pt x="292452" y="658544"/>
                        <a:pt x="305253" y="659003"/>
                        <a:pt x="305253" y="659003"/>
                      </a:cubicBezTo>
                      <a:close/>
                      <a:moveTo>
                        <a:pt x="288552" y="557053"/>
                      </a:moveTo>
                      <a:cubicBezTo>
                        <a:pt x="288552" y="557056"/>
                        <a:pt x="281899" y="553867"/>
                        <a:pt x="271534" y="554189"/>
                      </a:cubicBezTo>
                      <a:cubicBezTo>
                        <a:pt x="261355" y="554506"/>
                        <a:pt x="254982" y="571081"/>
                        <a:pt x="250539" y="582817"/>
                      </a:cubicBezTo>
                      <a:cubicBezTo>
                        <a:pt x="248215" y="590681"/>
                        <a:pt x="245479" y="599546"/>
                        <a:pt x="241633" y="604129"/>
                      </a:cubicBezTo>
                      <a:cubicBezTo>
                        <a:pt x="234660" y="612433"/>
                        <a:pt x="226682" y="610651"/>
                        <a:pt x="220321" y="609537"/>
                      </a:cubicBezTo>
                      <a:cubicBezTo>
                        <a:pt x="217582" y="609058"/>
                        <a:pt x="211540" y="607930"/>
                        <a:pt x="207914" y="607150"/>
                      </a:cubicBezTo>
                      <a:cubicBezTo>
                        <a:pt x="210638" y="601554"/>
                        <a:pt x="219524" y="579316"/>
                        <a:pt x="219524" y="579316"/>
                      </a:cubicBezTo>
                      <a:cubicBezTo>
                        <a:pt x="223073" y="567704"/>
                        <a:pt x="227445" y="552445"/>
                        <a:pt x="229067" y="540032"/>
                      </a:cubicBezTo>
                      <a:cubicBezTo>
                        <a:pt x="229067" y="540032"/>
                        <a:pt x="233287" y="500018"/>
                        <a:pt x="232724" y="476572"/>
                      </a:cubicBezTo>
                      <a:cubicBezTo>
                        <a:pt x="231733" y="458275"/>
                        <a:pt x="227533" y="438025"/>
                        <a:pt x="224455" y="421861"/>
                      </a:cubicBezTo>
                      <a:lnTo>
                        <a:pt x="223890" y="415619"/>
                      </a:lnTo>
                      <a:cubicBezTo>
                        <a:pt x="223890" y="415619"/>
                        <a:pt x="253751" y="421133"/>
                        <a:pt x="288232" y="422498"/>
                      </a:cubicBezTo>
                      <a:cubicBezTo>
                        <a:pt x="288178" y="422560"/>
                        <a:pt x="306735" y="424022"/>
                        <a:pt x="306681" y="424088"/>
                      </a:cubicBezTo>
                      <a:lnTo>
                        <a:pt x="309702" y="546394"/>
                      </a:lnTo>
                      <a:cubicBezTo>
                        <a:pt x="295551" y="543696"/>
                        <a:pt x="288618" y="556870"/>
                        <a:pt x="288552" y="557053"/>
                      </a:cubicBezTo>
                      <a:close/>
                      <a:moveTo>
                        <a:pt x="323065" y="394352"/>
                      </a:moveTo>
                      <a:lnTo>
                        <a:pt x="340399" y="390535"/>
                      </a:lnTo>
                      <a:lnTo>
                        <a:pt x="341990" y="411210"/>
                      </a:lnTo>
                      <a:lnTo>
                        <a:pt x="341673" y="415028"/>
                      </a:lnTo>
                      <a:lnTo>
                        <a:pt x="323701" y="412324"/>
                      </a:lnTo>
                      <a:lnTo>
                        <a:pt x="323065" y="394352"/>
                      </a:lnTo>
                      <a:close/>
                      <a:moveTo>
                        <a:pt x="328313" y="566756"/>
                      </a:moveTo>
                      <a:cubicBezTo>
                        <a:pt x="328321" y="562370"/>
                        <a:pt x="323259" y="513218"/>
                        <a:pt x="324858" y="510668"/>
                      </a:cubicBezTo>
                      <a:cubicBezTo>
                        <a:pt x="323450" y="490064"/>
                        <a:pt x="323673" y="446762"/>
                        <a:pt x="324495" y="425841"/>
                      </a:cubicBezTo>
                      <a:cubicBezTo>
                        <a:pt x="329335" y="426369"/>
                        <a:pt x="333175" y="426649"/>
                        <a:pt x="334355" y="427272"/>
                      </a:cubicBezTo>
                      <a:lnTo>
                        <a:pt x="343420" y="433157"/>
                      </a:lnTo>
                      <a:cubicBezTo>
                        <a:pt x="347324" y="452265"/>
                        <a:pt x="348266" y="464942"/>
                        <a:pt x="353280" y="483893"/>
                      </a:cubicBezTo>
                      <a:lnTo>
                        <a:pt x="366320" y="515065"/>
                      </a:lnTo>
                      <a:cubicBezTo>
                        <a:pt x="366320" y="515065"/>
                        <a:pt x="363368" y="525736"/>
                        <a:pt x="363139" y="535741"/>
                      </a:cubicBezTo>
                      <a:cubicBezTo>
                        <a:pt x="362911" y="545746"/>
                        <a:pt x="371568" y="556257"/>
                        <a:pt x="371568" y="556257"/>
                      </a:cubicBezTo>
                      <a:lnTo>
                        <a:pt x="381428" y="561188"/>
                      </a:lnTo>
                      <a:lnTo>
                        <a:pt x="384292" y="578046"/>
                      </a:lnTo>
                      <a:lnTo>
                        <a:pt x="328313" y="566756"/>
                      </a:lnTo>
                      <a:close/>
                      <a:moveTo>
                        <a:pt x="517737" y="605723"/>
                      </a:moveTo>
                      <a:cubicBezTo>
                        <a:pt x="517737" y="605723"/>
                        <a:pt x="506921" y="594750"/>
                        <a:pt x="503106" y="599521"/>
                      </a:cubicBezTo>
                      <a:cubicBezTo>
                        <a:pt x="499291" y="604292"/>
                        <a:pt x="505173" y="609700"/>
                        <a:pt x="506447" y="616539"/>
                      </a:cubicBezTo>
                      <a:cubicBezTo>
                        <a:pt x="507720" y="623377"/>
                        <a:pt x="506923" y="633240"/>
                        <a:pt x="506923" y="633240"/>
                      </a:cubicBezTo>
                      <a:lnTo>
                        <a:pt x="487042" y="639441"/>
                      </a:lnTo>
                      <a:cubicBezTo>
                        <a:pt x="484632" y="628788"/>
                        <a:pt x="487610" y="615274"/>
                        <a:pt x="468116" y="609860"/>
                      </a:cubicBezTo>
                      <a:cubicBezTo>
                        <a:pt x="453802" y="605882"/>
                        <a:pt x="437261" y="573280"/>
                        <a:pt x="437261" y="573280"/>
                      </a:cubicBezTo>
                      <a:cubicBezTo>
                        <a:pt x="432173" y="567078"/>
                        <a:pt x="433444" y="558966"/>
                        <a:pt x="433444" y="558966"/>
                      </a:cubicBezTo>
                      <a:lnTo>
                        <a:pt x="431853" y="551651"/>
                      </a:lnTo>
                      <a:cubicBezTo>
                        <a:pt x="431853" y="551651"/>
                        <a:pt x="444100" y="548787"/>
                        <a:pt x="442510" y="533679"/>
                      </a:cubicBezTo>
                      <a:cubicBezTo>
                        <a:pt x="442510" y="533679"/>
                        <a:pt x="433584" y="520191"/>
                        <a:pt x="432082" y="512221"/>
                      </a:cubicBezTo>
                      <a:cubicBezTo>
                        <a:pt x="430580" y="504255"/>
                        <a:pt x="437102" y="416938"/>
                        <a:pt x="434238" y="377337"/>
                      </a:cubicBezTo>
                      <a:cubicBezTo>
                        <a:pt x="434238" y="377337"/>
                        <a:pt x="468670" y="369942"/>
                        <a:pt x="488949" y="371136"/>
                      </a:cubicBezTo>
                      <a:lnTo>
                        <a:pt x="512805" y="378294"/>
                      </a:lnTo>
                      <a:cubicBezTo>
                        <a:pt x="512805" y="378294"/>
                        <a:pt x="517188" y="409152"/>
                        <a:pt x="517260" y="442071"/>
                      </a:cubicBezTo>
                      <a:cubicBezTo>
                        <a:pt x="517337" y="477980"/>
                        <a:pt x="511124" y="516830"/>
                        <a:pt x="511535" y="524297"/>
                      </a:cubicBezTo>
                      <a:cubicBezTo>
                        <a:pt x="512320" y="538610"/>
                        <a:pt x="518365" y="555166"/>
                        <a:pt x="518365" y="555166"/>
                      </a:cubicBezTo>
                      <a:lnTo>
                        <a:pt x="519327" y="577101"/>
                      </a:lnTo>
                      <a:cubicBezTo>
                        <a:pt x="519327" y="577101"/>
                        <a:pt x="521714" y="580758"/>
                        <a:pt x="522031" y="585370"/>
                      </a:cubicBezTo>
                      <a:cubicBezTo>
                        <a:pt x="522348" y="589981"/>
                        <a:pt x="517737" y="605723"/>
                        <a:pt x="517737" y="605723"/>
                      </a:cubicBezTo>
                      <a:close/>
                      <a:moveTo>
                        <a:pt x="596621" y="575981"/>
                      </a:moveTo>
                      <a:lnTo>
                        <a:pt x="587079" y="563258"/>
                      </a:lnTo>
                      <a:lnTo>
                        <a:pt x="588032" y="552919"/>
                      </a:lnTo>
                      <a:lnTo>
                        <a:pt x="597735" y="544650"/>
                      </a:lnTo>
                      <a:lnTo>
                        <a:pt x="596621" y="575981"/>
                      </a:lnTo>
                      <a:close/>
                      <a:moveTo>
                        <a:pt x="604097" y="497254"/>
                      </a:moveTo>
                      <a:cubicBezTo>
                        <a:pt x="602823" y="485804"/>
                        <a:pt x="593123" y="488665"/>
                        <a:pt x="593123" y="488665"/>
                      </a:cubicBezTo>
                      <a:lnTo>
                        <a:pt x="601236" y="393239"/>
                      </a:lnTo>
                      <a:cubicBezTo>
                        <a:pt x="608728" y="396000"/>
                        <a:pt x="614813" y="411156"/>
                        <a:pt x="621274" y="430296"/>
                      </a:cubicBezTo>
                      <a:cubicBezTo>
                        <a:pt x="634366" y="469063"/>
                        <a:pt x="645131" y="523974"/>
                        <a:pt x="645131" y="523974"/>
                      </a:cubicBezTo>
                      <a:lnTo>
                        <a:pt x="605530" y="520316"/>
                      </a:lnTo>
                      <a:lnTo>
                        <a:pt x="607437" y="503775"/>
                      </a:lnTo>
                      <a:lnTo>
                        <a:pt x="604097" y="497254"/>
                      </a:lnTo>
                      <a:close/>
                      <a:moveTo>
                        <a:pt x="639566" y="612721"/>
                      </a:moveTo>
                      <a:cubicBezTo>
                        <a:pt x="625729" y="610814"/>
                        <a:pt x="614279" y="601588"/>
                        <a:pt x="614279" y="601588"/>
                      </a:cubicBezTo>
                      <a:cubicBezTo>
                        <a:pt x="608077" y="567392"/>
                        <a:pt x="614439" y="543696"/>
                        <a:pt x="612052" y="536697"/>
                      </a:cubicBezTo>
                      <a:lnTo>
                        <a:pt x="648951" y="540832"/>
                      </a:lnTo>
                      <a:lnTo>
                        <a:pt x="666446" y="610177"/>
                      </a:lnTo>
                      <a:cubicBezTo>
                        <a:pt x="666443" y="610174"/>
                        <a:pt x="653403" y="614628"/>
                        <a:pt x="639566" y="612721"/>
                      </a:cubicBezTo>
                      <a:close/>
                    </a:path>
                  </a:pathLst>
                </a:custGeom>
                <a:grpFill/>
                <a:ln w="2826" cap="flat">
                  <a:noFill/>
                  <a:prstDash val="solid"/>
                  <a:miter/>
                </a:ln>
              </p:spPr>
              <p:txBody>
                <a:bodyPr rtlCol="0" anchor="ctr"/>
                <a:lstStyle/>
                <a:p>
                  <a:endParaRPr lang="fr-CA"/>
                </a:p>
              </p:txBody>
            </p:sp>
            <p:grpSp>
              <p:nvGrpSpPr>
                <p:cNvPr id="1033" name="Graphique 35" descr="Garçon dans un fauteuil roulant">
                  <a:extLst>
                    <a:ext uri="{FF2B5EF4-FFF2-40B4-BE49-F238E27FC236}">
                      <a16:creationId xmlns:a16="http://schemas.microsoft.com/office/drawing/2014/main" id="{E7554C0C-E38B-FFC0-8C29-C754108BD6E4}"/>
                    </a:ext>
                  </a:extLst>
                </p:cNvPr>
                <p:cNvGrpSpPr/>
                <p:nvPr/>
              </p:nvGrpSpPr>
              <p:grpSpPr>
                <a:xfrm>
                  <a:off x="9291701" y="4005701"/>
                  <a:ext cx="288140" cy="253089"/>
                  <a:chOff x="9291701" y="4005701"/>
                  <a:chExt cx="288140" cy="253089"/>
                </a:xfrm>
                <a:grpFill/>
              </p:grpSpPr>
              <p:sp>
                <p:nvSpPr>
                  <p:cNvPr id="1034" name="Forme libre : forme 1033">
                    <a:extLst>
                      <a:ext uri="{FF2B5EF4-FFF2-40B4-BE49-F238E27FC236}">
                        <a16:creationId xmlns:a16="http://schemas.microsoft.com/office/drawing/2014/main" id="{C81FB75C-B713-21B5-2B41-EF6D93B506B3}"/>
                      </a:ext>
                    </a:extLst>
                  </p:cNvPr>
                  <p:cNvSpPr/>
                  <p:nvPr/>
                </p:nvSpPr>
                <p:spPr>
                  <a:xfrm>
                    <a:off x="9291701" y="4005701"/>
                    <a:ext cx="288140" cy="238713"/>
                  </a:xfrm>
                  <a:custGeom>
                    <a:avLst/>
                    <a:gdLst>
                      <a:gd name="connsiteX0" fmla="*/ 259505 w 288140"/>
                      <a:gd name="connsiteY0" fmla="*/ 102633 h 238713"/>
                      <a:gd name="connsiteX1" fmla="*/ 179983 w 288140"/>
                      <a:gd name="connsiteY1" fmla="*/ 21838 h 238713"/>
                      <a:gd name="connsiteX2" fmla="*/ 167308 w 288140"/>
                      <a:gd name="connsiteY2" fmla="*/ 9334 h 238713"/>
                      <a:gd name="connsiteX3" fmla="*/ 165852 w 288140"/>
                      <a:gd name="connsiteY3" fmla="*/ 8926 h 238713"/>
                      <a:gd name="connsiteX4" fmla="*/ 163965 w 288140"/>
                      <a:gd name="connsiteY4" fmla="*/ 10788 h 238713"/>
                      <a:gd name="connsiteX5" fmla="*/ 162917 w 288140"/>
                      <a:gd name="connsiteY5" fmla="*/ 14922 h 238713"/>
                      <a:gd name="connsiteX6" fmla="*/ 165869 w 288140"/>
                      <a:gd name="connsiteY6" fmla="*/ 58344 h 238713"/>
                      <a:gd name="connsiteX7" fmla="*/ 163417 w 288140"/>
                      <a:gd name="connsiteY7" fmla="*/ 71067 h 238713"/>
                      <a:gd name="connsiteX8" fmla="*/ 93763 w 288140"/>
                      <a:gd name="connsiteY8" fmla="*/ 10711 h 238713"/>
                      <a:gd name="connsiteX9" fmla="*/ 96373 w 288140"/>
                      <a:gd name="connsiteY9" fmla="*/ 1833 h 238713"/>
                      <a:gd name="connsiteX10" fmla="*/ 93772 w 288140"/>
                      <a:gd name="connsiteY10" fmla="*/ 97 h 238713"/>
                      <a:gd name="connsiteX11" fmla="*/ 78193 w 288140"/>
                      <a:gd name="connsiteY11" fmla="*/ 25656 h 238713"/>
                      <a:gd name="connsiteX12" fmla="*/ 7577 w 288140"/>
                      <a:gd name="connsiteY12" fmla="*/ 110905 h 238713"/>
                      <a:gd name="connsiteX13" fmla="*/ 927 w 288140"/>
                      <a:gd name="connsiteY13" fmla="*/ 219408 h 238713"/>
                      <a:gd name="connsiteX14" fmla="*/ 5590 w 288140"/>
                      <a:gd name="connsiteY14" fmla="*/ 220422 h 238713"/>
                      <a:gd name="connsiteX15" fmla="*/ 73482 w 288140"/>
                      <a:gd name="connsiteY15" fmla="*/ 208407 h 238713"/>
                      <a:gd name="connsiteX16" fmla="*/ 165512 w 288140"/>
                      <a:gd name="connsiteY16" fmla="*/ 215082 h 238713"/>
                      <a:gd name="connsiteX17" fmla="*/ 221020 w 288140"/>
                      <a:gd name="connsiteY17" fmla="*/ 215322 h 238713"/>
                      <a:gd name="connsiteX18" fmla="*/ 238595 w 288140"/>
                      <a:gd name="connsiteY18" fmla="*/ 235361 h 238713"/>
                      <a:gd name="connsiteX19" fmla="*/ 240531 w 288140"/>
                      <a:gd name="connsiteY19" fmla="*/ 237083 h 238713"/>
                      <a:gd name="connsiteX20" fmla="*/ 286548 w 288140"/>
                      <a:gd name="connsiteY20" fmla="*/ 228705 h 238713"/>
                      <a:gd name="connsiteX21" fmla="*/ 263328 w 288140"/>
                      <a:gd name="connsiteY21" fmla="*/ 170707 h 238713"/>
                      <a:gd name="connsiteX22" fmla="*/ 288138 w 288140"/>
                      <a:gd name="connsiteY22" fmla="*/ 160848 h 238713"/>
                      <a:gd name="connsiteX23" fmla="*/ 259505 w 288140"/>
                      <a:gd name="connsiteY23" fmla="*/ 102633 h 23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140" h="238713">
                        <a:moveTo>
                          <a:pt x="259505" y="102633"/>
                        </a:moveTo>
                        <a:cubicBezTo>
                          <a:pt x="245131" y="68926"/>
                          <a:pt x="227453" y="13292"/>
                          <a:pt x="179983" y="21838"/>
                        </a:cubicBezTo>
                        <a:cubicBezTo>
                          <a:pt x="175458" y="16356"/>
                          <a:pt x="171312" y="12769"/>
                          <a:pt x="167308" y="9334"/>
                        </a:cubicBezTo>
                        <a:cubicBezTo>
                          <a:pt x="166909" y="8989"/>
                          <a:pt x="166375" y="8840"/>
                          <a:pt x="165852" y="8926"/>
                        </a:cubicBezTo>
                        <a:cubicBezTo>
                          <a:pt x="164841" y="9060"/>
                          <a:pt x="164484" y="10040"/>
                          <a:pt x="163965" y="10788"/>
                        </a:cubicBezTo>
                        <a:cubicBezTo>
                          <a:pt x="163297" y="11916"/>
                          <a:pt x="161815" y="13577"/>
                          <a:pt x="162917" y="14922"/>
                        </a:cubicBezTo>
                        <a:cubicBezTo>
                          <a:pt x="172371" y="26461"/>
                          <a:pt x="170646" y="44906"/>
                          <a:pt x="165869" y="58344"/>
                        </a:cubicBezTo>
                        <a:cubicBezTo>
                          <a:pt x="163891" y="62875"/>
                          <a:pt x="164213" y="63749"/>
                          <a:pt x="163417" y="71067"/>
                        </a:cubicBezTo>
                        <a:cubicBezTo>
                          <a:pt x="148323" y="47028"/>
                          <a:pt x="104157" y="37245"/>
                          <a:pt x="93763" y="10711"/>
                        </a:cubicBezTo>
                        <a:cubicBezTo>
                          <a:pt x="96661" y="10240"/>
                          <a:pt x="95739" y="4443"/>
                          <a:pt x="96373" y="1833"/>
                        </a:cubicBezTo>
                        <a:cubicBezTo>
                          <a:pt x="96524" y="508"/>
                          <a:pt x="95085" y="-288"/>
                          <a:pt x="93772" y="97"/>
                        </a:cubicBezTo>
                        <a:cubicBezTo>
                          <a:pt x="79900" y="4166"/>
                          <a:pt x="78781" y="26055"/>
                          <a:pt x="78193" y="25656"/>
                        </a:cubicBezTo>
                        <a:cubicBezTo>
                          <a:pt x="40522" y="42631"/>
                          <a:pt x="17857" y="75256"/>
                          <a:pt x="7577" y="110905"/>
                        </a:cubicBezTo>
                        <a:cubicBezTo>
                          <a:pt x="-2499" y="145846"/>
                          <a:pt x="82" y="185050"/>
                          <a:pt x="927" y="219408"/>
                        </a:cubicBezTo>
                        <a:cubicBezTo>
                          <a:pt x="1273" y="222212"/>
                          <a:pt x="3817" y="220973"/>
                          <a:pt x="5590" y="220422"/>
                        </a:cubicBezTo>
                        <a:cubicBezTo>
                          <a:pt x="36533" y="210822"/>
                          <a:pt x="55053" y="207133"/>
                          <a:pt x="73482" y="208407"/>
                        </a:cubicBezTo>
                        <a:cubicBezTo>
                          <a:pt x="119239" y="211565"/>
                          <a:pt x="131222" y="225601"/>
                          <a:pt x="165512" y="215082"/>
                        </a:cubicBezTo>
                        <a:cubicBezTo>
                          <a:pt x="186145" y="208752"/>
                          <a:pt x="202315" y="206445"/>
                          <a:pt x="221020" y="215322"/>
                        </a:cubicBezTo>
                        <a:cubicBezTo>
                          <a:pt x="230697" y="219914"/>
                          <a:pt x="236765" y="228046"/>
                          <a:pt x="238595" y="235361"/>
                        </a:cubicBezTo>
                        <a:cubicBezTo>
                          <a:pt x="238695" y="235758"/>
                          <a:pt x="240111" y="236954"/>
                          <a:pt x="240531" y="237083"/>
                        </a:cubicBezTo>
                        <a:cubicBezTo>
                          <a:pt x="260513" y="243336"/>
                          <a:pt x="287184" y="229662"/>
                          <a:pt x="286548" y="228705"/>
                        </a:cubicBezTo>
                        <a:cubicBezTo>
                          <a:pt x="284175" y="225145"/>
                          <a:pt x="262494" y="176075"/>
                          <a:pt x="263328" y="170707"/>
                        </a:cubicBezTo>
                        <a:cubicBezTo>
                          <a:pt x="263354" y="170196"/>
                          <a:pt x="287835" y="161353"/>
                          <a:pt x="288138" y="160848"/>
                        </a:cubicBezTo>
                        <a:cubicBezTo>
                          <a:pt x="288438" y="160334"/>
                          <a:pt x="259753" y="103170"/>
                          <a:pt x="259505" y="102633"/>
                        </a:cubicBezTo>
                        <a:close/>
                      </a:path>
                    </a:pathLst>
                  </a:custGeom>
                  <a:grpFill/>
                  <a:ln w="2826" cap="flat">
                    <a:noFill/>
                    <a:prstDash val="solid"/>
                    <a:miter/>
                  </a:ln>
                </p:spPr>
                <p:txBody>
                  <a:bodyPr rtlCol="0" anchor="ctr"/>
                  <a:lstStyle/>
                  <a:p>
                    <a:endParaRPr lang="fr-CA"/>
                  </a:p>
                </p:txBody>
              </p:sp>
              <p:sp>
                <p:nvSpPr>
                  <p:cNvPr id="1035" name="Forme libre : forme 1034">
                    <a:extLst>
                      <a:ext uri="{FF2B5EF4-FFF2-40B4-BE49-F238E27FC236}">
                        <a16:creationId xmlns:a16="http://schemas.microsoft.com/office/drawing/2014/main" id="{3191BCCF-28FE-FEB8-2268-357D54AA7DC1}"/>
                      </a:ext>
                    </a:extLst>
                  </p:cNvPr>
                  <p:cNvSpPr/>
                  <p:nvPr/>
                </p:nvSpPr>
                <p:spPr>
                  <a:xfrm>
                    <a:off x="9435421" y="4249248"/>
                    <a:ext cx="26083" cy="9542"/>
                  </a:xfrm>
                  <a:custGeom>
                    <a:avLst/>
                    <a:gdLst>
                      <a:gd name="connsiteX0" fmla="*/ 26084 w 26083"/>
                      <a:gd name="connsiteY0" fmla="*/ 9543 h 9542"/>
                      <a:gd name="connsiteX1" fmla="*/ 26084 w 26083"/>
                      <a:gd name="connsiteY1" fmla="*/ 0 h 9542"/>
                      <a:gd name="connsiteX2" fmla="*/ 0 w 26083"/>
                      <a:gd name="connsiteY2" fmla="*/ 3181 h 9542"/>
                    </a:gdLst>
                    <a:ahLst/>
                    <a:cxnLst>
                      <a:cxn ang="0">
                        <a:pos x="connsiteX0" y="connsiteY0"/>
                      </a:cxn>
                      <a:cxn ang="0">
                        <a:pos x="connsiteX1" y="connsiteY1"/>
                      </a:cxn>
                      <a:cxn ang="0">
                        <a:pos x="connsiteX2" y="connsiteY2"/>
                      </a:cxn>
                    </a:cxnLst>
                    <a:rect l="l" t="t" r="r" b="b"/>
                    <a:pathLst>
                      <a:path w="26083" h="9542">
                        <a:moveTo>
                          <a:pt x="26084" y="9543"/>
                        </a:moveTo>
                        <a:lnTo>
                          <a:pt x="26084" y="0"/>
                        </a:lnTo>
                        <a:lnTo>
                          <a:pt x="0" y="3181"/>
                        </a:lnTo>
                        <a:close/>
                      </a:path>
                    </a:pathLst>
                  </a:custGeom>
                  <a:grpFill/>
                  <a:ln w="2826" cap="flat">
                    <a:noFill/>
                    <a:prstDash val="solid"/>
                    <a:miter/>
                  </a:ln>
                </p:spPr>
                <p:txBody>
                  <a:bodyPr rtlCol="0" anchor="ctr"/>
                  <a:lstStyle/>
                  <a:p>
                    <a:endParaRPr lang="fr-CA"/>
                  </a:p>
                </p:txBody>
              </p:sp>
            </p:grpSp>
            <p:grpSp>
              <p:nvGrpSpPr>
                <p:cNvPr id="1036" name="Graphique 35" descr="Garçon dans un fauteuil roulant">
                  <a:extLst>
                    <a:ext uri="{FF2B5EF4-FFF2-40B4-BE49-F238E27FC236}">
                      <a16:creationId xmlns:a16="http://schemas.microsoft.com/office/drawing/2014/main" id="{1E2703BA-4CC9-1DB0-C506-104AD45810B5}"/>
                    </a:ext>
                  </a:extLst>
                </p:cNvPr>
                <p:cNvGrpSpPr/>
                <p:nvPr/>
              </p:nvGrpSpPr>
              <p:grpSpPr>
                <a:xfrm>
                  <a:off x="9539751" y="4603234"/>
                  <a:ext cx="304846" cy="57173"/>
                  <a:chOff x="9539751" y="4603234"/>
                  <a:chExt cx="304846" cy="57173"/>
                </a:xfrm>
                <a:grpFill/>
              </p:grpSpPr>
              <p:sp>
                <p:nvSpPr>
                  <p:cNvPr id="1037" name="Forme libre : forme 1036">
                    <a:extLst>
                      <a:ext uri="{FF2B5EF4-FFF2-40B4-BE49-F238E27FC236}">
                        <a16:creationId xmlns:a16="http://schemas.microsoft.com/office/drawing/2014/main" id="{2B3DA25C-23E5-800A-23FE-D8C47C84AEE8}"/>
                      </a:ext>
                    </a:extLst>
                  </p:cNvPr>
                  <p:cNvSpPr/>
                  <p:nvPr/>
                </p:nvSpPr>
                <p:spPr>
                  <a:xfrm>
                    <a:off x="9655750" y="4603234"/>
                    <a:ext cx="188847" cy="57173"/>
                  </a:xfrm>
                  <a:custGeom>
                    <a:avLst/>
                    <a:gdLst>
                      <a:gd name="connsiteX0" fmla="*/ 188620 w 188847"/>
                      <a:gd name="connsiteY0" fmla="*/ 2704 h 57173"/>
                      <a:gd name="connsiteX1" fmla="*/ 185065 w 188847"/>
                      <a:gd name="connsiteY1" fmla="*/ 140 h 57173"/>
                      <a:gd name="connsiteX2" fmla="*/ 121040 w 188847"/>
                      <a:gd name="connsiteY2" fmla="*/ 24873 h 57173"/>
                      <a:gd name="connsiteX3" fmla="*/ 26453 w 188847"/>
                      <a:gd name="connsiteY3" fmla="*/ 33865 h 57173"/>
                      <a:gd name="connsiteX4" fmla="*/ 24146 w 188847"/>
                      <a:gd name="connsiteY4" fmla="*/ 31803 h 57173"/>
                      <a:gd name="connsiteX5" fmla="*/ 7254 w 188847"/>
                      <a:gd name="connsiteY5" fmla="*/ 36295 h 57173"/>
                      <a:gd name="connsiteX6" fmla="*/ 1720 w 188847"/>
                      <a:gd name="connsiteY6" fmla="*/ 45209 h 57173"/>
                      <a:gd name="connsiteX7" fmla="*/ 5090 w 188847"/>
                      <a:gd name="connsiteY7" fmla="*/ 55594 h 57173"/>
                      <a:gd name="connsiteX8" fmla="*/ 71885 w 188847"/>
                      <a:gd name="connsiteY8" fmla="*/ 51282 h 57173"/>
                      <a:gd name="connsiteX9" fmla="*/ 169578 w 188847"/>
                      <a:gd name="connsiteY9" fmla="*/ 15782 h 57173"/>
                      <a:gd name="connsiteX10" fmla="*/ 187829 w 188847"/>
                      <a:gd name="connsiteY10" fmla="*/ 5186 h 57173"/>
                      <a:gd name="connsiteX11" fmla="*/ 188620 w 188847"/>
                      <a:gd name="connsiteY11" fmla="*/ 2704 h 5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847" h="57173">
                        <a:moveTo>
                          <a:pt x="188620" y="2704"/>
                        </a:moveTo>
                        <a:cubicBezTo>
                          <a:pt x="187818" y="1371"/>
                          <a:pt x="186815" y="-534"/>
                          <a:pt x="185065" y="140"/>
                        </a:cubicBezTo>
                        <a:cubicBezTo>
                          <a:pt x="163790" y="9220"/>
                          <a:pt x="142249" y="17541"/>
                          <a:pt x="121040" y="24873"/>
                        </a:cubicBezTo>
                        <a:cubicBezTo>
                          <a:pt x="88703" y="37285"/>
                          <a:pt x="62491" y="26189"/>
                          <a:pt x="26453" y="33865"/>
                        </a:cubicBezTo>
                        <a:cubicBezTo>
                          <a:pt x="26590" y="32608"/>
                          <a:pt x="25417" y="31420"/>
                          <a:pt x="24146" y="31803"/>
                        </a:cubicBezTo>
                        <a:cubicBezTo>
                          <a:pt x="17102" y="33753"/>
                          <a:pt x="10937" y="35344"/>
                          <a:pt x="7254" y="36295"/>
                        </a:cubicBezTo>
                        <a:cubicBezTo>
                          <a:pt x="-887" y="38005"/>
                          <a:pt x="5786" y="38747"/>
                          <a:pt x="1720" y="45209"/>
                        </a:cubicBezTo>
                        <a:cubicBezTo>
                          <a:pt x="-875" y="49669"/>
                          <a:pt x="-1107" y="54863"/>
                          <a:pt x="5090" y="55594"/>
                        </a:cubicBezTo>
                        <a:cubicBezTo>
                          <a:pt x="26519" y="57935"/>
                          <a:pt x="50010" y="58523"/>
                          <a:pt x="71885" y="51282"/>
                        </a:cubicBezTo>
                        <a:cubicBezTo>
                          <a:pt x="104590" y="40181"/>
                          <a:pt x="140379" y="35558"/>
                          <a:pt x="169578" y="15782"/>
                        </a:cubicBezTo>
                        <a:cubicBezTo>
                          <a:pt x="175443" y="12067"/>
                          <a:pt x="181510" y="8229"/>
                          <a:pt x="187829" y="5186"/>
                        </a:cubicBezTo>
                        <a:cubicBezTo>
                          <a:pt x="188737" y="4774"/>
                          <a:pt x="189134" y="3567"/>
                          <a:pt x="188620" y="2704"/>
                        </a:cubicBezTo>
                        <a:close/>
                      </a:path>
                    </a:pathLst>
                  </a:custGeom>
                  <a:grpFill/>
                  <a:ln w="2826" cap="flat">
                    <a:noFill/>
                    <a:prstDash val="solid"/>
                    <a:miter/>
                  </a:ln>
                </p:spPr>
                <p:txBody>
                  <a:bodyPr rtlCol="0" anchor="ctr"/>
                  <a:lstStyle/>
                  <a:p>
                    <a:endParaRPr lang="fr-CA"/>
                  </a:p>
                </p:txBody>
              </p:sp>
              <p:sp>
                <p:nvSpPr>
                  <p:cNvPr id="1038" name="Forme libre : forme 1037">
                    <a:extLst>
                      <a:ext uri="{FF2B5EF4-FFF2-40B4-BE49-F238E27FC236}">
                        <a16:creationId xmlns:a16="http://schemas.microsoft.com/office/drawing/2014/main" id="{16305126-75A1-6245-4552-F0F578947AB0}"/>
                      </a:ext>
                    </a:extLst>
                  </p:cNvPr>
                  <p:cNvSpPr/>
                  <p:nvPr/>
                </p:nvSpPr>
                <p:spPr>
                  <a:xfrm>
                    <a:off x="9585773" y="4608277"/>
                    <a:ext cx="56215" cy="21346"/>
                  </a:xfrm>
                  <a:custGeom>
                    <a:avLst/>
                    <a:gdLst>
                      <a:gd name="connsiteX0" fmla="*/ 55536 w 56215"/>
                      <a:gd name="connsiteY0" fmla="*/ 7652 h 21346"/>
                      <a:gd name="connsiteX1" fmla="*/ 13965 w 56215"/>
                      <a:gd name="connsiteY1" fmla="*/ 8563 h 21346"/>
                      <a:gd name="connsiteX2" fmla="*/ 1261 w 56215"/>
                      <a:gd name="connsiteY2" fmla="*/ 15290 h 21346"/>
                      <a:gd name="connsiteX3" fmla="*/ 16 w 56215"/>
                      <a:gd name="connsiteY3" fmla="*/ 17240 h 21346"/>
                      <a:gd name="connsiteX4" fmla="*/ 9519 w 56215"/>
                      <a:gd name="connsiteY4" fmla="*/ 17680 h 21346"/>
                      <a:gd name="connsiteX5" fmla="*/ 23136 w 56215"/>
                      <a:gd name="connsiteY5" fmla="*/ 17714 h 21346"/>
                      <a:gd name="connsiteX6" fmla="*/ 24826 w 56215"/>
                      <a:gd name="connsiteY6" fmla="*/ 18625 h 21346"/>
                      <a:gd name="connsiteX7" fmla="*/ 38935 w 56215"/>
                      <a:gd name="connsiteY7" fmla="*/ 18500 h 21346"/>
                      <a:gd name="connsiteX8" fmla="*/ 44768 w 56215"/>
                      <a:gd name="connsiteY8" fmla="*/ 21346 h 21346"/>
                      <a:gd name="connsiteX9" fmla="*/ 53680 w 56215"/>
                      <a:gd name="connsiteY9" fmla="*/ 17460 h 21346"/>
                      <a:gd name="connsiteX10" fmla="*/ 54739 w 56215"/>
                      <a:gd name="connsiteY10" fmla="*/ 16344 h 21346"/>
                      <a:gd name="connsiteX11" fmla="*/ 55536 w 56215"/>
                      <a:gd name="connsiteY11" fmla="*/ 7652 h 2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5" h="21346">
                        <a:moveTo>
                          <a:pt x="55536" y="7652"/>
                        </a:moveTo>
                        <a:cubicBezTo>
                          <a:pt x="45962" y="-4797"/>
                          <a:pt x="25015" y="-269"/>
                          <a:pt x="13965" y="8563"/>
                        </a:cubicBezTo>
                        <a:cubicBezTo>
                          <a:pt x="9750" y="11304"/>
                          <a:pt x="5773" y="13894"/>
                          <a:pt x="1261" y="15290"/>
                        </a:cubicBezTo>
                        <a:cubicBezTo>
                          <a:pt x="425" y="15547"/>
                          <a:pt x="-101" y="16372"/>
                          <a:pt x="16" y="17240"/>
                        </a:cubicBezTo>
                        <a:cubicBezTo>
                          <a:pt x="967" y="20441"/>
                          <a:pt x="6130" y="17989"/>
                          <a:pt x="9519" y="17680"/>
                        </a:cubicBezTo>
                        <a:cubicBezTo>
                          <a:pt x="14381" y="16695"/>
                          <a:pt x="21731" y="15207"/>
                          <a:pt x="23136" y="17714"/>
                        </a:cubicBezTo>
                        <a:cubicBezTo>
                          <a:pt x="23476" y="18320"/>
                          <a:pt x="24130" y="18671"/>
                          <a:pt x="24826" y="18625"/>
                        </a:cubicBezTo>
                        <a:cubicBezTo>
                          <a:pt x="29655" y="18640"/>
                          <a:pt x="34586" y="17380"/>
                          <a:pt x="38935" y="18500"/>
                        </a:cubicBezTo>
                        <a:cubicBezTo>
                          <a:pt x="43252" y="18580"/>
                          <a:pt x="42096" y="20667"/>
                          <a:pt x="44768" y="21346"/>
                        </a:cubicBezTo>
                        <a:cubicBezTo>
                          <a:pt x="47723" y="20353"/>
                          <a:pt x="50330" y="18568"/>
                          <a:pt x="53680" y="17460"/>
                        </a:cubicBezTo>
                        <a:cubicBezTo>
                          <a:pt x="54182" y="17266"/>
                          <a:pt x="54571" y="16855"/>
                          <a:pt x="54739" y="16344"/>
                        </a:cubicBezTo>
                        <a:cubicBezTo>
                          <a:pt x="55633" y="13668"/>
                          <a:pt x="57080" y="10916"/>
                          <a:pt x="55536" y="7652"/>
                        </a:cubicBezTo>
                        <a:close/>
                      </a:path>
                    </a:pathLst>
                  </a:custGeom>
                  <a:grpFill/>
                  <a:ln w="2826" cap="flat">
                    <a:noFill/>
                    <a:prstDash val="solid"/>
                    <a:miter/>
                  </a:ln>
                </p:spPr>
                <p:txBody>
                  <a:bodyPr rtlCol="0" anchor="ctr"/>
                  <a:lstStyle/>
                  <a:p>
                    <a:endParaRPr lang="fr-CA"/>
                  </a:p>
                </p:txBody>
              </p:sp>
              <p:sp>
                <p:nvSpPr>
                  <p:cNvPr id="1039" name="Forme libre : forme 1038">
                    <a:extLst>
                      <a:ext uri="{FF2B5EF4-FFF2-40B4-BE49-F238E27FC236}">
                        <a16:creationId xmlns:a16="http://schemas.microsoft.com/office/drawing/2014/main" id="{5DD6BD7B-0591-CE35-863B-5F64DB76679B}"/>
                      </a:ext>
                    </a:extLst>
                  </p:cNvPr>
                  <p:cNvSpPr/>
                  <p:nvPr/>
                </p:nvSpPr>
                <p:spPr>
                  <a:xfrm>
                    <a:off x="9539751" y="4627716"/>
                    <a:ext cx="15875" cy="17897"/>
                  </a:xfrm>
                  <a:custGeom>
                    <a:avLst/>
                    <a:gdLst>
                      <a:gd name="connsiteX0" fmla="*/ 14019 w 15875"/>
                      <a:gd name="connsiteY0" fmla="*/ 4903 h 17897"/>
                      <a:gd name="connsiteX1" fmla="*/ 12286 w 15875"/>
                      <a:gd name="connsiteY1" fmla="*/ 3435 h 17897"/>
                      <a:gd name="connsiteX2" fmla="*/ 2697 w 15875"/>
                      <a:gd name="connsiteY2" fmla="*/ 248 h 17897"/>
                      <a:gd name="connsiteX3" fmla="*/ 19 w 15875"/>
                      <a:gd name="connsiteY3" fmla="*/ 2004 h 17897"/>
                      <a:gd name="connsiteX4" fmla="*/ 14027 w 15875"/>
                      <a:gd name="connsiteY4" fmla="*/ 17886 h 17897"/>
                      <a:gd name="connsiteX5" fmla="*/ 15538 w 15875"/>
                      <a:gd name="connsiteY5" fmla="*/ 17335 h 17897"/>
                      <a:gd name="connsiteX6" fmla="*/ 14019 w 15875"/>
                      <a:gd name="connsiteY6" fmla="*/ 4903 h 1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5" h="17897">
                        <a:moveTo>
                          <a:pt x="14019" y="4903"/>
                        </a:moveTo>
                        <a:cubicBezTo>
                          <a:pt x="13865" y="4063"/>
                          <a:pt x="13139" y="3449"/>
                          <a:pt x="12286" y="3435"/>
                        </a:cubicBezTo>
                        <a:cubicBezTo>
                          <a:pt x="9393" y="3389"/>
                          <a:pt x="6347" y="2376"/>
                          <a:pt x="2697" y="248"/>
                        </a:cubicBezTo>
                        <a:cubicBezTo>
                          <a:pt x="1487" y="-511"/>
                          <a:pt x="-198" y="585"/>
                          <a:pt x="19" y="2004"/>
                        </a:cubicBezTo>
                        <a:cubicBezTo>
                          <a:pt x="307" y="9799"/>
                          <a:pt x="5319" y="17206"/>
                          <a:pt x="14027" y="17886"/>
                        </a:cubicBezTo>
                        <a:cubicBezTo>
                          <a:pt x="14584" y="17951"/>
                          <a:pt x="15150" y="17749"/>
                          <a:pt x="15538" y="17335"/>
                        </a:cubicBezTo>
                        <a:cubicBezTo>
                          <a:pt x="16786" y="14708"/>
                          <a:pt x="14182" y="8186"/>
                          <a:pt x="14019" y="4903"/>
                        </a:cubicBezTo>
                        <a:close/>
                      </a:path>
                    </a:pathLst>
                  </a:custGeom>
                  <a:grpFill/>
                  <a:ln w="2826" cap="flat">
                    <a:noFill/>
                    <a:prstDash val="solid"/>
                    <a:miter/>
                  </a:ln>
                </p:spPr>
                <p:txBody>
                  <a:bodyPr rtlCol="0" anchor="ctr"/>
                  <a:lstStyle/>
                  <a:p>
                    <a:endParaRPr lang="fr-CA"/>
                  </a:p>
                </p:txBody>
              </p:sp>
            </p:grpSp>
            <p:grpSp>
              <p:nvGrpSpPr>
                <p:cNvPr id="1040" name="Graphique 35" descr="Garçon dans un fauteuil roulant">
                  <a:extLst>
                    <a:ext uri="{FF2B5EF4-FFF2-40B4-BE49-F238E27FC236}">
                      <a16:creationId xmlns:a16="http://schemas.microsoft.com/office/drawing/2014/main" id="{69C53E3B-DD79-B46A-91D5-B636D46FBF73}"/>
                    </a:ext>
                  </a:extLst>
                </p:cNvPr>
                <p:cNvGrpSpPr/>
                <p:nvPr/>
              </p:nvGrpSpPr>
              <p:grpSpPr>
                <a:xfrm>
                  <a:off x="9534091" y="4553221"/>
                  <a:ext cx="305352" cy="84981"/>
                  <a:chOff x="9534091" y="4553221"/>
                  <a:chExt cx="305352" cy="84981"/>
                </a:xfrm>
                <a:grpFill/>
              </p:grpSpPr>
              <p:sp>
                <p:nvSpPr>
                  <p:cNvPr id="1041" name="Forme libre : forme 1040">
                    <a:extLst>
                      <a:ext uri="{FF2B5EF4-FFF2-40B4-BE49-F238E27FC236}">
                        <a16:creationId xmlns:a16="http://schemas.microsoft.com/office/drawing/2014/main" id="{3F4FEDC7-2AFF-A753-37E4-5CFF0A2EBBBE}"/>
                      </a:ext>
                    </a:extLst>
                  </p:cNvPr>
                  <p:cNvSpPr/>
                  <p:nvPr/>
                </p:nvSpPr>
                <p:spPr>
                  <a:xfrm>
                    <a:off x="9659469" y="4553221"/>
                    <a:ext cx="179974" cy="84981"/>
                  </a:xfrm>
                  <a:custGeom>
                    <a:avLst/>
                    <a:gdLst>
                      <a:gd name="connsiteX0" fmla="*/ 178782 w 179974"/>
                      <a:gd name="connsiteY0" fmla="*/ 47523 h 84981"/>
                      <a:gd name="connsiteX1" fmla="*/ 118200 w 179974"/>
                      <a:gd name="connsiteY1" fmla="*/ 40322 h 84981"/>
                      <a:gd name="connsiteX2" fmla="*/ 99003 w 179974"/>
                      <a:gd name="connsiteY2" fmla="*/ 26762 h 84981"/>
                      <a:gd name="connsiteX3" fmla="*/ 95705 w 179974"/>
                      <a:gd name="connsiteY3" fmla="*/ 22927 h 84981"/>
                      <a:gd name="connsiteX4" fmla="*/ 89218 w 179974"/>
                      <a:gd name="connsiteY4" fmla="*/ 10575 h 84981"/>
                      <a:gd name="connsiteX5" fmla="*/ 83410 w 179974"/>
                      <a:gd name="connsiteY5" fmla="*/ 19 h 84981"/>
                      <a:gd name="connsiteX6" fmla="*/ 77637 w 179974"/>
                      <a:gd name="connsiteY6" fmla="*/ 9279 h 84981"/>
                      <a:gd name="connsiteX7" fmla="*/ 59708 w 179974"/>
                      <a:gd name="connsiteY7" fmla="*/ 20809 h 84981"/>
                      <a:gd name="connsiteX8" fmla="*/ 44369 w 179974"/>
                      <a:gd name="connsiteY8" fmla="*/ 32156 h 84981"/>
                      <a:gd name="connsiteX9" fmla="*/ 10293 w 179974"/>
                      <a:gd name="connsiteY9" fmla="*/ 37638 h 84981"/>
                      <a:gd name="connsiteX10" fmla="*/ 5125 w 179974"/>
                      <a:gd name="connsiteY10" fmla="*/ 32678 h 84981"/>
                      <a:gd name="connsiteX11" fmla="*/ 91 w 179974"/>
                      <a:gd name="connsiteY11" fmla="*/ 38552 h 84981"/>
                      <a:gd name="connsiteX12" fmla="*/ 5353 w 179974"/>
                      <a:gd name="connsiteY12" fmla="*/ 48677 h 84981"/>
                      <a:gd name="connsiteX13" fmla="*/ 3572 w 179974"/>
                      <a:gd name="connsiteY13" fmla="*/ 61597 h 84981"/>
                      <a:gd name="connsiteX14" fmla="*/ 3677 w 179974"/>
                      <a:gd name="connsiteY14" fmla="*/ 63776 h 84981"/>
                      <a:gd name="connsiteX15" fmla="*/ 45688 w 179974"/>
                      <a:gd name="connsiteY15" fmla="*/ 59513 h 84981"/>
                      <a:gd name="connsiteX16" fmla="*/ 58574 w 179974"/>
                      <a:gd name="connsiteY16" fmla="*/ 59227 h 84981"/>
                      <a:gd name="connsiteX17" fmla="*/ 68848 w 179974"/>
                      <a:gd name="connsiteY17" fmla="*/ 62731 h 84981"/>
                      <a:gd name="connsiteX18" fmla="*/ 19342 w 179974"/>
                      <a:gd name="connsiteY18" fmla="*/ 82664 h 84981"/>
                      <a:gd name="connsiteX19" fmla="*/ 20675 w 179974"/>
                      <a:gd name="connsiteY19" fmla="*/ 84980 h 84981"/>
                      <a:gd name="connsiteX20" fmla="*/ 90760 w 179974"/>
                      <a:gd name="connsiteY20" fmla="*/ 80845 h 84981"/>
                      <a:gd name="connsiteX21" fmla="*/ 155139 w 179974"/>
                      <a:gd name="connsiteY21" fmla="*/ 60430 h 84981"/>
                      <a:gd name="connsiteX22" fmla="*/ 178830 w 179974"/>
                      <a:gd name="connsiteY22" fmla="*/ 50898 h 84981"/>
                      <a:gd name="connsiteX23" fmla="*/ 178782 w 179974"/>
                      <a:gd name="connsiteY23" fmla="*/ 47523 h 84981"/>
                      <a:gd name="connsiteX24" fmla="*/ 106161 w 179974"/>
                      <a:gd name="connsiteY24" fmla="*/ 46087 h 84981"/>
                      <a:gd name="connsiteX25" fmla="*/ 106161 w 179974"/>
                      <a:gd name="connsiteY25" fmla="*/ 46087 h 84981"/>
                      <a:gd name="connsiteX26" fmla="*/ 106161 w 179974"/>
                      <a:gd name="connsiteY26" fmla="*/ 46087 h 84981"/>
                      <a:gd name="connsiteX27" fmla="*/ 106161 w 179974"/>
                      <a:gd name="connsiteY27" fmla="*/ 46087 h 8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974" h="84981">
                        <a:moveTo>
                          <a:pt x="178782" y="47523"/>
                        </a:moveTo>
                        <a:cubicBezTo>
                          <a:pt x="153780" y="40468"/>
                          <a:pt x="146853" y="54987"/>
                          <a:pt x="118200" y="40322"/>
                        </a:cubicBezTo>
                        <a:cubicBezTo>
                          <a:pt x="115867" y="39803"/>
                          <a:pt x="100174" y="28507"/>
                          <a:pt x="99003" y="26762"/>
                        </a:cubicBezTo>
                        <a:cubicBezTo>
                          <a:pt x="98472" y="26203"/>
                          <a:pt x="96705" y="24001"/>
                          <a:pt x="95705" y="22927"/>
                        </a:cubicBezTo>
                        <a:cubicBezTo>
                          <a:pt x="92641" y="19381"/>
                          <a:pt x="90977" y="15104"/>
                          <a:pt x="89218" y="10575"/>
                        </a:cubicBezTo>
                        <a:cubicBezTo>
                          <a:pt x="87713" y="7674"/>
                          <a:pt x="86494" y="1421"/>
                          <a:pt x="83410" y="19"/>
                        </a:cubicBezTo>
                        <a:cubicBezTo>
                          <a:pt x="81431" y="-444"/>
                          <a:pt x="77128" y="7700"/>
                          <a:pt x="77637" y="9279"/>
                        </a:cubicBezTo>
                        <a:cubicBezTo>
                          <a:pt x="77839" y="9776"/>
                          <a:pt x="65030" y="16820"/>
                          <a:pt x="59708" y="20809"/>
                        </a:cubicBezTo>
                        <a:cubicBezTo>
                          <a:pt x="54394" y="24347"/>
                          <a:pt x="49740" y="27259"/>
                          <a:pt x="44369" y="32156"/>
                        </a:cubicBezTo>
                        <a:cubicBezTo>
                          <a:pt x="33093" y="42607"/>
                          <a:pt x="19984" y="50861"/>
                          <a:pt x="10293" y="37638"/>
                        </a:cubicBezTo>
                        <a:cubicBezTo>
                          <a:pt x="8751" y="35888"/>
                          <a:pt x="7155" y="34075"/>
                          <a:pt x="5125" y="32678"/>
                        </a:cubicBezTo>
                        <a:cubicBezTo>
                          <a:pt x="1833" y="30985"/>
                          <a:pt x="-497" y="36014"/>
                          <a:pt x="91" y="38552"/>
                        </a:cubicBezTo>
                        <a:cubicBezTo>
                          <a:pt x="876" y="42452"/>
                          <a:pt x="4608" y="44985"/>
                          <a:pt x="5353" y="48677"/>
                        </a:cubicBezTo>
                        <a:cubicBezTo>
                          <a:pt x="6301" y="51938"/>
                          <a:pt x="5442" y="58117"/>
                          <a:pt x="3572" y="61597"/>
                        </a:cubicBezTo>
                        <a:cubicBezTo>
                          <a:pt x="3186" y="62308"/>
                          <a:pt x="3229" y="63142"/>
                          <a:pt x="3677" y="63776"/>
                        </a:cubicBezTo>
                        <a:cubicBezTo>
                          <a:pt x="6427" y="67080"/>
                          <a:pt x="36402" y="59165"/>
                          <a:pt x="45688" y="59513"/>
                        </a:cubicBezTo>
                        <a:cubicBezTo>
                          <a:pt x="50531" y="58985"/>
                          <a:pt x="54745" y="58893"/>
                          <a:pt x="58574" y="59227"/>
                        </a:cubicBezTo>
                        <a:cubicBezTo>
                          <a:pt x="62523" y="58063"/>
                          <a:pt x="66572" y="59739"/>
                          <a:pt x="68848" y="62731"/>
                        </a:cubicBezTo>
                        <a:cubicBezTo>
                          <a:pt x="69633" y="64818"/>
                          <a:pt x="57438" y="70849"/>
                          <a:pt x="19342" y="82664"/>
                        </a:cubicBezTo>
                        <a:cubicBezTo>
                          <a:pt x="18674" y="83829"/>
                          <a:pt x="19288" y="85023"/>
                          <a:pt x="20675" y="84980"/>
                        </a:cubicBezTo>
                        <a:cubicBezTo>
                          <a:pt x="52615" y="77981"/>
                          <a:pt x="70278" y="82170"/>
                          <a:pt x="90760" y="80845"/>
                        </a:cubicBezTo>
                        <a:cubicBezTo>
                          <a:pt x="107344" y="79772"/>
                          <a:pt x="124370" y="72256"/>
                          <a:pt x="155139" y="60430"/>
                        </a:cubicBezTo>
                        <a:cubicBezTo>
                          <a:pt x="163020" y="57400"/>
                          <a:pt x="170989" y="53819"/>
                          <a:pt x="178830" y="50898"/>
                        </a:cubicBezTo>
                        <a:cubicBezTo>
                          <a:pt x="180355" y="50384"/>
                          <a:pt x="180372" y="47989"/>
                          <a:pt x="178782" y="47523"/>
                        </a:cubicBezTo>
                        <a:close/>
                        <a:moveTo>
                          <a:pt x="106161" y="46087"/>
                        </a:moveTo>
                        <a:cubicBezTo>
                          <a:pt x="106161" y="46087"/>
                          <a:pt x="106161" y="46087"/>
                          <a:pt x="106161" y="46087"/>
                        </a:cubicBezTo>
                        <a:lnTo>
                          <a:pt x="106161" y="46087"/>
                        </a:lnTo>
                        <a:cubicBezTo>
                          <a:pt x="106161" y="46087"/>
                          <a:pt x="106161" y="46087"/>
                          <a:pt x="106161" y="46087"/>
                        </a:cubicBezTo>
                        <a:close/>
                      </a:path>
                    </a:pathLst>
                  </a:custGeom>
                  <a:grpFill/>
                  <a:ln w="2826" cap="flat">
                    <a:noFill/>
                    <a:prstDash val="solid"/>
                    <a:miter/>
                  </a:ln>
                </p:spPr>
                <p:txBody>
                  <a:bodyPr rtlCol="0" anchor="ctr"/>
                  <a:lstStyle/>
                  <a:p>
                    <a:endParaRPr lang="fr-CA"/>
                  </a:p>
                </p:txBody>
              </p:sp>
              <p:sp>
                <p:nvSpPr>
                  <p:cNvPr id="1042" name="Forme libre : forme 1041">
                    <a:extLst>
                      <a:ext uri="{FF2B5EF4-FFF2-40B4-BE49-F238E27FC236}">
                        <a16:creationId xmlns:a16="http://schemas.microsoft.com/office/drawing/2014/main" id="{54E0836D-273D-4639-57A0-AFA4E652D269}"/>
                      </a:ext>
                    </a:extLst>
                  </p:cNvPr>
                  <p:cNvSpPr/>
                  <p:nvPr/>
                </p:nvSpPr>
                <p:spPr>
                  <a:xfrm>
                    <a:off x="9555305" y="4555380"/>
                    <a:ext cx="83122" cy="73897"/>
                  </a:xfrm>
                  <a:custGeom>
                    <a:avLst/>
                    <a:gdLst>
                      <a:gd name="connsiteX0" fmla="*/ 69165 w 83122"/>
                      <a:gd name="connsiteY0" fmla="*/ 41321 h 73897"/>
                      <a:gd name="connsiteX1" fmla="*/ 49766 w 83122"/>
                      <a:gd name="connsiteY1" fmla="*/ 23286 h 73897"/>
                      <a:gd name="connsiteX2" fmla="*/ 36472 w 83122"/>
                      <a:gd name="connsiteY2" fmla="*/ 2023 h 73897"/>
                      <a:gd name="connsiteX3" fmla="*/ 30921 w 83122"/>
                      <a:gd name="connsiteY3" fmla="*/ 218 h 73897"/>
                      <a:gd name="connsiteX4" fmla="*/ 37 w 83122"/>
                      <a:gd name="connsiteY4" fmla="*/ 7742 h 73897"/>
                      <a:gd name="connsiteX5" fmla="*/ 11710 w 83122"/>
                      <a:gd name="connsiteY5" fmla="*/ 72427 h 73897"/>
                      <a:gd name="connsiteX6" fmla="*/ 13472 w 83122"/>
                      <a:gd name="connsiteY6" fmla="*/ 73897 h 73897"/>
                      <a:gd name="connsiteX7" fmla="*/ 26981 w 83122"/>
                      <a:gd name="connsiteY7" fmla="*/ 72427 h 73897"/>
                      <a:gd name="connsiteX8" fmla="*/ 32951 w 83122"/>
                      <a:gd name="connsiteY8" fmla="*/ 67216 h 73897"/>
                      <a:gd name="connsiteX9" fmla="*/ 74534 w 83122"/>
                      <a:gd name="connsiteY9" fmla="*/ 51683 h 73897"/>
                      <a:gd name="connsiteX10" fmla="*/ 83071 w 83122"/>
                      <a:gd name="connsiteY10" fmla="*/ 51300 h 73897"/>
                      <a:gd name="connsiteX11" fmla="*/ 69165 w 83122"/>
                      <a:gd name="connsiteY11" fmla="*/ 41321 h 7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122" h="73897">
                        <a:moveTo>
                          <a:pt x="69165" y="41321"/>
                        </a:moveTo>
                        <a:cubicBezTo>
                          <a:pt x="60203" y="38802"/>
                          <a:pt x="54852" y="30970"/>
                          <a:pt x="49766" y="23286"/>
                        </a:cubicBezTo>
                        <a:cubicBezTo>
                          <a:pt x="45075" y="16331"/>
                          <a:pt x="40218" y="9746"/>
                          <a:pt x="36472" y="2023"/>
                        </a:cubicBezTo>
                        <a:cubicBezTo>
                          <a:pt x="35812" y="503"/>
                          <a:pt x="31749" y="-453"/>
                          <a:pt x="30921" y="218"/>
                        </a:cubicBezTo>
                        <a:cubicBezTo>
                          <a:pt x="15910" y="12536"/>
                          <a:pt x="-899" y="2202"/>
                          <a:pt x="37" y="7742"/>
                        </a:cubicBezTo>
                        <a:cubicBezTo>
                          <a:pt x="3432" y="25611"/>
                          <a:pt x="7399" y="48593"/>
                          <a:pt x="11710" y="72427"/>
                        </a:cubicBezTo>
                        <a:cubicBezTo>
                          <a:pt x="11847" y="73261"/>
                          <a:pt x="12630" y="73912"/>
                          <a:pt x="13472" y="73897"/>
                        </a:cubicBezTo>
                        <a:cubicBezTo>
                          <a:pt x="16330" y="73166"/>
                          <a:pt x="23794" y="72712"/>
                          <a:pt x="26981" y="72427"/>
                        </a:cubicBezTo>
                        <a:cubicBezTo>
                          <a:pt x="29056" y="71999"/>
                          <a:pt x="31683" y="67993"/>
                          <a:pt x="32951" y="67216"/>
                        </a:cubicBezTo>
                        <a:cubicBezTo>
                          <a:pt x="46317" y="59047"/>
                          <a:pt x="56065" y="47597"/>
                          <a:pt x="74534" y="51683"/>
                        </a:cubicBezTo>
                        <a:cubicBezTo>
                          <a:pt x="77255" y="51671"/>
                          <a:pt x="83765" y="56537"/>
                          <a:pt x="83071" y="51300"/>
                        </a:cubicBezTo>
                        <a:cubicBezTo>
                          <a:pt x="80367" y="45315"/>
                          <a:pt x="74416" y="43194"/>
                          <a:pt x="69165" y="41321"/>
                        </a:cubicBezTo>
                        <a:close/>
                      </a:path>
                    </a:pathLst>
                  </a:custGeom>
                  <a:grpFill/>
                  <a:ln w="2826" cap="flat">
                    <a:noFill/>
                    <a:prstDash val="solid"/>
                    <a:miter/>
                  </a:ln>
                </p:spPr>
                <p:txBody>
                  <a:bodyPr rtlCol="0" anchor="ctr"/>
                  <a:lstStyle/>
                  <a:p>
                    <a:endParaRPr lang="fr-CA"/>
                  </a:p>
                </p:txBody>
              </p:sp>
              <p:sp>
                <p:nvSpPr>
                  <p:cNvPr id="1043" name="Forme libre : forme 1042">
                    <a:extLst>
                      <a:ext uri="{FF2B5EF4-FFF2-40B4-BE49-F238E27FC236}">
                        <a16:creationId xmlns:a16="http://schemas.microsoft.com/office/drawing/2014/main" id="{014A3DBC-E12C-FCD3-7867-95DFC4D786B9}"/>
                      </a:ext>
                    </a:extLst>
                  </p:cNvPr>
                  <p:cNvSpPr/>
                  <p:nvPr/>
                </p:nvSpPr>
                <p:spPr>
                  <a:xfrm>
                    <a:off x="9534091" y="4580752"/>
                    <a:ext cx="18419" cy="49443"/>
                  </a:xfrm>
                  <a:custGeom>
                    <a:avLst/>
                    <a:gdLst>
                      <a:gd name="connsiteX0" fmla="*/ 10496 w 18419"/>
                      <a:gd name="connsiteY0" fmla="*/ 2632 h 49443"/>
                      <a:gd name="connsiteX1" fmla="*/ 5305 w 18419"/>
                      <a:gd name="connsiteY1" fmla="*/ 559 h 49443"/>
                      <a:gd name="connsiteX2" fmla="*/ 1404 w 18419"/>
                      <a:gd name="connsiteY2" fmla="*/ 339 h 49443"/>
                      <a:gd name="connsiteX3" fmla="*/ 3891 w 18419"/>
                      <a:gd name="connsiteY3" fmla="*/ 37407 h 49443"/>
                      <a:gd name="connsiteX4" fmla="*/ 6010 w 18419"/>
                      <a:gd name="connsiteY4" fmla="*/ 46079 h 49443"/>
                      <a:gd name="connsiteX5" fmla="*/ 18419 w 18419"/>
                      <a:gd name="connsiteY5" fmla="*/ 48954 h 49443"/>
                      <a:gd name="connsiteX6" fmla="*/ 10496 w 18419"/>
                      <a:gd name="connsiteY6" fmla="*/ 2632 h 4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19" h="49443">
                        <a:moveTo>
                          <a:pt x="10496" y="2632"/>
                        </a:moveTo>
                        <a:cubicBezTo>
                          <a:pt x="9876" y="407"/>
                          <a:pt x="7106" y="1381"/>
                          <a:pt x="5305" y="559"/>
                        </a:cubicBezTo>
                        <a:cubicBezTo>
                          <a:pt x="4080" y="376"/>
                          <a:pt x="2569" y="-458"/>
                          <a:pt x="1404" y="339"/>
                        </a:cubicBezTo>
                        <a:cubicBezTo>
                          <a:pt x="-2122" y="12257"/>
                          <a:pt x="1861" y="25617"/>
                          <a:pt x="3891" y="37407"/>
                        </a:cubicBezTo>
                        <a:cubicBezTo>
                          <a:pt x="4705" y="39477"/>
                          <a:pt x="4414" y="44931"/>
                          <a:pt x="6010" y="46079"/>
                        </a:cubicBezTo>
                        <a:cubicBezTo>
                          <a:pt x="9034" y="47589"/>
                          <a:pt x="15136" y="50630"/>
                          <a:pt x="18419" y="48954"/>
                        </a:cubicBezTo>
                        <a:cubicBezTo>
                          <a:pt x="17851" y="34794"/>
                          <a:pt x="13068" y="19715"/>
                          <a:pt x="10496" y="2632"/>
                        </a:cubicBezTo>
                        <a:close/>
                      </a:path>
                    </a:pathLst>
                  </a:custGeom>
                  <a:grpFill/>
                  <a:ln w="2826" cap="flat">
                    <a:noFill/>
                    <a:prstDash val="solid"/>
                    <a:miter/>
                  </a:ln>
                </p:spPr>
                <p:txBody>
                  <a:bodyPr rtlCol="0" anchor="ctr"/>
                  <a:lstStyle/>
                  <a:p>
                    <a:endParaRPr lang="fr-CA"/>
                  </a:p>
                </p:txBody>
              </p:sp>
            </p:grpSp>
            <p:grpSp>
              <p:nvGrpSpPr>
                <p:cNvPr id="1044" name="Graphique 35" descr="Garçon dans un fauteuil roulant">
                  <a:extLst>
                    <a:ext uri="{FF2B5EF4-FFF2-40B4-BE49-F238E27FC236}">
                      <a16:creationId xmlns:a16="http://schemas.microsoft.com/office/drawing/2014/main" id="{BFBE5E0E-123A-2CDC-6799-B53AFCC5F290}"/>
                    </a:ext>
                  </a:extLst>
                </p:cNvPr>
                <p:cNvGrpSpPr/>
                <p:nvPr/>
              </p:nvGrpSpPr>
              <p:grpSpPr>
                <a:xfrm>
                  <a:off x="9273740" y="4065232"/>
                  <a:ext cx="445587" cy="302515"/>
                  <a:chOff x="9273740" y="4065232"/>
                  <a:chExt cx="445587" cy="302515"/>
                </a:xfrm>
                <a:grpFill/>
              </p:grpSpPr>
              <p:sp>
                <p:nvSpPr>
                  <p:cNvPr id="1045" name="Forme libre : forme 1044">
                    <a:extLst>
                      <a:ext uri="{FF2B5EF4-FFF2-40B4-BE49-F238E27FC236}">
                        <a16:creationId xmlns:a16="http://schemas.microsoft.com/office/drawing/2014/main" id="{396C8A0B-B266-7098-0657-87EEA58A21E6}"/>
                      </a:ext>
                    </a:extLst>
                  </p:cNvPr>
                  <p:cNvSpPr/>
                  <p:nvPr/>
                </p:nvSpPr>
                <p:spPr>
                  <a:xfrm>
                    <a:off x="9576589" y="4227399"/>
                    <a:ext cx="142737" cy="40853"/>
                  </a:xfrm>
                  <a:custGeom>
                    <a:avLst/>
                    <a:gdLst>
                      <a:gd name="connsiteX0" fmla="*/ 139752 w 142737"/>
                      <a:gd name="connsiteY0" fmla="*/ 23231 h 40853"/>
                      <a:gd name="connsiteX1" fmla="*/ 122846 w 142737"/>
                      <a:gd name="connsiteY1" fmla="*/ 15062 h 40853"/>
                      <a:gd name="connsiteX2" fmla="*/ 100155 w 142737"/>
                      <a:gd name="connsiteY2" fmla="*/ 13577 h 40853"/>
                      <a:gd name="connsiteX3" fmla="*/ 911 w 142737"/>
                      <a:gd name="connsiteY3" fmla="*/ 6 h 40853"/>
                      <a:gd name="connsiteX4" fmla="*/ 3455 w 142737"/>
                      <a:gd name="connsiteY4" fmla="*/ 7641 h 40853"/>
                      <a:gd name="connsiteX5" fmla="*/ 95920 w 142737"/>
                      <a:gd name="connsiteY5" fmla="*/ 28905 h 40853"/>
                      <a:gd name="connsiteX6" fmla="*/ 139752 w 142737"/>
                      <a:gd name="connsiteY6" fmla="*/ 23231 h 4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37" h="40853">
                        <a:moveTo>
                          <a:pt x="139752" y="23231"/>
                        </a:moveTo>
                        <a:cubicBezTo>
                          <a:pt x="136629" y="9123"/>
                          <a:pt x="141294" y="13577"/>
                          <a:pt x="122846" y="15062"/>
                        </a:cubicBezTo>
                        <a:cubicBezTo>
                          <a:pt x="121447" y="15173"/>
                          <a:pt x="100803" y="13392"/>
                          <a:pt x="100155" y="13577"/>
                        </a:cubicBezTo>
                        <a:cubicBezTo>
                          <a:pt x="96474" y="14605"/>
                          <a:pt x="4874" y="-337"/>
                          <a:pt x="911" y="6"/>
                        </a:cubicBezTo>
                        <a:cubicBezTo>
                          <a:pt x="-1473" y="668"/>
                          <a:pt x="1337" y="3823"/>
                          <a:pt x="3455" y="7641"/>
                        </a:cubicBezTo>
                        <a:cubicBezTo>
                          <a:pt x="3884" y="8412"/>
                          <a:pt x="95049" y="28768"/>
                          <a:pt x="95920" y="28905"/>
                        </a:cubicBezTo>
                        <a:cubicBezTo>
                          <a:pt x="144264" y="36480"/>
                          <a:pt x="146948" y="54206"/>
                          <a:pt x="139752" y="23231"/>
                        </a:cubicBezTo>
                        <a:close/>
                      </a:path>
                    </a:pathLst>
                  </a:custGeom>
                  <a:grpFill/>
                  <a:ln w="2826" cap="flat">
                    <a:noFill/>
                    <a:prstDash val="solid"/>
                    <a:miter/>
                  </a:ln>
                </p:spPr>
                <p:txBody>
                  <a:bodyPr rtlCol="0" anchor="ctr"/>
                  <a:lstStyle/>
                  <a:p>
                    <a:endParaRPr lang="fr-CA"/>
                  </a:p>
                </p:txBody>
              </p:sp>
              <p:sp>
                <p:nvSpPr>
                  <p:cNvPr id="1046" name="Forme libre : forme 1045">
                    <a:extLst>
                      <a:ext uri="{FF2B5EF4-FFF2-40B4-BE49-F238E27FC236}">
                        <a16:creationId xmlns:a16="http://schemas.microsoft.com/office/drawing/2014/main" id="{7A25A046-7286-4DF2-1898-39F6ADC44F7C}"/>
                      </a:ext>
                    </a:extLst>
                  </p:cNvPr>
                  <p:cNvSpPr/>
                  <p:nvPr/>
                </p:nvSpPr>
                <p:spPr>
                  <a:xfrm>
                    <a:off x="9301435" y="4261725"/>
                    <a:ext cx="160284" cy="106022"/>
                  </a:xfrm>
                  <a:custGeom>
                    <a:avLst/>
                    <a:gdLst>
                      <a:gd name="connsiteX0" fmla="*/ 158654 w 160284"/>
                      <a:gd name="connsiteY0" fmla="*/ 3150 h 106022"/>
                      <a:gd name="connsiteX1" fmla="*/ 142473 w 160284"/>
                      <a:gd name="connsiteY1" fmla="*/ 860 h 106022"/>
                      <a:gd name="connsiteX2" fmla="*/ 135457 w 160284"/>
                      <a:gd name="connsiteY2" fmla="*/ 1111 h 106022"/>
                      <a:gd name="connsiteX3" fmla="*/ 92493 w 160284"/>
                      <a:gd name="connsiteY3" fmla="*/ 11833 h 106022"/>
                      <a:gd name="connsiteX4" fmla="*/ 2175 w 160284"/>
                      <a:gd name="connsiteY4" fmla="*/ 3413 h 106022"/>
                      <a:gd name="connsiteX5" fmla="*/ 759 w 160284"/>
                      <a:gd name="connsiteY5" fmla="*/ 6625 h 106022"/>
                      <a:gd name="connsiteX6" fmla="*/ 62768 w 160284"/>
                      <a:gd name="connsiteY6" fmla="*/ 90238 h 106022"/>
                      <a:gd name="connsiteX7" fmla="*/ 155373 w 160284"/>
                      <a:gd name="connsiteY7" fmla="*/ 106022 h 106022"/>
                      <a:gd name="connsiteX8" fmla="*/ 159145 w 160284"/>
                      <a:gd name="connsiteY8" fmla="*/ 90806 h 106022"/>
                      <a:gd name="connsiteX9" fmla="*/ 160284 w 160284"/>
                      <a:gd name="connsiteY9" fmla="*/ 4960 h 106022"/>
                      <a:gd name="connsiteX10" fmla="*/ 158654 w 160284"/>
                      <a:gd name="connsiteY10" fmla="*/ 3150 h 10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284" h="106022">
                        <a:moveTo>
                          <a:pt x="158654" y="3150"/>
                        </a:moveTo>
                        <a:cubicBezTo>
                          <a:pt x="153203" y="2670"/>
                          <a:pt x="147992" y="1791"/>
                          <a:pt x="142473" y="860"/>
                        </a:cubicBezTo>
                        <a:cubicBezTo>
                          <a:pt x="140328" y="891"/>
                          <a:pt x="136833" y="-1250"/>
                          <a:pt x="135457" y="1111"/>
                        </a:cubicBezTo>
                        <a:cubicBezTo>
                          <a:pt x="128721" y="17704"/>
                          <a:pt x="107663" y="14143"/>
                          <a:pt x="92493" y="11833"/>
                        </a:cubicBezTo>
                        <a:cubicBezTo>
                          <a:pt x="62320" y="9449"/>
                          <a:pt x="31999" y="10068"/>
                          <a:pt x="2175" y="3413"/>
                        </a:cubicBezTo>
                        <a:cubicBezTo>
                          <a:pt x="370" y="2953"/>
                          <a:pt x="-872" y="5568"/>
                          <a:pt x="759" y="6625"/>
                        </a:cubicBezTo>
                        <a:cubicBezTo>
                          <a:pt x="32025" y="28471"/>
                          <a:pt x="51738" y="64152"/>
                          <a:pt x="62768" y="90238"/>
                        </a:cubicBezTo>
                        <a:cubicBezTo>
                          <a:pt x="92935" y="96583"/>
                          <a:pt x="124658" y="100280"/>
                          <a:pt x="155373" y="106022"/>
                        </a:cubicBezTo>
                        <a:cubicBezTo>
                          <a:pt x="159522" y="106011"/>
                          <a:pt x="158934" y="93850"/>
                          <a:pt x="159145" y="90806"/>
                        </a:cubicBezTo>
                        <a:cubicBezTo>
                          <a:pt x="159042" y="61944"/>
                          <a:pt x="159827" y="33594"/>
                          <a:pt x="160284" y="4960"/>
                        </a:cubicBezTo>
                        <a:cubicBezTo>
                          <a:pt x="160301" y="4021"/>
                          <a:pt x="159587" y="3230"/>
                          <a:pt x="158654" y="3150"/>
                        </a:cubicBezTo>
                        <a:close/>
                      </a:path>
                    </a:pathLst>
                  </a:custGeom>
                  <a:grpFill/>
                  <a:ln w="2826" cap="flat">
                    <a:noFill/>
                    <a:prstDash val="solid"/>
                    <a:miter/>
                  </a:ln>
                </p:spPr>
                <p:txBody>
                  <a:bodyPr rtlCol="0" anchor="ctr"/>
                  <a:lstStyle/>
                  <a:p>
                    <a:endParaRPr lang="fr-CA"/>
                  </a:p>
                </p:txBody>
              </p:sp>
              <p:sp>
                <p:nvSpPr>
                  <p:cNvPr id="1047" name="Forme libre : forme 1046">
                    <a:extLst>
                      <a:ext uri="{FF2B5EF4-FFF2-40B4-BE49-F238E27FC236}">
                        <a16:creationId xmlns:a16="http://schemas.microsoft.com/office/drawing/2014/main" id="{BD108110-B742-333F-00ED-470621D90FD5}"/>
                      </a:ext>
                    </a:extLst>
                  </p:cNvPr>
                  <p:cNvSpPr/>
                  <p:nvPr/>
                </p:nvSpPr>
                <p:spPr>
                  <a:xfrm>
                    <a:off x="9282459" y="4065232"/>
                    <a:ext cx="37648" cy="64890"/>
                  </a:xfrm>
                  <a:custGeom>
                    <a:avLst/>
                    <a:gdLst>
                      <a:gd name="connsiteX0" fmla="*/ 37648 w 37648"/>
                      <a:gd name="connsiteY0" fmla="*/ 5336 h 64890"/>
                      <a:gd name="connsiteX1" fmla="*/ 22492 w 37648"/>
                      <a:gd name="connsiteY1" fmla="*/ 2649 h 64890"/>
                      <a:gd name="connsiteX2" fmla="*/ 2091 w 37648"/>
                      <a:gd name="connsiteY2" fmla="*/ 31 h 64890"/>
                      <a:gd name="connsiteX3" fmla="*/ 126 w 37648"/>
                      <a:gd name="connsiteY3" fmla="*/ 2438 h 64890"/>
                      <a:gd name="connsiteX4" fmla="*/ 7316 w 37648"/>
                      <a:gd name="connsiteY4" fmla="*/ 63257 h 64890"/>
                      <a:gd name="connsiteX5" fmla="*/ 10857 w 37648"/>
                      <a:gd name="connsiteY5" fmla="*/ 63488 h 64890"/>
                      <a:gd name="connsiteX6" fmla="*/ 37648 w 37648"/>
                      <a:gd name="connsiteY6" fmla="*/ 5336 h 6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48" h="64890">
                        <a:moveTo>
                          <a:pt x="37648" y="5336"/>
                        </a:moveTo>
                        <a:cubicBezTo>
                          <a:pt x="36266" y="3118"/>
                          <a:pt x="25510" y="3437"/>
                          <a:pt x="22492" y="2649"/>
                        </a:cubicBezTo>
                        <a:cubicBezTo>
                          <a:pt x="15813" y="1918"/>
                          <a:pt x="8903" y="1164"/>
                          <a:pt x="2091" y="31"/>
                        </a:cubicBezTo>
                        <a:cubicBezTo>
                          <a:pt x="777" y="-229"/>
                          <a:pt x="-394" y="1199"/>
                          <a:pt x="126" y="2438"/>
                        </a:cubicBezTo>
                        <a:cubicBezTo>
                          <a:pt x="6782" y="21911"/>
                          <a:pt x="5711" y="43013"/>
                          <a:pt x="7316" y="63257"/>
                        </a:cubicBezTo>
                        <a:cubicBezTo>
                          <a:pt x="7402" y="65270"/>
                          <a:pt x="10505" y="65510"/>
                          <a:pt x="10857" y="63488"/>
                        </a:cubicBezTo>
                        <a:cubicBezTo>
                          <a:pt x="13621" y="44863"/>
                          <a:pt x="25582" y="25975"/>
                          <a:pt x="37648" y="5336"/>
                        </a:cubicBezTo>
                        <a:close/>
                      </a:path>
                    </a:pathLst>
                  </a:custGeom>
                  <a:grpFill/>
                  <a:ln w="2826" cap="flat">
                    <a:noFill/>
                    <a:prstDash val="solid"/>
                    <a:miter/>
                  </a:ln>
                </p:spPr>
                <p:txBody>
                  <a:bodyPr rtlCol="0" anchor="ctr"/>
                  <a:lstStyle/>
                  <a:p>
                    <a:endParaRPr lang="fr-CA"/>
                  </a:p>
                </p:txBody>
              </p:sp>
              <p:sp>
                <p:nvSpPr>
                  <p:cNvPr id="1048" name="Forme libre : forme 1047">
                    <a:extLst>
                      <a:ext uri="{FF2B5EF4-FFF2-40B4-BE49-F238E27FC236}">
                        <a16:creationId xmlns:a16="http://schemas.microsoft.com/office/drawing/2014/main" id="{57A52FD0-AC08-5921-9B1C-C78ABDF05A4B}"/>
                      </a:ext>
                    </a:extLst>
                  </p:cNvPr>
                  <p:cNvSpPr/>
                  <p:nvPr/>
                </p:nvSpPr>
                <p:spPr>
                  <a:xfrm>
                    <a:off x="9273740" y="4273588"/>
                    <a:ext cx="70301" cy="75161"/>
                  </a:xfrm>
                  <a:custGeom>
                    <a:avLst/>
                    <a:gdLst>
                      <a:gd name="connsiteX0" fmla="*/ 70162 w 70301"/>
                      <a:gd name="connsiteY0" fmla="*/ 72713 h 75161"/>
                      <a:gd name="connsiteX1" fmla="*/ 2390 w 70301"/>
                      <a:gd name="connsiteY1" fmla="*/ 107 h 75161"/>
                      <a:gd name="connsiteX2" fmla="*/ 3 w 70301"/>
                      <a:gd name="connsiteY2" fmla="*/ 1843 h 75161"/>
                      <a:gd name="connsiteX3" fmla="*/ 3855 w 70301"/>
                      <a:gd name="connsiteY3" fmla="*/ 62822 h 75161"/>
                      <a:gd name="connsiteX4" fmla="*/ 5494 w 70301"/>
                      <a:gd name="connsiteY4" fmla="*/ 64898 h 75161"/>
                      <a:gd name="connsiteX5" fmla="*/ 39864 w 70301"/>
                      <a:gd name="connsiteY5" fmla="*/ 69955 h 75161"/>
                      <a:gd name="connsiteX6" fmla="*/ 48133 w 70301"/>
                      <a:gd name="connsiteY6" fmla="*/ 72022 h 75161"/>
                      <a:gd name="connsiteX7" fmla="*/ 58315 w 70301"/>
                      <a:gd name="connsiteY7" fmla="*/ 73090 h 75161"/>
                      <a:gd name="connsiteX8" fmla="*/ 70162 w 70301"/>
                      <a:gd name="connsiteY8" fmla="*/ 72713 h 7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01" h="75161">
                        <a:moveTo>
                          <a:pt x="70162" y="72713"/>
                        </a:moveTo>
                        <a:cubicBezTo>
                          <a:pt x="54837" y="41173"/>
                          <a:pt x="32934" y="11468"/>
                          <a:pt x="2390" y="107"/>
                        </a:cubicBezTo>
                        <a:cubicBezTo>
                          <a:pt x="1256" y="-327"/>
                          <a:pt x="-71" y="621"/>
                          <a:pt x="3" y="1843"/>
                        </a:cubicBezTo>
                        <a:cubicBezTo>
                          <a:pt x="100" y="5272"/>
                          <a:pt x="4143" y="57865"/>
                          <a:pt x="3855" y="62822"/>
                        </a:cubicBezTo>
                        <a:cubicBezTo>
                          <a:pt x="3666" y="63827"/>
                          <a:pt x="4469" y="64849"/>
                          <a:pt x="5494" y="64898"/>
                        </a:cubicBezTo>
                        <a:cubicBezTo>
                          <a:pt x="16684" y="65692"/>
                          <a:pt x="28728" y="68638"/>
                          <a:pt x="39864" y="69955"/>
                        </a:cubicBezTo>
                        <a:cubicBezTo>
                          <a:pt x="40143" y="69889"/>
                          <a:pt x="47944" y="72162"/>
                          <a:pt x="48133" y="72022"/>
                        </a:cubicBezTo>
                        <a:cubicBezTo>
                          <a:pt x="53364" y="73207"/>
                          <a:pt x="53926" y="71357"/>
                          <a:pt x="58315" y="73090"/>
                        </a:cubicBezTo>
                        <a:cubicBezTo>
                          <a:pt x="60853" y="73207"/>
                          <a:pt x="71649" y="77930"/>
                          <a:pt x="70162" y="72713"/>
                        </a:cubicBezTo>
                        <a:close/>
                      </a:path>
                    </a:pathLst>
                  </a:custGeom>
                  <a:grpFill/>
                  <a:ln w="2826" cap="flat">
                    <a:noFill/>
                    <a:prstDash val="solid"/>
                    <a:miter/>
                  </a:ln>
                </p:spPr>
                <p:txBody>
                  <a:bodyPr rtlCol="0" anchor="ctr"/>
                  <a:lstStyle/>
                  <a:p>
                    <a:endParaRPr lang="fr-CA"/>
                  </a:p>
                </p:txBody>
              </p:sp>
            </p:grpSp>
            <p:grpSp>
              <p:nvGrpSpPr>
                <p:cNvPr id="1049" name="Graphique 35" descr="Garçon dans un fauteuil roulant">
                  <a:extLst>
                    <a:ext uri="{FF2B5EF4-FFF2-40B4-BE49-F238E27FC236}">
                      <a16:creationId xmlns:a16="http://schemas.microsoft.com/office/drawing/2014/main" id="{C5E28070-FBF9-2515-64BB-C5D71BAF18CD}"/>
                    </a:ext>
                  </a:extLst>
                </p:cNvPr>
                <p:cNvGrpSpPr/>
                <p:nvPr/>
              </p:nvGrpSpPr>
              <p:grpSpPr>
                <a:xfrm>
                  <a:off x="9244017" y="4047030"/>
                  <a:ext cx="658452" cy="624853"/>
                  <a:chOff x="9244017" y="4047030"/>
                  <a:chExt cx="658452" cy="624853"/>
                </a:xfrm>
                <a:grpFill/>
              </p:grpSpPr>
              <p:sp>
                <p:nvSpPr>
                  <p:cNvPr id="1050" name="Forme libre : forme 1049">
                    <a:extLst>
                      <a:ext uri="{FF2B5EF4-FFF2-40B4-BE49-F238E27FC236}">
                        <a16:creationId xmlns:a16="http://schemas.microsoft.com/office/drawing/2014/main" id="{046448ED-CE2F-94A8-44C8-1BCEB9ECD1FD}"/>
                      </a:ext>
                    </a:extLst>
                  </p:cNvPr>
                  <p:cNvSpPr/>
                  <p:nvPr/>
                </p:nvSpPr>
                <p:spPr>
                  <a:xfrm>
                    <a:off x="9803164" y="4607910"/>
                    <a:ext cx="99305" cy="30576"/>
                  </a:xfrm>
                  <a:custGeom>
                    <a:avLst/>
                    <a:gdLst>
                      <a:gd name="connsiteX0" fmla="*/ 98276 w 99305"/>
                      <a:gd name="connsiteY0" fmla="*/ 5227 h 30576"/>
                      <a:gd name="connsiteX1" fmla="*/ 78894 w 99305"/>
                      <a:gd name="connsiteY1" fmla="*/ 3359 h 30576"/>
                      <a:gd name="connsiteX2" fmla="*/ 72969 w 99305"/>
                      <a:gd name="connsiteY2" fmla="*/ 1281 h 30576"/>
                      <a:gd name="connsiteX3" fmla="*/ 61328 w 99305"/>
                      <a:gd name="connsiteY3" fmla="*/ 1915 h 30576"/>
                      <a:gd name="connsiteX4" fmla="*/ 1194 w 99305"/>
                      <a:gd name="connsiteY4" fmla="*/ 27073 h 30576"/>
                      <a:gd name="connsiteX5" fmla="*/ 2139 w 99305"/>
                      <a:gd name="connsiteY5" fmla="*/ 30519 h 30576"/>
                      <a:gd name="connsiteX6" fmla="*/ 35918 w 99305"/>
                      <a:gd name="connsiteY6" fmla="*/ 26736 h 30576"/>
                      <a:gd name="connsiteX7" fmla="*/ 70331 w 99305"/>
                      <a:gd name="connsiteY7" fmla="*/ 21285 h 30576"/>
                      <a:gd name="connsiteX8" fmla="*/ 78251 w 99305"/>
                      <a:gd name="connsiteY8" fmla="*/ 19261 h 30576"/>
                      <a:gd name="connsiteX9" fmla="*/ 79650 w 99305"/>
                      <a:gd name="connsiteY9" fmla="*/ 16186 h 30576"/>
                      <a:gd name="connsiteX10" fmla="*/ 87962 w 99305"/>
                      <a:gd name="connsiteY10" fmla="*/ 16186 h 30576"/>
                      <a:gd name="connsiteX11" fmla="*/ 98442 w 99305"/>
                      <a:gd name="connsiteY11" fmla="*/ 14424 h 30576"/>
                      <a:gd name="connsiteX12" fmla="*/ 98276 w 99305"/>
                      <a:gd name="connsiteY12" fmla="*/ 5227 h 3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305" h="30576">
                        <a:moveTo>
                          <a:pt x="98276" y="5227"/>
                        </a:moveTo>
                        <a:cubicBezTo>
                          <a:pt x="96680" y="1769"/>
                          <a:pt x="81803" y="3693"/>
                          <a:pt x="78894" y="3359"/>
                        </a:cubicBezTo>
                        <a:cubicBezTo>
                          <a:pt x="77497" y="-641"/>
                          <a:pt x="75102" y="-709"/>
                          <a:pt x="72969" y="1281"/>
                        </a:cubicBezTo>
                        <a:cubicBezTo>
                          <a:pt x="72332" y="1875"/>
                          <a:pt x="63689" y="2317"/>
                          <a:pt x="61328" y="1915"/>
                        </a:cubicBezTo>
                        <a:cubicBezTo>
                          <a:pt x="35875" y="-7"/>
                          <a:pt x="22800" y="18775"/>
                          <a:pt x="1194" y="27073"/>
                        </a:cubicBezTo>
                        <a:cubicBezTo>
                          <a:pt x="-899" y="27713"/>
                          <a:pt x="-22" y="31053"/>
                          <a:pt x="2139" y="30519"/>
                        </a:cubicBezTo>
                        <a:cubicBezTo>
                          <a:pt x="13272" y="28052"/>
                          <a:pt x="24634" y="28024"/>
                          <a:pt x="35918" y="26736"/>
                        </a:cubicBezTo>
                        <a:cubicBezTo>
                          <a:pt x="47613" y="25814"/>
                          <a:pt x="58684" y="22110"/>
                          <a:pt x="70331" y="21285"/>
                        </a:cubicBezTo>
                        <a:cubicBezTo>
                          <a:pt x="72772" y="20560"/>
                          <a:pt x="78040" y="22659"/>
                          <a:pt x="78251" y="19261"/>
                        </a:cubicBezTo>
                        <a:cubicBezTo>
                          <a:pt x="78254" y="18327"/>
                          <a:pt x="78565" y="16129"/>
                          <a:pt x="79650" y="16186"/>
                        </a:cubicBezTo>
                        <a:cubicBezTo>
                          <a:pt x="82417" y="16583"/>
                          <a:pt x="85264" y="16026"/>
                          <a:pt x="87962" y="16186"/>
                        </a:cubicBezTo>
                        <a:cubicBezTo>
                          <a:pt x="89598" y="15934"/>
                          <a:pt x="97316" y="16288"/>
                          <a:pt x="98442" y="14424"/>
                        </a:cubicBezTo>
                        <a:cubicBezTo>
                          <a:pt x="100229" y="11697"/>
                          <a:pt x="98767" y="6694"/>
                          <a:pt x="98276" y="5227"/>
                        </a:cubicBezTo>
                        <a:close/>
                      </a:path>
                    </a:pathLst>
                  </a:custGeom>
                  <a:grpFill/>
                  <a:ln w="2826" cap="flat">
                    <a:noFill/>
                    <a:prstDash val="solid"/>
                    <a:miter/>
                  </a:ln>
                </p:spPr>
                <p:txBody>
                  <a:bodyPr rtlCol="0" anchor="ctr"/>
                  <a:lstStyle/>
                  <a:p>
                    <a:endParaRPr lang="fr-CA"/>
                  </a:p>
                </p:txBody>
              </p:sp>
              <p:sp>
                <p:nvSpPr>
                  <p:cNvPr id="1051" name="Forme libre : forme 1050">
                    <a:extLst>
                      <a:ext uri="{FF2B5EF4-FFF2-40B4-BE49-F238E27FC236}">
                        <a16:creationId xmlns:a16="http://schemas.microsoft.com/office/drawing/2014/main" id="{25B9DA84-65BE-F2DA-F076-DDDD79053064}"/>
                      </a:ext>
                    </a:extLst>
                  </p:cNvPr>
                  <p:cNvSpPr/>
                  <p:nvPr/>
                </p:nvSpPr>
                <p:spPr>
                  <a:xfrm>
                    <a:off x="9749693" y="4363125"/>
                    <a:ext cx="84061" cy="231562"/>
                  </a:xfrm>
                  <a:custGeom>
                    <a:avLst/>
                    <a:gdLst>
                      <a:gd name="connsiteX0" fmla="*/ 84029 w 84061"/>
                      <a:gd name="connsiteY0" fmla="*/ 229370 h 231562"/>
                      <a:gd name="connsiteX1" fmla="*/ 36299 w 84061"/>
                      <a:gd name="connsiteY1" fmla="*/ 32528 h 231562"/>
                      <a:gd name="connsiteX2" fmla="*/ 11320 w 84061"/>
                      <a:gd name="connsiteY2" fmla="*/ 0 h 231562"/>
                      <a:gd name="connsiteX3" fmla="*/ 9224 w 84061"/>
                      <a:gd name="connsiteY3" fmla="*/ 10271 h 231562"/>
                      <a:gd name="connsiteX4" fmla="*/ 9650 w 84061"/>
                      <a:gd name="connsiteY4" fmla="*/ 16504 h 231562"/>
                      <a:gd name="connsiteX5" fmla="*/ 19349 w 84061"/>
                      <a:gd name="connsiteY5" fmla="*/ 28839 h 231562"/>
                      <a:gd name="connsiteX6" fmla="*/ 51581 w 84061"/>
                      <a:gd name="connsiteY6" fmla="*/ 145680 h 231562"/>
                      <a:gd name="connsiteX7" fmla="*/ 48306 w 84061"/>
                      <a:gd name="connsiteY7" fmla="*/ 146225 h 231562"/>
                      <a:gd name="connsiteX8" fmla="*/ 12876 w 84061"/>
                      <a:gd name="connsiteY8" fmla="*/ 142165 h 231562"/>
                      <a:gd name="connsiteX9" fmla="*/ 12702 w 84061"/>
                      <a:gd name="connsiteY9" fmla="*/ 132862 h 231562"/>
                      <a:gd name="connsiteX10" fmla="*/ 14290 w 84061"/>
                      <a:gd name="connsiteY10" fmla="*/ 128839 h 231562"/>
                      <a:gd name="connsiteX11" fmla="*/ 12868 w 84061"/>
                      <a:gd name="connsiteY11" fmla="*/ 124048 h 231562"/>
                      <a:gd name="connsiteX12" fmla="*/ 9890 w 84061"/>
                      <a:gd name="connsiteY12" fmla="*/ 117021 h 231562"/>
                      <a:gd name="connsiteX13" fmla="*/ 2788 w 84061"/>
                      <a:gd name="connsiteY13" fmla="*/ 110465 h 231562"/>
                      <a:gd name="connsiteX14" fmla="*/ 781 w 84061"/>
                      <a:gd name="connsiteY14" fmla="*/ 112141 h 231562"/>
                      <a:gd name="connsiteX15" fmla="*/ 7 w 84061"/>
                      <a:gd name="connsiteY15" fmla="*/ 130878 h 231562"/>
                      <a:gd name="connsiteX16" fmla="*/ 11212 w 84061"/>
                      <a:gd name="connsiteY16" fmla="*/ 155834 h 231562"/>
                      <a:gd name="connsiteX17" fmla="*/ 4367 w 84061"/>
                      <a:gd name="connsiteY17" fmla="*/ 168266 h 231562"/>
                      <a:gd name="connsiteX18" fmla="*/ 4270 w 84061"/>
                      <a:gd name="connsiteY18" fmla="*/ 199603 h 231562"/>
                      <a:gd name="connsiteX19" fmla="*/ 16837 w 84061"/>
                      <a:gd name="connsiteY19" fmla="*/ 218648 h 231562"/>
                      <a:gd name="connsiteX20" fmla="*/ 19744 w 84061"/>
                      <a:gd name="connsiteY20" fmla="*/ 216958 h 231562"/>
                      <a:gd name="connsiteX21" fmla="*/ 17282 w 84061"/>
                      <a:gd name="connsiteY21" fmla="*/ 190475 h 231562"/>
                      <a:gd name="connsiteX22" fmla="*/ 19409 w 84061"/>
                      <a:gd name="connsiteY22" fmla="*/ 159029 h 231562"/>
                      <a:gd name="connsiteX23" fmla="*/ 19361 w 84061"/>
                      <a:gd name="connsiteY23" fmla="*/ 158823 h 231562"/>
                      <a:gd name="connsiteX24" fmla="*/ 33386 w 84061"/>
                      <a:gd name="connsiteY24" fmla="*/ 160608 h 231562"/>
                      <a:gd name="connsiteX25" fmla="*/ 53380 w 84061"/>
                      <a:gd name="connsiteY25" fmla="*/ 163118 h 231562"/>
                      <a:gd name="connsiteX26" fmla="*/ 55510 w 84061"/>
                      <a:gd name="connsiteY26" fmla="*/ 163440 h 231562"/>
                      <a:gd name="connsiteX27" fmla="*/ 74469 w 84061"/>
                      <a:gd name="connsiteY27" fmla="*/ 231398 h 231562"/>
                      <a:gd name="connsiteX28" fmla="*/ 84029 w 84061"/>
                      <a:gd name="connsiteY28" fmla="*/ 229370 h 23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4061" h="231562">
                        <a:moveTo>
                          <a:pt x="84029" y="229370"/>
                        </a:moveTo>
                        <a:cubicBezTo>
                          <a:pt x="68013" y="163475"/>
                          <a:pt x="52828" y="98632"/>
                          <a:pt x="36299" y="32528"/>
                        </a:cubicBezTo>
                        <a:cubicBezTo>
                          <a:pt x="31862" y="14183"/>
                          <a:pt x="27639" y="7984"/>
                          <a:pt x="11320" y="0"/>
                        </a:cubicBezTo>
                        <a:cubicBezTo>
                          <a:pt x="9233" y="1436"/>
                          <a:pt x="9953" y="7627"/>
                          <a:pt x="9224" y="10271"/>
                        </a:cubicBezTo>
                        <a:cubicBezTo>
                          <a:pt x="9333" y="11867"/>
                          <a:pt x="7880" y="15610"/>
                          <a:pt x="9650" y="16504"/>
                        </a:cubicBezTo>
                        <a:cubicBezTo>
                          <a:pt x="13416" y="18631"/>
                          <a:pt x="16680" y="22783"/>
                          <a:pt x="19349" y="28839"/>
                        </a:cubicBezTo>
                        <a:cubicBezTo>
                          <a:pt x="34820" y="66261"/>
                          <a:pt x="42995" y="106210"/>
                          <a:pt x="51581" y="145680"/>
                        </a:cubicBezTo>
                        <a:cubicBezTo>
                          <a:pt x="50456" y="145806"/>
                          <a:pt x="48046" y="145249"/>
                          <a:pt x="48306" y="146225"/>
                        </a:cubicBezTo>
                        <a:cubicBezTo>
                          <a:pt x="40959" y="145092"/>
                          <a:pt x="19838" y="144769"/>
                          <a:pt x="12876" y="142165"/>
                        </a:cubicBezTo>
                        <a:cubicBezTo>
                          <a:pt x="12816" y="139116"/>
                          <a:pt x="12388" y="135809"/>
                          <a:pt x="12702" y="132862"/>
                        </a:cubicBezTo>
                        <a:cubicBezTo>
                          <a:pt x="12814" y="131986"/>
                          <a:pt x="14550" y="130592"/>
                          <a:pt x="14290" y="128839"/>
                        </a:cubicBezTo>
                        <a:cubicBezTo>
                          <a:pt x="13833" y="127263"/>
                          <a:pt x="14681" y="124850"/>
                          <a:pt x="12868" y="124048"/>
                        </a:cubicBezTo>
                        <a:cubicBezTo>
                          <a:pt x="11055" y="123243"/>
                          <a:pt x="10681" y="119065"/>
                          <a:pt x="9890" y="117021"/>
                        </a:cubicBezTo>
                        <a:cubicBezTo>
                          <a:pt x="9236" y="111944"/>
                          <a:pt x="5938" y="110856"/>
                          <a:pt x="2788" y="110465"/>
                        </a:cubicBezTo>
                        <a:cubicBezTo>
                          <a:pt x="1792" y="110322"/>
                          <a:pt x="818" y="111133"/>
                          <a:pt x="781" y="112141"/>
                        </a:cubicBezTo>
                        <a:cubicBezTo>
                          <a:pt x="861" y="116573"/>
                          <a:pt x="-93" y="122283"/>
                          <a:pt x="7" y="130878"/>
                        </a:cubicBezTo>
                        <a:cubicBezTo>
                          <a:pt x="167" y="144398"/>
                          <a:pt x="14047" y="145412"/>
                          <a:pt x="11212" y="155834"/>
                        </a:cubicBezTo>
                        <a:cubicBezTo>
                          <a:pt x="11155" y="156053"/>
                          <a:pt x="6906" y="165373"/>
                          <a:pt x="4367" y="168266"/>
                        </a:cubicBezTo>
                        <a:cubicBezTo>
                          <a:pt x="2583" y="178519"/>
                          <a:pt x="4019" y="189236"/>
                          <a:pt x="4270" y="199603"/>
                        </a:cubicBezTo>
                        <a:cubicBezTo>
                          <a:pt x="4330" y="207227"/>
                          <a:pt x="10632" y="212826"/>
                          <a:pt x="16837" y="218648"/>
                        </a:cubicBezTo>
                        <a:cubicBezTo>
                          <a:pt x="18050" y="219722"/>
                          <a:pt x="20086" y="218549"/>
                          <a:pt x="19744" y="216958"/>
                        </a:cubicBezTo>
                        <a:cubicBezTo>
                          <a:pt x="17899" y="206736"/>
                          <a:pt x="17117" y="198321"/>
                          <a:pt x="17282" y="190475"/>
                        </a:cubicBezTo>
                        <a:cubicBezTo>
                          <a:pt x="17485" y="180478"/>
                          <a:pt x="19535" y="169097"/>
                          <a:pt x="19409" y="159029"/>
                        </a:cubicBezTo>
                        <a:cubicBezTo>
                          <a:pt x="19398" y="158957"/>
                          <a:pt x="19375" y="158892"/>
                          <a:pt x="19361" y="158823"/>
                        </a:cubicBezTo>
                        <a:cubicBezTo>
                          <a:pt x="24058" y="159406"/>
                          <a:pt x="28775" y="160011"/>
                          <a:pt x="33386" y="160608"/>
                        </a:cubicBezTo>
                        <a:cubicBezTo>
                          <a:pt x="39937" y="161456"/>
                          <a:pt x="46709" y="162330"/>
                          <a:pt x="53380" y="163118"/>
                        </a:cubicBezTo>
                        <a:cubicBezTo>
                          <a:pt x="53577" y="163140"/>
                          <a:pt x="54445" y="163283"/>
                          <a:pt x="55510" y="163440"/>
                        </a:cubicBezTo>
                        <a:cubicBezTo>
                          <a:pt x="60755" y="186626"/>
                          <a:pt x="66546" y="209483"/>
                          <a:pt x="74469" y="231398"/>
                        </a:cubicBezTo>
                        <a:cubicBezTo>
                          <a:pt x="77296" y="230515"/>
                          <a:pt x="84614" y="233348"/>
                          <a:pt x="84029" y="229370"/>
                        </a:cubicBezTo>
                        <a:close/>
                      </a:path>
                    </a:pathLst>
                  </a:custGeom>
                  <a:grpFill/>
                  <a:ln w="2826" cap="flat">
                    <a:noFill/>
                    <a:prstDash val="solid"/>
                    <a:miter/>
                  </a:ln>
                </p:spPr>
                <p:txBody>
                  <a:bodyPr rtlCol="0" anchor="ctr"/>
                  <a:lstStyle/>
                  <a:p>
                    <a:endParaRPr lang="fr-CA"/>
                  </a:p>
                </p:txBody>
              </p:sp>
              <p:sp>
                <p:nvSpPr>
                  <p:cNvPr id="1052" name="Forme libre : forme 1051">
                    <a:extLst>
                      <a:ext uri="{FF2B5EF4-FFF2-40B4-BE49-F238E27FC236}">
                        <a16:creationId xmlns:a16="http://schemas.microsoft.com/office/drawing/2014/main" id="{FE728434-684A-5090-36AF-8D2EF203D750}"/>
                      </a:ext>
                    </a:extLst>
                  </p:cNvPr>
                  <p:cNvSpPr/>
                  <p:nvPr/>
                </p:nvSpPr>
                <p:spPr>
                  <a:xfrm>
                    <a:off x="9713775" y="4233475"/>
                    <a:ext cx="18362" cy="41447"/>
                  </a:xfrm>
                  <a:custGeom>
                    <a:avLst/>
                    <a:gdLst>
                      <a:gd name="connsiteX0" fmla="*/ 16512 w 18362"/>
                      <a:gd name="connsiteY0" fmla="*/ 11873 h 41447"/>
                      <a:gd name="connsiteX1" fmla="*/ 2024 w 18362"/>
                      <a:gd name="connsiteY1" fmla="*/ 0 h 41447"/>
                      <a:gd name="connsiteX2" fmla="*/ 727 w 18362"/>
                      <a:gd name="connsiteY2" fmla="*/ 7201 h 41447"/>
                      <a:gd name="connsiteX3" fmla="*/ 2855 w 18362"/>
                      <a:gd name="connsiteY3" fmla="*/ 17772 h 41447"/>
                      <a:gd name="connsiteX4" fmla="*/ 5316 w 18362"/>
                      <a:gd name="connsiteY4" fmla="*/ 30749 h 41447"/>
                      <a:gd name="connsiteX5" fmla="*/ 6752 w 18362"/>
                      <a:gd name="connsiteY5" fmla="*/ 36035 h 41447"/>
                      <a:gd name="connsiteX6" fmla="*/ 15578 w 18362"/>
                      <a:gd name="connsiteY6" fmla="*/ 41146 h 41447"/>
                      <a:gd name="connsiteX7" fmla="*/ 18359 w 18362"/>
                      <a:gd name="connsiteY7" fmla="*/ 39598 h 41447"/>
                      <a:gd name="connsiteX8" fmla="*/ 16512 w 18362"/>
                      <a:gd name="connsiteY8" fmla="*/ 11873 h 4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2" h="41447">
                        <a:moveTo>
                          <a:pt x="16512" y="11873"/>
                        </a:moveTo>
                        <a:cubicBezTo>
                          <a:pt x="15335" y="-2296"/>
                          <a:pt x="15832" y="2927"/>
                          <a:pt x="2024" y="0"/>
                        </a:cubicBezTo>
                        <a:cubicBezTo>
                          <a:pt x="-1697" y="69"/>
                          <a:pt x="882" y="4977"/>
                          <a:pt x="727" y="7201"/>
                        </a:cubicBezTo>
                        <a:cubicBezTo>
                          <a:pt x="1159" y="10699"/>
                          <a:pt x="1601" y="14314"/>
                          <a:pt x="2855" y="17772"/>
                        </a:cubicBezTo>
                        <a:cubicBezTo>
                          <a:pt x="4308" y="21789"/>
                          <a:pt x="4819" y="26343"/>
                          <a:pt x="5316" y="30749"/>
                        </a:cubicBezTo>
                        <a:cubicBezTo>
                          <a:pt x="5759" y="32437"/>
                          <a:pt x="5102" y="34964"/>
                          <a:pt x="6752" y="36035"/>
                        </a:cubicBezTo>
                        <a:cubicBezTo>
                          <a:pt x="9856" y="37591"/>
                          <a:pt x="12826" y="39312"/>
                          <a:pt x="15578" y="41146"/>
                        </a:cubicBezTo>
                        <a:cubicBezTo>
                          <a:pt x="16726" y="41962"/>
                          <a:pt x="18451" y="41011"/>
                          <a:pt x="18359" y="39598"/>
                        </a:cubicBezTo>
                        <a:cubicBezTo>
                          <a:pt x="18065" y="30458"/>
                          <a:pt x="17460" y="21389"/>
                          <a:pt x="16512" y="11873"/>
                        </a:cubicBezTo>
                        <a:close/>
                      </a:path>
                    </a:pathLst>
                  </a:custGeom>
                  <a:grpFill/>
                  <a:ln w="2826" cap="flat">
                    <a:noFill/>
                    <a:prstDash val="solid"/>
                    <a:miter/>
                  </a:ln>
                </p:spPr>
                <p:txBody>
                  <a:bodyPr rtlCol="0" anchor="ctr"/>
                  <a:lstStyle/>
                  <a:p>
                    <a:endParaRPr lang="fr-CA"/>
                  </a:p>
                </p:txBody>
              </p:sp>
              <p:sp>
                <p:nvSpPr>
                  <p:cNvPr id="1053" name="Forme libre : forme 1052">
                    <a:extLst>
                      <a:ext uri="{FF2B5EF4-FFF2-40B4-BE49-F238E27FC236}">
                        <a16:creationId xmlns:a16="http://schemas.microsoft.com/office/drawing/2014/main" id="{FEAC0D7E-01A1-EF94-F6A5-1151965DA4C0}"/>
                      </a:ext>
                    </a:extLst>
                  </p:cNvPr>
                  <p:cNvSpPr/>
                  <p:nvPr/>
                </p:nvSpPr>
                <p:spPr>
                  <a:xfrm>
                    <a:off x="9589387" y="4334887"/>
                    <a:ext cx="49997" cy="28265"/>
                  </a:xfrm>
                  <a:custGeom>
                    <a:avLst/>
                    <a:gdLst>
                      <a:gd name="connsiteX0" fmla="*/ 49053 w 49997"/>
                      <a:gd name="connsiteY0" fmla="*/ 18810 h 28265"/>
                      <a:gd name="connsiteX1" fmla="*/ 23537 w 49997"/>
                      <a:gd name="connsiteY1" fmla="*/ 4944 h 28265"/>
                      <a:gd name="connsiteX2" fmla="*/ 6359 w 49997"/>
                      <a:gd name="connsiteY2" fmla="*/ 279 h 28265"/>
                      <a:gd name="connsiteX3" fmla="*/ 0 w 49997"/>
                      <a:gd name="connsiteY3" fmla="*/ 2480 h 28265"/>
                      <a:gd name="connsiteX4" fmla="*/ 2008 w 49997"/>
                      <a:gd name="connsiteY4" fmla="*/ 26562 h 28265"/>
                      <a:gd name="connsiteX5" fmla="*/ 4406 w 49997"/>
                      <a:gd name="connsiteY5" fmla="*/ 28153 h 28265"/>
                      <a:gd name="connsiteX6" fmla="*/ 48153 w 49997"/>
                      <a:gd name="connsiteY6" fmla="*/ 22188 h 28265"/>
                      <a:gd name="connsiteX7" fmla="*/ 49053 w 49997"/>
                      <a:gd name="connsiteY7" fmla="*/ 18810 h 2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7" h="28265">
                        <a:moveTo>
                          <a:pt x="49053" y="18810"/>
                        </a:moveTo>
                        <a:cubicBezTo>
                          <a:pt x="41720" y="15612"/>
                          <a:pt x="32317" y="6855"/>
                          <a:pt x="23537" y="4944"/>
                        </a:cubicBezTo>
                        <a:cubicBezTo>
                          <a:pt x="21478" y="4496"/>
                          <a:pt x="8589" y="1232"/>
                          <a:pt x="6359" y="279"/>
                        </a:cubicBezTo>
                        <a:cubicBezTo>
                          <a:pt x="4483" y="7"/>
                          <a:pt x="-54" y="-766"/>
                          <a:pt x="0" y="2480"/>
                        </a:cubicBezTo>
                        <a:cubicBezTo>
                          <a:pt x="509" y="4508"/>
                          <a:pt x="1982" y="19467"/>
                          <a:pt x="2008" y="26562"/>
                        </a:cubicBezTo>
                        <a:cubicBezTo>
                          <a:pt x="2039" y="27727"/>
                          <a:pt x="3324" y="28581"/>
                          <a:pt x="4406" y="28153"/>
                        </a:cubicBezTo>
                        <a:cubicBezTo>
                          <a:pt x="17138" y="23518"/>
                          <a:pt x="31855" y="21511"/>
                          <a:pt x="48153" y="22188"/>
                        </a:cubicBezTo>
                        <a:cubicBezTo>
                          <a:pt x="49992" y="22325"/>
                          <a:pt x="50746" y="19615"/>
                          <a:pt x="49053" y="18810"/>
                        </a:cubicBezTo>
                        <a:close/>
                      </a:path>
                    </a:pathLst>
                  </a:custGeom>
                  <a:grpFill/>
                  <a:ln w="2826" cap="flat">
                    <a:noFill/>
                    <a:prstDash val="solid"/>
                    <a:miter/>
                  </a:ln>
                </p:spPr>
                <p:txBody>
                  <a:bodyPr rtlCol="0" anchor="ctr"/>
                  <a:lstStyle/>
                  <a:p>
                    <a:endParaRPr lang="fr-CA"/>
                  </a:p>
                </p:txBody>
              </p:sp>
              <p:sp>
                <p:nvSpPr>
                  <p:cNvPr id="1054" name="Forme libre : forme 1053">
                    <a:extLst>
                      <a:ext uri="{FF2B5EF4-FFF2-40B4-BE49-F238E27FC236}">
                        <a16:creationId xmlns:a16="http://schemas.microsoft.com/office/drawing/2014/main" id="{FC7DBDDF-3171-BF38-72B9-2EA4E0159EC0}"/>
                      </a:ext>
                    </a:extLst>
                  </p:cNvPr>
                  <p:cNvSpPr/>
                  <p:nvPr/>
                </p:nvSpPr>
                <p:spPr>
                  <a:xfrm>
                    <a:off x="9353480" y="4249836"/>
                    <a:ext cx="277241" cy="422047"/>
                  </a:xfrm>
                  <a:custGeom>
                    <a:avLst/>
                    <a:gdLst>
                      <a:gd name="connsiteX0" fmla="*/ 276781 w 277241"/>
                      <a:gd name="connsiteY0" fmla="*/ 380062 h 422047"/>
                      <a:gd name="connsiteX1" fmla="*/ 270220 w 277241"/>
                      <a:gd name="connsiteY1" fmla="*/ 376233 h 422047"/>
                      <a:gd name="connsiteX2" fmla="*/ 252916 w 277241"/>
                      <a:gd name="connsiteY2" fmla="*/ 375939 h 422047"/>
                      <a:gd name="connsiteX3" fmla="*/ 248945 w 277241"/>
                      <a:gd name="connsiteY3" fmla="*/ 374482 h 422047"/>
                      <a:gd name="connsiteX4" fmla="*/ 216291 w 277241"/>
                      <a:gd name="connsiteY4" fmla="*/ 379245 h 422047"/>
                      <a:gd name="connsiteX5" fmla="*/ 212713 w 277241"/>
                      <a:gd name="connsiteY5" fmla="*/ 378817 h 422047"/>
                      <a:gd name="connsiteX6" fmla="*/ 175822 w 277241"/>
                      <a:gd name="connsiteY6" fmla="*/ 189350 h 422047"/>
                      <a:gd name="connsiteX7" fmla="*/ 126304 w 277241"/>
                      <a:gd name="connsiteY7" fmla="*/ 148199 h 422047"/>
                      <a:gd name="connsiteX8" fmla="*/ 125542 w 277241"/>
                      <a:gd name="connsiteY8" fmla="*/ 130373 h 422047"/>
                      <a:gd name="connsiteX9" fmla="*/ 141629 w 277241"/>
                      <a:gd name="connsiteY9" fmla="*/ 126672 h 422047"/>
                      <a:gd name="connsiteX10" fmla="*/ 141860 w 277241"/>
                      <a:gd name="connsiteY10" fmla="*/ 123800 h 422047"/>
                      <a:gd name="connsiteX11" fmla="*/ 140650 w 277241"/>
                      <a:gd name="connsiteY11" fmla="*/ 119220 h 422047"/>
                      <a:gd name="connsiteX12" fmla="*/ 130619 w 277241"/>
                      <a:gd name="connsiteY12" fmla="*/ 112076 h 422047"/>
                      <a:gd name="connsiteX13" fmla="*/ 124840 w 277241"/>
                      <a:gd name="connsiteY13" fmla="*/ 110742 h 422047"/>
                      <a:gd name="connsiteX14" fmla="*/ 123960 w 277241"/>
                      <a:gd name="connsiteY14" fmla="*/ 2479 h 422047"/>
                      <a:gd name="connsiteX15" fmla="*/ 122173 w 277241"/>
                      <a:gd name="connsiteY15" fmla="*/ 440 h 422047"/>
                      <a:gd name="connsiteX16" fmla="*/ 110334 w 277241"/>
                      <a:gd name="connsiteY16" fmla="*/ 12 h 422047"/>
                      <a:gd name="connsiteX17" fmla="*/ 108364 w 277241"/>
                      <a:gd name="connsiteY17" fmla="*/ 1833 h 422047"/>
                      <a:gd name="connsiteX18" fmla="*/ 108250 w 277241"/>
                      <a:gd name="connsiteY18" fmla="*/ 83676 h 422047"/>
                      <a:gd name="connsiteX19" fmla="*/ 106031 w 277241"/>
                      <a:gd name="connsiteY19" fmla="*/ 118120 h 422047"/>
                      <a:gd name="connsiteX20" fmla="*/ 12268 w 277241"/>
                      <a:gd name="connsiteY20" fmla="*/ 103370 h 422047"/>
                      <a:gd name="connsiteX21" fmla="*/ 11991 w 277241"/>
                      <a:gd name="connsiteY21" fmla="*/ 105183 h 422047"/>
                      <a:gd name="connsiteX22" fmla="*/ 20879 w 277241"/>
                      <a:gd name="connsiteY22" fmla="*/ 128377 h 422047"/>
                      <a:gd name="connsiteX23" fmla="*/ 26447 w 277241"/>
                      <a:gd name="connsiteY23" fmla="*/ 150849 h 422047"/>
                      <a:gd name="connsiteX24" fmla="*/ 27981 w 277241"/>
                      <a:gd name="connsiteY24" fmla="*/ 152216 h 422047"/>
                      <a:gd name="connsiteX25" fmla="*/ 83417 w 277241"/>
                      <a:gd name="connsiteY25" fmla="*/ 157807 h 422047"/>
                      <a:gd name="connsiteX26" fmla="*/ 88742 w 277241"/>
                      <a:gd name="connsiteY26" fmla="*/ 158841 h 422047"/>
                      <a:gd name="connsiteX27" fmla="*/ 109158 w 277241"/>
                      <a:gd name="connsiteY27" fmla="*/ 159871 h 422047"/>
                      <a:gd name="connsiteX28" fmla="*/ 113007 w 277241"/>
                      <a:gd name="connsiteY28" fmla="*/ 282286 h 422047"/>
                      <a:gd name="connsiteX29" fmla="*/ 97523 w 277241"/>
                      <a:gd name="connsiteY29" fmla="*/ 286086 h 422047"/>
                      <a:gd name="connsiteX30" fmla="*/ 92429 w 277241"/>
                      <a:gd name="connsiteY30" fmla="*/ 294370 h 422047"/>
                      <a:gd name="connsiteX31" fmla="*/ 52588 w 277241"/>
                      <a:gd name="connsiteY31" fmla="*/ 321199 h 422047"/>
                      <a:gd name="connsiteX32" fmla="*/ 41692 w 277241"/>
                      <a:gd name="connsiteY32" fmla="*/ 343962 h 422047"/>
                      <a:gd name="connsiteX33" fmla="*/ 25591 w 277241"/>
                      <a:gd name="connsiteY33" fmla="*/ 345883 h 422047"/>
                      <a:gd name="connsiteX34" fmla="*/ 244 w 277241"/>
                      <a:gd name="connsiteY34" fmla="*/ 359734 h 422047"/>
                      <a:gd name="connsiteX35" fmla="*/ 1546 w 277241"/>
                      <a:gd name="connsiteY35" fmla="*/ 362410 h 422047"/>
                      <a:gd name="connsiteX36" fmla="*/ 16391 w 277241"/>
                      <a:gd name="connsiteY36" fmla="*/ 364908 h 422047"/>
                      <a:gd name="connsiteX37" fmla="*/ 44627 w 277241"/>
                      <a:gd name="connsiteY37" fmla="*/ 366310 h 422047"/>
                      <a:gd name="connsiteX38" fmla="*/ 54472 w 277241"/>
                      <a:gd name="connsiteY38" fmla="*/ 358838 h 422047"/>
                      <a:gd name="connsiteX39" fmla="*/ 64775 w 277241"/>
                      <a:gd name="connsiteY39" fmla="*/ 332118 h 422047"/>
                      <a:gd name="connsiteX40" fmla="*/ 91501 w 277241"/>
                      <a:gd name="connsiteY40" fmla="*/ 310557 h 422047"/>
                      <a:gd name="connsiteX41" fmla="*/ 93448 w 277241"/>
                      <a:gd name="connsiteY41" fmla="*/ 309812 h 422047"/>
                      <a:gd name="connsiteX42" fmla="*/ 94010 w 277241"/>
                      <a:gd name="connsiteY42" fmla="*/ 318900 h 422047"/>
                      <a:gd name="connsiteX43" fmla="*/ 98174 w 277241"/>
                      <a:gd name="connsiteY43" fmla="*/ 325596 h 422047"/>
                      <a:gd name="connsiteX44" fmla="*/ 93614 w 277241"/>
                      <a:gd name="connsiteY44" fmla="*/ 337154 h 422047"/>
                      <a:gd name="connsiteX45" fmla="*/ 61140 w 277241"/>
                      <a:gd name="connsiteY45" fmla="*/ 415939 h 422047"/>
                      <a:gd name="connsiteX46" fmla="*/ 72207 w 277241"/>
                      <a:gd name="connsiteY46" fmla="*/ 417687 h 422047"/>
                      <a:gd name="connsiteX47" fmla="*/ 83863 w 277241"/>
                      <a:gd name="connsiteY47" fmla="*/ 415865 h 422047"/>
                      <a:gd name="connsiteX48" fmla="*/ 113889 w 277241"/>
                      <a:gd name="connsiteY48" fmla="*/ 342474 h 422047"/>
                      <a:gd name="connsiteX49" fmla="*/ 118389 w 277241"/>
                      <a:gd name="connsiteY49" fmla="*/ 316482 h 422047"/>
                      <a:gd name="connsiteX50" fmla="*/ 188317 w 277241"/>
                      <a:gd name="connsiteY50" fmla="*/ 332306 h 422047"/>
                      <a:gd name="connsiteX51" fmla="*/ 192223 w 277241"/>
                      <a:gd name="connsiteY51" fmla="*/ 332751 h 422047"/>
                      <a:gd name="connsiteX52" fmla="*/ 206648 w 277241"/>
                      <a:gd name="connsiteY52" fmla="*/ 413486 h 422047"/>
                      <a:gd name="connsiteX53" fmla="*/ 209718 w 277241"/>
                      <a:gd name="connsiteY53" fmla="*/ 414554 h 422047"/>
                      <a:gd name="connsiteX54" fmla="*/ 215548 w 277241"/>
                      <a:gd name="connsiteY54" fmla="*/ 421764 h 422047"/>
                      <a:gd name="connsiteX55" fmla="*/ 216788 w 277241"/>
                      <a:gd name="connsiteY55" fmla="*/ 414003 h 422047"/>
                      <a:gd name="connsiteX56" fmla="*/ 218198 w 277241"/>
                      <a:gd name="connsiteY56" fmla="*/ 409872 h 422047"/>
                      <a:gd name="connsiteX57" fmla="*/ 220851 w 277241"/>
                      <a:gd name="connsiteY57" fmla="*/ 408407 h 422047"/>
                      <a:gd name="connsiteX58" fmla="*/ 231016 w 277241"/>
                      <a:gd name="connsiteY58" fmla="*/ 407262 h 422047"/>
                      <a:gd name="connsiteX59" fmla="*/ 249427 w 277241"/>
                      <a:gd name="connsiteY59" fmla="*/ 403221 h 422047"/>
                      <a:gd name="connsiteX60" fmla="*/ 259130 w 277241"/>
                      <a:gd name="connsiteY60" fmla="*/ 400175 h 422047"/>
                      <a:gd name="connsiteX61" fmla="*/ 260366 w 277241"/>
                      <a:gd name="connsiteY61" fmla="*/ 398050 h 422047"/>
                      <a:gd name="connsiteX62" fmla="*/ 259032 w 277241"/>
                      <a:gd name="connsiteY62" fmla="*/ 391723 h 422047"/>
                      <a:gd name="connsiteX63" fmla="*/ 271396 w 277241"/>
                      <a:gd name="connsiteY63" fmla="*/ 388913 h 422047"/>
                      <a:gd name="connsiteX64" fmla="*/ 276781 w 277241"/>
                      <a:gd name="connsiteY64" fmla="*/ 380062 h 422047"/>
                      <a:gd name="connsiteX65" fmla="*/ 109803 w 277241"/>
                      <a:gd name="connsiteY65" fmla="*/ 145566 h 422047"/>
                      <a:gd name="connsiteX66" fmla="*/ 106657 w 277241"/>
                      <a:gd name="connsiteY66" fmla="*/ 146137 h 422047"/>
                      <a:gd name="connsiteX67" fmla="*/ 90735 w 277241"/>
                      <a:gd name="connsiteY67" fmla="*/ 144521 h 422047"/>
                      <a:gd name="connsiteX68" fmla="*/ 87831 w 277241"/>
                      <a:gd name="connsiteY68" fmla="*/ 145475 h 422047"/>
                      <a:gd name="connsiteX69" fmla="*/ 84611 w 277241"/>
                      <a:gd name="connsiteY69" fmla="*/ 136260 h 422047"/>
                      <a:gd name="connsiteX70" fmla="*/ 97577 w 277241"/>
                      <a:gd name="connsiteY70" fmla="*/ 137431 h 422047"/>
                      <a:gd name="connsiteX71" fmla="*/ 109484 w 277241"/>
                      <a:gd name="connsiteY71" fmla="*/ 139487 h 422047"/>
                      <a:gd name="connsiteX72" fmla="*/ 109803 w 277241"/>
                      <a:gd name="connsiteY72" fmla="*/ 145566 h 422047"/>
                      <a:gd name="connsiteX73" fmla="*/ 185856 w 277241"/>
                      <a:gd name="connsiteY73" fmla="*/ 312813 h 422047"/>
                      <a:gd name="connsiteX74" fmla="*/ 134328 w 277241"/>
                      <a:gd name="connsiteY74" fmla="*/ 303116 h 422047"/>
                      <a:gd name="connsiteX75" fmla="*/ 131030 w 277241"/>
                      <a:gd name="connsiteY75" fmla="*/ 302927 h 422047"/>
                      <a:gd name="connsiteX76" fmla="*/ 127115 w 277241"/>
                      <a:gd name="connsiteY76" fmla="*/ 162164 h 422047"/>
                      <a:gd name="connsiteX77" fmla="*/ 127107 w 277241"/>
                      <a:gd name="connsiteY77" fmla="*/ 162147 h 422047"/>
                      <a:gd name="connsiteX78" fmla="*/ 127584 w 277241"/>
                      <a:gd name="connsiteY78" fmla="*/ 161950 h 422047"/>
                      <a:gd name="connsiteX79" fmla="*/ 175051 w 277241"/>
                      <a:gd name="connsiteY79" fmla="*/ 244750 h 422047"/>
                      <a:gd name="connsiteX80" fmla="*/ 186038 w 277241"/>
                      <a:gd name="connsiteY80" fmla="*/ 300923 h 422047"/>
                      <a:gd name="connsiteX81" fmla="*/ 188448 w 277241"/>
                      <a:gd name="connsiteY81" fmla="*/ 313278 h 422047"/>
                      <a:gd name="connsiteX82" fmla="*/ 185856 w 277241"/>
                      <a:gd name="connsiteY82" fmla="*/ 312813 h 42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77241" h="422047">
                        <a:moveTo>
                          <a:pt x="276781" y="380062"/>
                        </a:moveTo>
                        <a:cubicBezTo>
                          <a:pt x="275768" y="375976"/>
                          <a:pt x="272024" y="376150"/>
                          <a:pt x="270220" y="376233"/>
                        </a:cubicBezTo>
                        <a:cubicBezTo>
                          <a:pt x="269963" y="376244"/>
                          <a:pt x="258453" y="376541"/>
                          <a:pt x="252916" y="375939"/>
                        </a:cubicBezTo>
                        <a:cubicBezTo>
                          <a:pt x="252282" y="375927"/>
                          <a:pt x="250081" y="374231"/>
                          <a:pt x="248945" y="374482"/>
                        </a:cubicBezTo>
                        <a:cubicBezTo>
                          <a:pt x="228346" y="379194"/>
                          <a:pt x="219517" y="378012"/>
                          <a:pt x="216291" y="379245"/>
                        </a:cubicBezTo>
                        <a:cubicBezTo>
                          <a:pt x="213176" y="380436"/>
                          <a:pt x="212773" y="379165"/>
                          <a:pt x="212713" y="378817"/>
                        </a:cubicBezTo>
                        <a:cubicBezTo>
                          <a:pt x="201340" y="314103"/>
                          <a:pt x="188965" y="250517"/>
                          <a:pt x="175822" y="189350"/>
                        </a:cubicBezTo>
                        <a:cubicBezTo>
                          <a:pt x="170771" y="165753"/>
                          <a:pt x="152422" y="148144"/>
                          <a:pt x="126304" y="148199"/>
                        </a:cubicBezTo>
                        <a:cubicBezTo>
                          <a:pt x="126030" y="142245"/>
                          <a:pt x="125776" y="136303"/>
                          <a:pt x="125542" y="130373"/>
                        </a:cubicBezTo>
                        <a:cubicBezTo>
                          <a:pt x="128409" y="130004"/>
                          <a:pt x="141306" y="127049"/>
                          <a:pt x="141629" y="126672"/>
                        </a:cubicBezTo>
                        <a:cubicBezTo>
                          <a:pt x="142354" y="125867"/>
                          <a:pt x="141943" y="124756"/>
                          <a:pt x="141860" y="123800"/>
                        </a:cubicBezTo>
                        <a:cubicBezTo>
                          <a:pt x="141409" y="122232"/>
                          <a:pt x="142132" y="120205"/>
                          <a:pt x="140650" y="119220"/>
                        </a:cubicBezTo>
                        <a:cubicBezTo>
                          <a:pt x="136921" y="117227"/>
                          <a:pt x="134368" y="113940"/>
                          <a:pt x="130619" y="112076"/>
                        </a:cubicBezTo>
                        <a:cubicBezTo>
                          <a:pt x="128711" y="111042"/>
                          <a:pt x="126324" y="111122"/>
                          <a:pt x="124840" y="110742"/>
                        </a:cubicBezTo>
                        <a:cubicBezTo>
                          <a:pt x="123689" y="74702"/>
                          <a:pt x="123332" y="38882"/>
                          <a:pt x="123960" y="2479"/>
                        </a:cubicBezTo>
                        <a:cubicBezTo>
                          <a:pt x="124134" y="1437"/>
                          <a:pt x="123235" y="403"/>
                          <a:pt x="122173" y="440"/>
                        </a:cubicBezTo>
                        <a:cubicBezTo>
                          <a:pt x="118701" y="471"/>
                          <a:pt x="114578" y="443"/>
                          <a:pt x="110334" y="12"/>
                        </a:cubicBezTo>
                        <a:cubicBezTo>
                          <a:pt x="109295" y="-114"/>
                          <a:pt x="108316" y="786"/>
                          <a:pt x="108364" y="1833"/>
                        </a:cubicBezTo>
                        <a:cubicBezTo>
                          <a:pt x="109110" y="29813"/>
                          <a:pt x="108170" y="56656"/>
                          <a:pt x="108250" y="83676"/>
                        </a:cubicBezTo>
                        <a:cubicBezTo>
                          <a:pt x="107725" y="94995"/>
                          <a:pt x="110229" y="107536"/>
                          <a:pt x="106031" y="118120"/>
                        </a:cubicBezTo>
                        <a:cubicBezTo>
                          <a:pt x="74823" y="112744"/>
                          <a:pt x="43137" y="106822"/>
                          <a:pt x="12268" y="103370"/>
                        </a:cubicBezTo>
                        <a:cubicBezTo>
                          <a:pt x="11848" y="103878"/>
                          <a:pt x="11742" y="104575"/>
                          <a:pt x="11991" y="105183"/>
                        </a:cubicBezTo>
                        <a:cubicBezTo>
                          <a:pt x="15488" y="112507"/>
                          <a:pt x="17105" y="121298"/>
                          <a:pt x="20879" y="128377"/>
                        </a:cubicBezTo>
                        <a:cubicBezTo>
                          <a:pt x="21619" y="135678"/>
                          <a:pt x="25122" y="143159"/>
                          <a:pt x="26447" y="150849"/>
                        </a:cubicBezTo>
                        <a:cubicBezTo>
                          <a:pt x="26621" y="151582"/>
                          <a:pt x="27232" y="152128"/>
                          <a:pt x="27981" y="152216"/>
                        </a:cubicBezTo>
                        <a:cubicBezTo>
                          <a:pt x="46549" y="154398"/>
                          <a:pt x="64863" y="155523"/>
                          <a:pt x="83417" y="157807"/>
                        </a:cubicBezTo>
                        <a:cubicBezTo>
                          <a:pt x="84337" y="157941"/>
                          <a:pt x="87223" y="159012"/>
                          <a:pt x="88742" y="158841"/>
                        </a:cubicBezTo>
                        <a:cubicBezTo>
                          <a:pt x="95267" y="157798"/>
                          <a:pt x="102402" y="158715"/>
                          <a:pt x="109158" y="159871"/>
                        </a:cubicBezTo>
                        <a:cubicBezTo>
                          <a:pt x="112130" y="200563"/>
                          <a:pt x="112239" y="241243"/>
                          <a:pt x="113007" y="282286"/>
                        </a:cubicBezTo>
                        <a:cubicBezTo>
                          <a:pt x="113007" y="282849"/>
                          <a:pt x="107559" y="279396"/>
                          <a:pt x="97523" y="286086"/>
                        </a:cubicBezTo>
                        <a:cubicBezTo>
                          <a:pt x="92040" y="289390"/>
                          <a:pt x="92797" y="287925"/>
                          <a:pt x="92429" y="294370"/>
                        </a:cubicBezTo>
                        <a:cubicBezTo>
                          <a:pt x="70008" y="281823"/>
                          <a:pt x="58284" y="300540"/>
                          <a:pt x="52588" y="321199"/>
                        </a:cubicBezTo>
                        <a:cubicBezTo>
                          <a:pt x="49855" y="329648"/>
                          <a:pt x="47274" y="337628"/>
                          <a:pt x="41692" y="343962"/>
                        </a:cubicBezTo>
                        <a:cubicBezTo>
                          <a:pt x="37629" y="348233"/>
                          <a:pt x="30987" y="346600"/>
                          <a:pt x="25591" y="345883"/>
                        </a:cubicBezTo>
                        <a:cubicBezTo>
                          <a:pt x="3322" y="343342"/>
                          <a:pt x="14560" y="337437"/>
                          <a:pt x="244" y="359734"/>
                        </a:cubicBezTo>
                        <a:cubicBezTo>
                          <a:pt x="-404" y="360782"/>
                          <a:pt x="312" y="362281"/>
                          <a:pt x="1546" y="362410"/>
                        </a:cubicBezTo>
                        <a:cubicBezTo>
                          <a:pt x="6503" y="363084"/>
                          <a:pt x="11528" y="364012"/>
                          <a:pt x="16391" y="364908"/>
                        </a:cubicBezTo>
                        <a:cubicBezTo>
                          <a:pt x="25048" y="365916"/>
                          <a:pt x="35913" y="369114"/>
                          <a:pt x="44627" y="366310"/>
                        </a:cubicBezTo>
                        <a:cubicBezTo>
                          <a:pt x="47968" y="363252"/>
                          <a:pt x="51306" y="362247"/>
                          <a:pt x="54472" y="358838"/>
                        </a:cubicBezTo>
                        <a:cubicBezTo>
                          <a:pt x="58450" y="350112"/>
                          <a:pt x="61565" y="341095"/>
                          <a:pt x="64775" y="332118"/>
                        </a:cubicBezTo>
                        <a:cubicBezTo>
                          <a:pt x="69086" y="317984"/>
                          <a:pt x="74197" y="305517"/>
                          <a:pt x="91501" y="310557"/>
                        </a:cubicBezTo>
                        <a:cubicBezTo>
                          <a:pt x="92226" y="310757"/>
                          <a:pt x="93043" y="310443"/>
                          <a:pt x="93448" y="309812"/>
                        </a:cubicBezTo>
                        <a:cubicBezTo>
                          <a:pt x="93645" y="312850"/>
                          <a:pt x="93771" y="315851"/>
                          <a:pt x="94010" y="318900"/>
                        </a:cubicBezTo>
                        <a:cubicBezTo>
                          <a:pt x="93882" y="321990"/>
                          <a:pt x="94567" y="324959"/>
                          <a:pt x="98174" y="325596"/>
                        </a:cubicBezTo>
                        <a:cubicBezTo>
                          <a:pt x="98719" y="325693"/>
                          <a:pt x="93733" y="336823"/>
                          <a:pt x="93614" y="337154"/>
                        </a:cubicBezTo>
                        <a:cubicBezTo>
                          <a:pt x="83945" y="363832"/>
                          <a:pt x="71279" y="389484"/>
                          <a:pt x="61140" y="415939"/>
                        </a:cubicBezTo>
                        <a:cubicBezTo>
                          <a:pt x="60060" y="420505"/>
                          <a:pt x="69780" y="417355"/>
                          <a:pt x="72207" y="417687"/>
                        </a:cubicBezTo>
                        <a:cubicBezTo>
                          <a:pt x="74677" y="416956"/>
                          <a:pt x="83200" y="417932"/>
                          <a:pt x="83863" y="415865"/>
                        </a:cubicBezTo>
                        <a:cubicBezTo>
                          <a:pt x="93568" y="391318"/>
                          <a:pt x="102562" y="366582"/>
                          <a:pt x="113889" y="342474"/>
                        </a:cubicBezTo>
                        <a:cubicBezTo>
                          <a:pt x="116411" y="335670"/>
                          <a:pt x="118110" y="322946"/>
                          <a:pt x="118389" y="316482"/>
                        </a:cubicBezTo>
                        <a:cubicBezTo>
                          <a:pt x="142603" y="322509"/>
                          <a:pt x="166042" y="326807"/>
                          <a:pt x="188317" y="332306"/>
                        </a:cubicBezTo>
                        <a:cubicBezTo>
                          <a:pt x="188879" y="332455"/>
                          <a:pt x="190590" y="332677"/>
                          <a:pt x="192223" y="332751"/>
                        </a:cubicBezTo>
                        <a:cubicBezTo>
                          <a:pt x="197363" y="359469"/>
                          <a:pt x="202377" y="386583"/>
                          <a:pt x="206648" y="413486"/>
                        </a:cubicBezTo>
                        <a:cubicBezTo>
                          <a:pt x="206782" y="414469"/>
                          <a:pt x="209124" y="414660"/>
                          <a:pt x="209718" y="414554"/>
                        </a:cubicBezTo>
                        <a:cubicBezTo>
                          <a:pt x="210923" y="414340"/>
                          <a:pt x="209615" y="423786"/>
                          <a:pt x="215548" y="421764"/>
                        </a:cubicBezTo>
                        <a:cubicBezTo>
                          <a:pt x="220531" y="420068"/>
                          <a:pt x="216048" y="414197"/>
                          <a:pt x="216788" y="414003"/>
                        </a:cubicBezTo>
                        <a:cubicBezTo>
                          <a:pt x="218095" y="413658"/>
                          <a:pt x="218692" y="412693"/>
                          <a:pt x="218198" y="409872"/>
                        </a:cubicBezTo>
                        <a:cubicBezTo>
                          <a:pt x="218090" y="409258"/>
                          <a:pt x="218835" y="408724"/>
                          <a:pt x="220851" y="408407"/>
                        </a:cubicBezTo>
                        <a:cubicBezTo>
                          <a:pt x="223012" y="408067"/>
                          <a:pt x="228780" y="407973"/>
                          <a:pt x="231016" y="407262"/>
                        </a:cubicBezTo>
                        <a:cubicBezTo>
                          <a:pt x="237123" y="405720"/>
                          <a:pt x="243477" y="404983"/>
                          <a:pt x="249427" y="403221"/>
                        </a:cubicBezTo>
                        <a:cubicBezTo>
                          <a:pt x="252819" y="403339"/>
                          <a:pt x="255957" y="400977"/>
                          <a:pt x="259130" y="400175"/>
                        </a:cubicBezTo>
                        <a:cubicBezTo>
                          <a:pt x="260040" y="399906"/>
                          <a:pt x="260583" y="398976"/>
                          <a:pt x="260366" y="398050"/>
                        </a:cubicBezTo>
                        <a:cubicBezTo>
                          <a:pt x="259692" y="396075"/>
                          <a:pt x="260086" y="393550"/>
                          <a:pt x="259032" y="391723"/>
                        </a:cubicBezTo>
                        <a:cubicBezTo>
                          <a:pt x="261674" y="390735"/>
                          <a:pt x="270899" y="391455"/>
                          <a:pt x="271396" y="388913"/>
                        </a:cubicBezTo>
                        <a:cubicBezTo>
                          <a:pt x="277261" y="391926"/>
                          <a:pt x="277912" y="382837"/>
                          <a:pt x="276781" y="380062"/>
                        </a:cubicBezTo>
                        <a:close/>
                        <a:moveTo>
                          <a:pt x="109803" y="145566"/>
                        </a:moveTo>
                        <a:cubicBezTo>
                          <a:pt x="109407" y="146506"/>
                          <a:pt x="109138" y="146631"/>
                          <a:pt x="106657" y="146137"/>
                        </a:cubicBezTo>
                        <a:cubicBezTo>
                          <a:pt x="101140" y="144835"/>
                          <a:pt x="96238" y="145558"/>
                          <a:pt x="90735" y="144521"/>
                        </a:cubicBezTo>
                        <a:cubicBezTo>
                          <a:pt x="89942" y="144335"/>
                          <a:pt x="88460" y="145124"/>
                          <a:pt x="87831" y="145475"/>
                        </a:cubicBezTo>
                        <a:cubicBezTo>
                          <a:pt x="86712" y="142976"/>
                          <a:pt x="85367" y="138516"/>
                          <a:pt x="84611" y="136260"/>
                        </a:cubicBezTo>
                        <a:cubicBezTo>
                          <a:pt x="84731" y="135375"/>
                          <a:pt x="91886" y="136766"/>
                          <a:pt x="97577" y="137431"/>
                        </a:cubicBezTo>
                        <a:cubicBezTo>
                          <a:pt x="100172" y="137734"/>
                          <a:pt x="107882" y="138351"/>
                          <a:pt x="109484" y="139487"/>
                        </a:cubicBezTo>
                        <a:cubicBezTo>
                          <a:pt x="110123" y="141531"/>
                          <a:pt x="111017" y="142802"/>
                          <a:pt x="109803" y="145566"/>
                        </a:cubicBezTo>
                        <a:close/>
                        <a:moveTo>
                          <a:pt x="185856" y="312813"/>
                        </a:moveTo>
                        <a:cubicBezTo>
                          <a:pt x="166128" y="310231"/>
                          <a:pt x="152077" y="308858"/>
                          <a:pt x="134328" y="303116"/>
                        </a:cubicBezTo>
                        <a:cubicBezTo>
                          <a:pt x="133668" y="302845"/>
                          <a:pt x="131527" y="302413"/>
                          <a:pt x="131030" y="302927"/>
                        </a:cubicBezTo>
                        <a:cubicBezTo>
                          <a:pt x="126781" y="256842"/>
                          <a:pt x="127292" y="208161"/>
                          <a:pt x="127115" y="162164"/>
                        </a:cubicBezTo>
                        <a:cubicBezTo>
                          <a:pt x="127113" y="162159"/>
                          <a:pt x="127110" y="162153"/>
                          <a:pt x="127107" y="162147"/>
                        </a:cubicBezTo>
                        <a:cubicBezTo>
                          <a:pt x="127275" y="162104"/>
                          <a:pt x="127435" y="162039"/>
                          <a:pt x="127584" y="161950"/>
                        </a:cubicBezTo>
                        <a:cubicBezTo>
                          <a:pt x="168975" y="166687"/>
                          <a:pt x="167156" y="216582"/>
                          <a:pt x="175051" y="244750"/>
                        </a:cubicBezTo>
                        <a:cubicBezTo>
                          <a:pt x="178780" y="263315"/>
                          <a:pt x="182418" y="282474"/>
                          <a:pt x="186038" y="300923"/>
                        </a:cubicBezTo>
                        <a:cubicBezTo>
                          <a:pt x="186841" y="305026"/>
                          <a:pt x="187643" y="309146"/>
                          <a:pt x="188448" y="313278"/>
                        </a:cubicBezTo>
                        <a:cubicBezTo>
                          <a:pt x="187280" y="313024"/>
                          <a:pt x="186187" y="312847"/>
                          <a:pt x="185856" y="312813"/>
                        </a:cubicBezTo>
                        <a:close/>
                      </a:path>
                    </a:pathLst>
                  </a:custGeom>
                  <a:grpFill/>
                  <a:ln w="2826" cap="flat">
                    <a:noFill/>
                    <a:prstDash val="solid"/>
                    <a:miter/>
                  </a:ln>
                </p:spPr>
                <p:txBody>
                  <a:bodyPr rtlCol="0" anchor="ctr"/>
                  <a:lstStyle/>
                  <a:p>
                    <a:endParaRPr lang="fr-CA"/>
                  </a:p>
                </p:txBody>
              </p:sp>
              <p:sp>
                <p:nvSpPr>
                  <p:cNvPr id="1055" name="Forme libre : forme 1054">
                    <a:extLst>
                      <a:ext uri="{FF2B5EF4-FFF2-40B4-BE49-F238E27FC236}">
                        <a16:creationId xmlns:a16="http://schemas.microsoft.com/office/drawing/2014/main" id="{E1F9533A-7BC1-A9B3-11B4-8B8AAA6A9FDD}"/>
                      </a:ext>
                    </a:extLst>
                  </p:cNvPr>
                  <p:cNvSpPr/>
                  <p:nvPr/>
                </p:nvSpPr>
                <p:spPr>
                  <a:xfrm>
                    <a:off x="9279160" y="4338486"/>
                    <a:ext cx="74751" cy="98673"/>
                  </a:xfrm>
                  <a:custGeom>
                    <a:avLst/>
                    <a:gdLst>
                      <a:gd name="connsiteX0" fmla="*/ 74672 w 74751"/>
                      <a:gd name="connsiteY0" fmla="*/ 31495 h 98673"/>
                      <a:gd name="connsiteX1" fmla="*/ 66434 w 74751"/>
                      <a:gd name="connsiteY1" fmla="*/ 11413 h 98673"/>
                      <a:gd name="connsiteX2" fmla="*/ 2163 w 74751"/>
                      <a:gd name="connsiteY2" fmla="*/ 23 h 98673"/>
                      <a:gd name="connsiteX3" fmla="*/ 733 w 74751"/>
                      <a:gd name="connsiteY3" fmla="*/ 414 h 98673"/>
                      <a:gd name="connsiteX4" fmla="*/ 1835 w 74751"/>
                      <a:gd name="connsiteY4" fmla="*/ 20239 h 98673"/>
                      <a:gd name="connsiteX5" fmla="*/ 3936 w 74751"/>
                      <a:gd name="connsiteY5" fmla="*/ 22172 h 98673"/>
                      <a:gd name="connsiteX6" fmla="*/ 1972 w 74751"/>
                      <a:gd name="connsiteY6" fmla="*/ 88887 h 98673"/>
                      <a:gd name="connsiteX7" fmla="*/ 3322 w 74751"/>
                      <a:gd name="connsiteY7" fmla="*/ 90660 h 98673"/>
                      <a:gd name="connsiteX8" fmla="*/ 12851 w 74751"/>
                      <a:gd name="connsiteY8" fmla="*/ 97833 h 98673"/>
                      <a:gd name="connsiteX9" fmla="*/ 16166 w 74751"/>
                      <a:gd name="connsiteY9" fmla="*/ 96968 h 98673"/>
                      <a:gd name="connsiteX10" fmla="*/ 18596 w 74751"/>
                      <a:gd name="connsiteY10" fmla="*/ 24850 h 98673"/>
                      <a:gd name="connsiteX11" fmla="*/ 48228 w 74751"/>
                      <a:gd name="connsiteY11" fmla="*/ 29230 h 98673"/>
                      <a:gd name="connsiteX12" fmla="*/ 54273 w 74751"/>
                      <a:gd name="connsiteY12" fmla="*/ 31458 h 98673"/>
                      <a:gd name="connsiteX13" fmla="*/ 74672 w 74751"/>
                      <a:gd name="connsiteY13" fmla="*/ 31495 h 9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51" h="98673">
                        <a:moveTo>
                          <a:pt x="74672" y="31495"/>
                        </a:moveTo>
                        <a:cubicBezTo>
                          <a:pt x="72153" y="24588"/>
                          <a:pt x="69381" y="17829"/>
                          <a:pt x="66434" y="11413"/>
                        </a:cubicBezTo>
                        <a:cubicBezTo>
                          <a:pt x="64401" y="9243"/>
                          <a:pt x="6206" y="685"/>
                          <a:pt x="2163" y="23"/>
                        </a:cubicBezTo>
                        <a:cubicBezTo>
                          <a:pt x="1652" y="-60"/>
                          <a:pt x="1130" y="83"/>
                          <a:pt x="733" y="414"/>
                        </a:cubicBezTo>
                        <a:cubicBezTo>
                          <a:pt x="-1186" y="5911"/>
                          <a:pt x="1198" y="13486"/>
                          <a:pt x="1835" y="20239"/>
                        </a:cubicBezTo>
                        <a:cubicBezTo>
                          <a:pt x="1955" y="21407"/>
                          <a:pt x="3160" y="21598"/>
                          <a:pt x="3936" y="22172"/>
                        </a:cubicBezTo>
                        <a:cubicBezTo>
                          <a:pt x="2780" y="23143"/>
                          <a:pt x="2383" y="87677"/>
                          <a:pt x="1972" y="88887"/>
                        </a:cubicBezTo>
                        <a:cubicBezTo>
                          <a:pt x="1952" y="89718"/>
                          <a:pt x="2511" y="90455"/>
                          <a:pt x="3322" y="90660"/>
                        </a:cubicBezTo>
                        <a:cubicBezTo>
                          <a:pt x="7468" y="91694"/>
                          <a:pt x="10761" y="94255"/>
                          <a:pt x="12851" y="97833"/>
                        </a:cubicBezTo>
                        <a:cubicBezTo>
                          <a:pt x="13707" y="99329"/>
                          <a:pt x="16157" y="98695"/>
                          <a:pt x="16166" y="96968"/>
                        </a:cubicBezTo>
                        <a:cubicBezTo>
                          <a:pt x="15926" y="95746"/>
                          <a:pt x="19344" y="25990"/>
                          <a:pt x="18596" y="24850"/>
                        </a:cubicBezTo>
                        <a:cubicBezTo>
                          <a:pt x="26979" y="26415"/>
                          <a:pt x="38694" y="28362"/>
                          <a:pt x="48228" y="29230"/>
                        </a:cubicBezTo>
                        <a:cubicBezTo>
                          <a:pt x="49722" y="30464"/>
                          <a:pt x="53488" y="32003"/>
                          <a:pt x="54273" y="31458"/>
                        </a:cubicBezTo>
                        <a:cubicBezTo>
                          <a:pt x="56560" y="29382"/>
                          <a:pt x="76151" y="37331"/>
                          <a:pt x="74672" y="31495"/>
                        </a:cubicBezTo>
                        <a:close/>
                      </a:path>
                    </a:pathLst>
                  </a:custGeom>
                  <a:grpFill/>
                  <a:ln w="2826" cap="flat">
                    <a:noFill/>
                    <a:prstDash val="solid"/>
                    <a:miter/>
                  </a:ln>
                </p:spPr>
                <p:txBody>
                  <a:bodyPr rtlCol="0" anchor="ctr"/>
                  <a:lstStyle/>
                  <a:p>
                    <a:endParaRPr lang="fr-CA"/>
                  </a:p>
                </p:txBody>
              </p:sp>
              <p:sp>
                <p:nvSpPr>
                  <p:cNvPr id="1056" name="Forme libre : forme 1055">
                    <a:extLst>
                      <a:ext uri="{FF2B5EF4-FFF2-40B4-BE49-F238E27FC236}">
                        <a16:creationId xmlns:a16="http://schemas.microsoft.com/office/drawing/2014/main" id="{C3A57C76-217A-A2B5-23FE-209FA5227C69}"/>
                      </a:ext>
                    </a:extLst>
                  </p:cNvPr>
                  <p:cNvSpPr/>
                  <p:nvPr/>
                </p:nvSpPr>
                <p:spPr>
                  <a:xfrm>
                    <a:off x="9252901" y="4572260"/>
                    <a:ext cx="92973" cy="33700"/>
                  </a:xfrm>
                  <a:custGeom>
                    <a:avLst/>
                    <a:gdLst>
                      <a:gd name="connsiteX0" fmla="*/ 91626 w 92973"/>
                      <a:gd name="connsiteY0" fmla="*/ 17057 h 33700"/>
                      <a:gd name="connsiteX1" fmla="*/ 63775 w 92973"/>
                      <a:gd name="connsiteY1" fmla="*/ 11529 h 33700"/>
                      <a:gd name="connsiteX2" fmla="*/ 22129 w 92973"/>
                      <a:gd name="connsiteY2" fmla="*/ 2852 h 33700"/>
                      <a:gd name="connsiteX3" fmla="*/ 4478 w 92973"/>
                      <a:gd name="connsiteY3" fmla="*/ 490 h 33700"/>
                      <a:gd name="connsiteX4" fmla="*/ 2299 w 92973"/>
                      <a:gd name="connsiteY4" fmla="*/ 14227 h 33700"/>
                      <a:gd name="connsiteX5" fmla="*/ 13147 w 92973"/>
                      <a:gd name="connsiteY5" fmla="*/ 17962 h 33700"/>
                      <a:gd name="connsiteX6" fmla="*/ 56725 w 92973"/>
                      <a:gd name="connsiteY6" fmla="*/ 29892 h 33700"/>
                      <a:gd name="connsiteX7" fmla="*/ 83511 w 92973"/>
                      <a:gd name="connsiteY7" fmla="*/ 33541 h 33700"/>
                      <a:gd name="connsiteX8" fmla="*/ 92677 w 92973"/>
                      <a:gd name="connsiteY8" fmla="*/ 19787 h 33700"/>
                      <a:gd name="connsiteX9" fmla="*/ 91626 w 92973"/>
                      <a:gd name="connsiteY9" fmla="*/ 17057 h 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73" h="33700">
                        <a:moveTo>
                          <a:pt x="91626" y="17057"/>
                        </a:moveTo>
                        <a:cubicBezTo>
                          <a:pt x="85313" y="15435"/>
                          <a:pt x="64183" y="11586"/>
                          <a:pt x="63775" y="11529"/>
                        </a:cubicBezTo>
                        <a:cubicBezTo>
                          <a:pt x="49624" y="9547"/>
                          <a:pt x="36258" y="5124"/>
                          <a:pt x="22129" y="2852"/>
                        </a:cubicBezTo>
                        <a:cubicBezTo>
                          <a:pt x="16353" y="1941"/>
                          <a:pt x="10562" y="-1197"/>
                          <a:pt x="4478" y="490"/>
                        </a:cubicBezTo>
                        <a:cubicBezTo>
                          <a:pt x="-1433" y="2489"/>
                          <a:pt x="-762" y="10019"/>
                          <a:pt x="2299" y="14227"/>
                        </a:cubicBezTo>
                        <a:cubicBezTo>
                          <a:pt x="2913" y="16592"/>
                          <a:pt x="10831" y="16780"/>
                          <a:pt x="13147" y="17962"/>
                        </a:cubicBezTo>
                        <a:cubicBezTo>
                          <a:pt x="19183" y="19772"/>
                          <a:pt x="48933" y="28458"/>
                          <a:pt x="56725" y="29892"/>
                        </a:cubicBezTo>
                        <a:cubicBezTo>
                          <a:pt x="60066" y="30845"/>
                          <a:pt x="81378" y="34503"/>
                          <a:pt x="83511" y="33541"/>
                        </a:cubicBezTo>
                        <a:cubicBezTo>
                          <a:pt x="83511" y="33541"/>
                          <a:pt x="92677" y="19787"/>
                          <a:pt x="92677" y="19787"/>
                        </a:cubicBezTo>
                        <a:cubicBezTo>
                          <a:pt x="93365" y="18807"/>
                          <a:pt x="92794" y="17320"/>
                          <a:pt x="91626" y="17057"/>
                        </a:cubicBezTo>
                        <a:close/>
                      </a:path>
                    </a:pathLst>
                  </a:custGeom>
                  <a:grpFill/>
                  <a:ln w="2826" cap="flat">
                    <a:noFill/>
                    <a:prstDash val="solid"/>
                    <a:miter/>
                  </a:ln>
                </p:spPr>
                <p:txBody>
                  <a:bodyPr rtlCol="0" anchor="ctr"/>
                  <a:lstStyle/>
                  <a:p>
                    <a:endParaRPr lang="fr-CA"/>
                  </a:p>
                </p:txBody>
              </p:sp>
              <p:sp>
                <p:nvSpPr>
                  <p:cNvPr id="1057" name="Forme libre : forme 1056">
                    <a:extLst>
                      <a:ext uri="{FF2B5EF4-FFF2-40B4-BE49-F238E27FC236}">
                        <a16:creationId xmlns:a16="http://schemas.microsoft.com/office/drawing/2014/main" id="{8C2FE003-3A81-715F-E0AD-889BF1AE94E2}"/>
                      </a:ext>
                    </a:extLst>
                  </p:cNvPr>
                  <p:cNvSpPr/>
                  <p:nvPr/>
                </p:nvSpPr>
                <p:spPr>
                  <a:xfrm>
                    <a:off x="9253800" y="4047030"/>
                    <a:ext cx="34716" cy="211841"/>
                  </a:xfrm>
                  <a:custGeom>
                    <a:avLst/>
                    <a:gdLst>
                      <a:gd name="connsiteX0" fmla="*/ 3673 w 34716"/>
                      <a:gd name="connsiteY0" fmla="*/ 16611 h 211841"/>
                      <a:gd name="connsiteX1" fmla="*/ 13921 w 34716"/>
                      <a:gd name="connsiteY1" fmla="*/ 34617 h 211841"/>
                      <a:gd name="connsiteX2" fmla="*/ 18406 w 34716"/>
                      <a:gd name="connsiteY2" fmla="*/ 87618 h 211841"/>
                      <a:gd name="connsiteX3" fmla="*/ 23460 w 34716"/>
                      <a:gd name="connsiteY3" fmla="*/ 192178 h 211841"/>
                      <a:gd name="connsiteX4" fmla="*/ 22903 w 34716"/>
                      <a:gd name="connsiteY4" fmla="*/ 200767 h 211841"/>
                      <a:gd name="connsiteX5" fmla="*/ 21830 w 34716"/>
                      <a:gd name="connsiteY5" fmla="*/ 208260 h 211841"/>
                      <a:gd name="connsiteX6" fmla="*/ 31213 w 34716"/>
                      <a:gd name="connsiteY6" fmla="*/ 211689 h 211841"/>
                      <a:gd name="connsiteX7" fmla="*/ 33642 w 34716"/>
                      <a:gd name="connsiteY7" fmla="*/ 209550 h 211841"/>
                      <a:gd name="connsiteX8" fmla="*/ 32980 w 34716"/>
                      <a:gd name="connsiteY8" fmla="*/ 67996 h 211841"/>
                      <a:gd name="connsiteX9" fmla="*/ 6551 w 34716"/>
                      <a:gd name="connsiteY9" fmla="*/ 73 h 211841"/>
                      <a:gd name="connsiteX10" fmla="*/ 4743 w 34716"/>
                      <a:gd name="connsiteY10" fmla="*/ 561 h 211841"/>
                      <a:gd name="connsiteX11" fmla="*/ 3673 w 34716"/>
                      <a:gd name="connsiteY11" fmla="*/ 16611 h 21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716" h="211841">
                        <a:moveTo>
                          <a:pt x="3673" y="16611"/>
                        </a:moveTo>
                        <a:cubicBezTo>
                          <a:pt x="9109" y="19315"/>
                          <a:pt x="12938" y="26043"/>
                          <a:pt x="13921" y="34617"/>
                        </a:cubicBezTo>
                        <a:cubicBezTo>
                          <a:pt x="15991" y="52323"/>
                          <a:pt x="17084" y="70026"/>
                          <a:pt x="18406" y="87618"/>
                        </a:cubicBezTo>
                        <a:cubicBezTo>
                          <a:pt x="20548" y="128458"/>
                          <a:pt x="23497" y="154425"/>
                          <a:pt x="23460" y="192178"/>
                        </a:cubicBezTo>
                        <a:cubicBezTo>
                          <a:pt x="23452" y="192307"/>
                          <a:pt x="23300" y="200721"/>
                          <a:pt x="22903" y="200767"/>
                        </a:cubicBezTo>
                        <a:cubicBezTo>
                          <a:pt x="21407" y="200887"/>
                          <a:pt x="19771" y="207440"/>
                          <a:pt x="21830" y="208260"/>
                        </a:cubicBezTo>
                        <a:cubicBezTo>
                          <a:pt x="24942" y="209182"/>
                          <a:pt x="28097" y="210335"/>
                          <a:pt x="31213" y="211689"/>
                        </a:cubicBezTo>
                        <a:cubicBezTo>
                          <a:pt x="32532" y="212303"/>
                          <a:pt x="34102" y="210958"/>
                          <a:pt x="33642" y="209550"/>
                        </a:cubicBezTo>
                        <a:cubicBezTo>
                          <a:pt x="33026" y="166060"/>
                          <a:pt x="36806" y="114367"/>
                          <a:pt x="32980" y="67996"/>
                        </a:cubicBezTo>
                        <a:cubicBezTo>
                          <a:pt x="31115" y="44894"/>
                          <a:pt x="34479" y="9410"/>
                          <a:pt x="6551" y="73"/>
                        </a:cubicBezTo>
                        <a:cubicBezTo>
                          <a:pt x="5906" y="-118"/>
                          <a:pt x="5206" y="73"/>
                          <a:pt x="4743" y="561"/>
                        </a:cubicBezTo>
                        <a:cubicBezTo>
                          <a:pt x="640" y="4622"/>
                          <a:pt x="-2966" y="10644"/>
                          <a:pt x="3673" y="16611"/>
                        </a:cubicBezTo>
                        <a:close/>
                      </a:path>
                    </a:pathLst>
                  </a:custGeom>
                  <a:grpFill/>
                  <a:ln w="2826" cap="flat">
                    <a:noFill/>
                    <a:prstDash val="solid"/>
                    <a:miter/>
                  </a:ln>
                </p:spPr>
                <p:txBody>
                  <a:bodyPr rtlCol="0" anchor="ctr"/>
                  <a:lstStyle/>
                  <a:p>
                    <a:endParaRPr lang="fr-CA"/>
                  </a:p>
                </p:txBody>
              </p:sp>
              <p:sp>
                <p:nvSpPr>
                  <p:cNvPr id="1058" name="Forme libre : forme 1057">
                    <a:extLst>
                      <a:ext uri="{FF2B5EF4-FFF2-40B4-BE49-F238E27FC236}">
                        <a16:creationId xmlns:a16="http://schemas.microsoft.com/office/drawing/2014/main" id="{A2D76875-628E-FC3F-162F-1A272369D801}"/>
                      </a:ext>
                    </a:extLst>
                  </p:cNvPr>
                  <p:cNvSpPr/>
                  <p:nvPr/>
                </p:nvSpPr>
                <p:spPr>
                  <a:xfrm>
                    <a:off x="9260367" y="4438513"/>
                    <a:ext cx="13525" cy="21450"/>
                  </a:xfrm>
                  <a:custGeom>
                    <a:avLst/>
                    <a:gdLst>
                      <a:gd name="connsiteX0" fmla="*/ 3182 w 13525"/>
                      <a:gd name="connsiteY0" fmla="*/ 20769 h 21450"/>
                      <a:gd name="connsiteX1" fmla="*/ 4724 w 13525"/>
                      <a:gd name="connsiteY1" fmla="*/ 21445 h 21450"/>
                      <a:gd name="connsiteX2" fmla="*/ 11831 w 13525"/>
                      <a:gd name="connsiteY2" fmla="*/ 6089 h 21450"/>
                      <a:gd name="connsiteX3" fmla="*/ 158 w 13525"/>
                      <a:gd name="connsiteY3" fmla="*/ 1270 h 21450"/>
                      <a:gd name="connsiteX4" fmla="*/ 1692 w 13525"/>
                      <a:gd name="connsiteY4" fmla="*/ 5938 h 21450"/>
                      <a:gd name="connsiteX5" fmla="*/ 2885 w 13525"/>
                      <a:gd name="connsiteY5" fmla="*/ 19113 h 21450"/>
                      <a:gd name="connsiteX6" fmla="*/ 3182 w 13525"/>
                      <a:gd name="connsiteY6" fmla="*/ 20769 h 2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21450">
                        <a:moveTo>
                          <a:pt x="3182" y="20769"/>
                        </a:moveTo>
                        <a:cubicBezTo>
                          <a:pt x="3551" y="21237"/>
                          <a:pt x="4133" y="21491"/>
                          <a:pt x="4724" y="21445"/>
                        </a:cubicBezTo>
                        <a:cubicBezTo>
                          <a:pt x="13496" y="20752"/>
                          <a:pt x="15389" y="14127"/>
                          <a:pt x="11831" y="6089"/>
                        </a:cubicBezTo>
                        <a:cubicBezTo>
                          <a:pt x="10246" y="-852"/>
                          <a:pt x="2086" y="-915"/>
                          <a:pt x="158" y="1270"/>
                        </a:cubicBezTo>
                        <a:cubicBezTo>
                          <a:pt x="-547" y="2869"/>
                          <a:pt x="1309" y="4587"/>
                          <a:pt x="1692" y="5938"/>
                        </a:cubicBezTo>
                        <a:cubicBezTo>
                          <a:pt x="3902" y="10595"/>
                          <a:pt x="4282" y="14781"/>
                          <a:pt x="2885" y="19113"/>
                        </a:cubicBezTo>
                        <a:cubicBezTo>
                          <a:pt x="2700" y="19681"/>
                          <a:pt x="2811" y="20300"/>
                          <a:pt x="3182" y="20769"/>
                        </a:cubicBezTo>
                        <a:close/>
                      </a:path>
                    </a:pathLst>
                  </a:custGeom>
                  <a:grpFill/>
                  <a:ln w="2826" cap="flat">
                    <a:noFill/>
                    <a:prstDash val="solid"/>
                    <a:miter/>
                  </a:ln>
                </p:spPr>
                <p:txBody>
                  <a:bodyPr rtlCol="0" anchor="ctr"/>
                  <a:lstStyle/>
                  <a:p>
                    <a:endParaRPr lang="fr-CA"/>
                  </a:p>
                </p:txBody>
              </p:sp>
              <p:sp>
                <p:nvSpPr>
                  <p:cNvPr id="1059" name="Forme libre : forme 1058">
                    <a:extLst>
                      <a:ext uri="{FF2B5EF4-FFF2-40B4-BE49-F238E27FC236}">
                        <a16:creationId xmlns:a16="http://schemas.microsoft.com/office/drawing/2014/main" id="{1553653C-E766-144A-2D9C-3E67795E47E4}"/>
                      </a:ext>
                    </a:extLst>
                  </p:cNvPr>
                  <p:cNvSpPr/>
                  <p:nvPr/>
                </p:nvSpPr>
                <p:spPr>
                  <a:xfrm>
                    <a:off x="9244017" y="4441987"/>
                    <a:ext cx="10938" cy="19412"/>
                  </a:xfrm>
                  <a:custGeom>
                    <a:avLst/>
                    <a:gdLst>
                      <a:gd name="connsiteX0" fmla="*/ 10904 w 10938"/>
                      <a:gd name="connsiteY0" fmla="*/ 8463 h 19412"/>
                      <a:gd name="connsiteX1" fmla="*/ 3197 w 10938"/>
                      <a:gd name="connsiteY1" fmla="*/ 5 h 19412"/>
                      <a:gd name="connsiteX2" fmla="*/ 22 w 10938"/>
                      <a:gd name="connsiteY2" fmla="*/ 9628 h 19412"/>
                      <a:gd name="connsiteX3" fmla="*/ 8220 w 10938"/>
                      <a:gd name="connsiteY3" fmla="*/ 19002 h 19412"/>
                      <a:gd name="connsiteX4" fmla="*/ 10904 w 10938"/>
                      <a:gd name="connsiteY4" fmla="*/ 8463 h 1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8" h="19412">
                        <a:moveTo>
                          <a:pt x="10904" y="8463"/>
                        </a:moveTo>
                        <a:cubicBezTo>
                          <a:pt x="10752" y="3143"/>
                          <a:pt x="8357" y="-152"/>
                          <a:pt x="3197" y="5"/>
                        </a:cubicBezTo>
                        <a:cubicBezTo>
                          <a:pt x="76" y="936"/>
                          <a:pt x="-84" y="6984"/>
                          <a:pt x="22" y="9628"/>
                        </a:cubicBezTo>
                        <a:cubicBezTo>
                          <a:pt x="267" y="13446"/>
                          <a:pt x="3263" y="21289"/>
                          <a:pt x="8220" y="19002"/>
                        </a:cubicBezTo>
                        <a:cubicBezTo>
                          <a:pt x="11309" y="17040"/>
                          <a:pt x="10946" y="9217"/>
                          <a:pt x="10904" y="8463"/>
                        </a:cubicBezTo>
                        <a:close/>
                      </a:path>
                    </a:pathLst>
                  </a:custGeom>
                  <a:grpFill/>
                  <a:ln w="2826" cap="flat">
                    <a:noFill/>
                    <a:prstDash val="solid"/>
                    <a:miter/>
                  </a:ln>
                </p:spPr>
                <p:txBody>
                  <a:bodyPr rtlCol="0" anchor="ctr"/>
                  <a:lstStyle/>
                  <a:p>
                    <a:endParaRPr lang="fr-CA"/>
                  </a:p>
                </p:txBody>
              </p:sp>
            </p:grpSp>
            <p:grpSp>
              <p:nvGrpSpPr>
                <p:cNvPr id="1060" name="Graphique 35" descr="Garçon dans un fauteuil roulant">
                  <a:extLst>
                    <a:ext uri="{FF2B5EF4-FFF2-40B4-BE49-F238E27FC236}">
                      <a16:creationId xmlns:a16="http://schemas.microsoft.com/office/drawing/2014/main" id="{AA66C4F1-AF58-B7FA-CCF2-10D02174B0FE}"/>
                    </a:ext>
                  </a:extLst>
                </p:cNvPr>
                <p:cNvGrpSpPr/>
                <p:nvPr/>
              </p:nvGrpSpPr>
              <p:grpSpPr>
                <a:xfrm>
                  <a:off x="9156994" y="4044915"/>
                  <a:ext cx="736590" cy="661795"/>
                  <a:chOff x="9156994" y="4044915"/>
                  <a:chExt cx="736590" cy="661795"/>
                </a:xfrm>
                <a:grpFill/>
              </p:grpSpPr>
              <p:sp>
                <p:nvSpPr>
                  <p:cNvPr id="1061" name="Forme libre : forme 1060">
                    <a:extLst>
                      <a:ext uri="{FF2B5EF4-FFF2-40B4-BE49-F238E27FC236}">
                        <a16:creationId xmlns:a16="http://schemas.microsoft.com/office/drawing/2014/main" id="{DCB50389-4AA5-DF32-7FE8-6705C42112FA}"/>
                      </a:ext>
                    </a:extLst>
                  </p:cNvPr>
                  <p:cNvSpPr/>
                  <p:nvPr/>
                </p:nvSpPr>
                <p:spPr>
                  <a:xfrm>
                    <a:off x="9737875" y="4629270"/>
                    <a:ext cx="155709" cy="31664"/>
                  </a:xfrm>
                  <a:custGeom>
                    <a:avLst/>
                    <a:gdLst>
                      <a:gd name="connsiteX0" fmla="*/ 155710 w 155709"/>
                      <a:gd name="connsiteY0" fmla="*/ 2143 h 31664"/>
                      <a:gd name="connsiteX1" fmla="*/ 120515 w 155709"/>
                      <a:gd name="connsiteY1" fmla="*/ 3000 h 31664"/>
                      <a:gd name="connsiteX2" fmla="*/ 60718 w 155709"/>
                      <a:gd name="connsiteY2" fmla="*/ 9316 h 31664"/>
                      <a:gd name="connsiteX3" fmla="*/ 58674 w 155709"/>
                      <a:gd name="connsiteY3" fmla="*/ 8571 h 31664"/>
                      <a:gd name="connsiteX4" fmla="*/ 21763 w 155709"/>
                      <a:gd name="connsiteY4" fmla="*/ 19681 h 31664"/>
                      <a:gd name="connsiteX5" fmla="*/ 1821 w 155709"/>
                      <a:gd name="connsiteY5" fmla="*/ 25594 h 31664"/>
                      <a:gd name="connsiteX6" fmla="*/ 562 w 155709"/>
                      <a:gd name="connsiteY6" fmla="*/ 27065 h 31664"/>
                      <a:gd name="connsiteX7" fmla="*/ 1689 w 155709"/>
                      <a:gd name="connsiteY7" fmla="*/ 31665 h 31664"/>
                      <a:gd name="connsiteX8" fmla="*/ 155710 w 155709"/>
                      <a:gd name="connsiteY8" fmla="*/ 2143 h 3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09" h="31664">
                        <a:moveTo>
                          <a:pt x="155710" y="2143"/>
                        </a:moveTo>
                        <a:cubicBezTo>
                          <a:pt x="153445" y="-2636"/>
                          <a:pt x="125537" y="1915"/>
                          <a:pt x="120515" y="3000"/>
                        </a:cubicBezTo>
                        <a:cubicBezTo>
                          <a:pt x="100887" y="7586"/>
                          <a:pt x="80586" y="5933"/>
                          <a:pt x="60718" y="9316"/>
                        </a:cubicBezTo>
                        <a:cubicBezTo>
                          <a:pt x="60298" y="8645"/>
                          <a:pt x="59427" y="8322"/>
                          <a:pt x="58674" y="8571"/>
                        </a:cubicBezTo>
                        <a:cubicBezTo>
                          <a:pt x="46421" y="12417"/>
                          <a:pt x="33886" y="16112"/>
                          <a:pt x="21763" y="19681"/>
                        </a:cubicBezTo>
                        <a:cubicBezTo>
                          <a:pt x="15224" y="21608"/>
                          <a:pt x="8462" y="23599"/>
                          <a:pt x="1821" y="25594"/>
                        </a:cubicBezTo>
                        <a:cubicBezTo>
                          <a:pt x="1150" y="25794"/>
                          <a:pt x="659" y="26371"/>
                          <a:pt x="562" y="27065"/>
                        </a:cubicBezTo>
                        <a:cubicBezTo>
                          <a:pt x="222" y="28595"/>
                          <a:pt x="-972" y="31531"/>
                          <a:pt x="1689" y="31665"/>
                        </a:cubicBezTo>
                        <a:cubicBezTo>
                          <a:pt x="55201" y="25697"/>
                          <a:pt x="111777" y="20064"/>
                          <a:pt x="155710" y="2143"/>
                        </a:cubicBezTo>
                        <a:close/>
                      </a:path>
                    </a:pathLst>
                  </a:custGeom>
                  <a:grpFill/>
                  <a:ln w="2826" cap="flat">
                    <a:noFill/>
                    <a:prstDash val="solid"/>
                    <a:miter/>
                  </a:ln>
                </p:spPr>
                <p:txBody>
                  <a:bodyPr rtlCol="0" anchor="ctr"/>
                  <a:lstStyle/>
                  <a:p>
                    <a:endParaRPr lang="fr-CA"/>
                  </a:p>
                </p:txBody>
              </p:sp>
              <p:sp>
                <p:nvSpPr>
                  <p:cNvPr id="1062" name="Forme libre : forme 1061">
                    <a:extLst>
                      <a:ext uri="{FF2B5EF4-FFF2-40B4-BE49-F238E27FC236}">
                        <a16:creationId xmlns:a16="http://schemas.microsoft.com/office/drawing/2014/main" id="{EF91E4C5-3D6F-07D4-C342-3D0375C456F9}"/>
                      </a:ext>
                    </a:extLst>
                  </p:cNvPr>
                  <p:cNvSpPr/>
                  <p:nvPr/>
                </p:nvSpPr>
                <p:spPr>
                  <a:xfrm>
                    <a:off x="9563280" y="4199016"/>
                    <a:ext cx="151163" cy="43779"/>
                  </a:xfrm>
                  <a:custGeom>
                    <a:avLst/>
                    <a:gdLst>
                      <a:gd name="connsiteX0" fmla="*/ 144002 w 151163"/>
                      <a:gd name="connsiteY0" fmla="*/ 23934 h 43779"/>
                      <a:gd name="connsiteX1" fmla="*/ 12 w 151163"/>
                      <a:gd name="connsiteY1" fmla="*/ 820 h 43779"/>
                      <a:gd name="connsiteX2" fmla="*/ 11040 w 151163"/>
                      <a:gd name="connsiteY2" fmla="*/ 27752 h 43779"/>
                      <a:gd name="connsiteX3" fmla="*/ 124069 w 151163"/>
                      <a:gd name="connsiteY3" fmla="*/ 43020 h 43779"/>
                      <a:gd name="connsiteX4" fmla="*/ 145912 w 151163"/>
                      <a:gd name="connsiteY4" fmla="*/ 43020 h 43779"/>
                      <a:gd name="connsiteX5" fmla="*/ 150578 w 151163"/>
                      <a:gd name="connsiteY5" fmla="*/ 37931 h 43779"/>
                      <a:gd name="connsiteX6" fmla="*/ 144002 w 151163"/>
                      <a:gd name="connsiteY6" fmla="*/ 23934 h 4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163" h="43779">
                        <a:moveTo>
                          <a:pt x="144002" y="23934"/>
                        </a:moveTo>
                        <a:cubicBezTo>
                          <a:pt x="121279" y="7376"/>
                          <a:pt x="1012" y="-3091"/>
                          <a:pt x="12" y="820"/>
                        </a:cubicBezTo>
                        <a:cubicBezTo>
                          <a:pt x="-439" y="5083"/>
                          <a:pt x="11579" y="22381"/>
                          <a:pt x="11040" y="27752"/>
                        </a:cubicBezTo>
                        <a:cubicBezTo>
                          <a:pt x="10920" y="28740"/>
                          <a:pt x="123069" y="42994"/>
                          <a:pt x="124069" y="43020"/>
                        </a:cubicBezTo>
                        <a:cubicBezTo>
                          <a:pt x="132515" y="43425"/>
                          <a:pt x="137429" y="44504"/>
                          <a:pt x="145912" y="43020"/>
                        </a:cubicBezTo>
                        <a:cubicBezTo>
                          <a:pt x="147537" y="42734"/>
                          <a:pt x="149099" y="40695"/>
                          <a:pt x="150578" y="37931"/>
                        </a:cubicBezTo>
                        <a:cubicBezTo>
                          <a:pt x="153050" y="33303"/>
                          <a:pt x="147083" y="26815"/>
                          <a:pt x="144002" y="23934"/>
                        </a:cubicBezTo>
                        <a:close/>
                      </a:path>
                    </a:pathLst>
                  </a:custGeom>
                  <a:grpFill/>
                  <a:ln w="2826" cap="flat">
                    <a:noFill/>
                    <a:prstDash val="solid"/>
                    <a:miter/>
                  </a:ln>
                </p:spPr>
                <p:txBody>
                  <a:bodyPr rtlCol="0" anchor="ctr"/>
                  <a:lstStyle/>
                  <a:p>
                    <a:endParaRPr lang="fr-CA"/>
                  </a:p>
                </p:txBody>
              </p:sp>
              <p:sp>
                <p:nvSpPr>
                  <p:cNvPr id="1063" name="Forme libre : forme 1062">
                    <a:extLst>
                      <a:ext uri="{FF2B5EF4-FFF2-40B4-BE49-F238E27FC236}">
                        <a16:creationId xmlns:a16="http://schemas.microsoft.com/office/drawing/2014/main" id="{ADDAC48D-1214-1A91-AEBF-682FA744183B}"/>
                      </a:ext>
                    </a:extLst>
                  </p:cNvPr>
                  <p:cNvSpPr/>
                  <p:nvPr/>
                </p:nvSpPr>
                <p:spPr>
                  <a:xfrm>
                    <a:off x="9612271" y="4613779"/>
                    <a:ext cx="112353" cy="34159"/>
                  </a:xfrm>
                  <a:custGeom>
                    <a:avLst/>
                    <a:gdLst>
                      <a:gd name="connsiteX0" fmla="*/ 111269 w 112353"/>
                      <a:gd name="connsiteY0" fmla="*/ 634 h 34159"/>
                      <a:gd name="connsiteX1" fmla="*/ 106381 w 112353"/>
                      <a:gd name="connsiteY1" fmla="*/ 354 h 34159"/>
                      <a:gd name="connsiteX2" fmla="*/ 104539 w 112353"/>
                      <a:gd name="connsiteY2" fmla="*/ 34 h 34159"/>
                      <a:gd name="connsiteX3" fmla="*/ 65138 w 112353"/>
                      <a:gd name="connsiteY3" fmla="*/ 4229 h 34159"/>
                      <a:gd name="connsiteX4" fmla="*/ 48834 w 112353"/>
                      <a:gd name="connsiteY4" fmla="*/ 5699 h 34159"/>
                      <a:gd name="connsiteX5" fmla="*/ 31242 w 112353"/>
                      <a:gd name="connsiteY5" fmla="*/ 12158 h 34159"/>
                      <a:gd name="connsiteX6" fmla="*/ 18707 w 112353"/>
                      <a:gd name="connsiteY6" fmla="*/ 16064 h 34159"/>
                      <a:gd name="connsiteX7" fmla="*/ 16429 w 112353"/>
                      <a:gd name="connsiteY7" fmla="*/ 24036 h 34159"/>
                      <a:gd name="connsiteX8" fmla="*/ 13368 w 112353"/>
                      <a:gd name="connsiteY8" fmla="*/ 24919 h 34159"/>
                      <a:gd name="connsiteX9" fmla="*/ 148 w 112353"/>
                      <a:gd name="connsiteY9" fmla="*/ 27651 h 34159"/>
                      <a:gd name="connsiteX10" fmla="*/ 1355 w 112353"/>
                      <a:gd name="connsiteY10" fmla="*/ 31934 h 34159"/>
                      <a:gd name="connsiteX11" fmla="*/ 9625 w 112353"/>
                      <a:gd name="connsiteY11" fmla="*/ 34147 h 34159"/>
                      <a:gd name="connsiteX12" fmla="*/ 111269 w 112353"/>
                      <a:gd name="connsiteY12" fmla="*/ 634 h 3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353" h="34159">
                        <a:moveTo>
                          <a:pt x="111269" y="634"/>
                        </a:moveTo>
                        <a:cubicBezTo>
                          <a:pt x="109739" y="-43"/>
                          <a:pt x="107840" y="505"/>
                          <a:pt x="106381" y="354"/>
                        </a:cubicBezTo>
                        <a:cubicBezTo>
                          <a:pt x="105847" y="-40"/>
                          <a:pt x="105173" y="-31"/>
                          <a:pt x="104539" y="34"/>
                        </a:cubicBezTo>
                        <a:cubicBezTo>
                          <a:pt x="91542" y="2250"/>
                          <a:pt x="78161" y="2119"/>
                          <a:pt x="65138" y="4229"/>
                        </a:cubicBezTo>
                        <a:cubicBezTo>
                          <a:pt x="59773" y="4977"/>
                          <a:pt x="54222" y="5742"/>
                          <a:pt x="48834" y="5699"/>
                        </a:cubicBezTo>
                        <a:cubicBezTo>
                          <a:pt x="43355" y="8512"/>
                          <a:pt x="37741" y="10788"/>
                          <a:pt x="31242" y="12158"/>
                        </a:cubicBezTo>
                        <a:cubicBezTo>
                          <a:pt x="27062" y="13220"/>
                          <a:pt x="22742" y="14320"/>
                          <a:pt x="18707" y="16064"/>
                        </a:cubicBezTo>
                        <a:cubicBezTo>
                          <a:pt x="16446" y="17109"/>
                          <a:pt x="18913" y="21829"/>
                          <a:pt x="16429" y="24036"/>
                        </a:cubicBezTo>
                        <a:cubicBezTo>
                          <a:pt x="15698" y="25050"/>
                          <a:pt x="14347" y="24416"/>
                          <a:pt x="13368" y="24919"/>
                        </a:cubicBezTo>
                        <a:cubicBezTo>
                          <a:pt x="10307" y="27309"/>
                          <a:pt x="2463" y="25033"/>
                          <a:pt x="148" y="27651"/>
                        </a:cubicBezTo>
                        <a:cubicBezTo>
                          <a:pt x="-498" y="29179"/>
                          <a:pt x="1170" y="30424"/>
                          <a:pt x="1355" y="31934"/>
                        </a:cubicBezTo>
                        <a:cubicBezTo>
                          <a:pt x="2869" y="34456"/>
                          <a:pt x="7126" y="33816"/>
                          <a:pt x="9625" y="34147"/>
                        </a:cubicBezTo>
                        <a:cubicBezTo>
                          <a:pt x="15409" y="34821"/>
                          <a:pt x="124315" y="6707"/>
                          <a:pt x="111269" y="634"/>
                        </a:cubicBezTo>
                        <a:close/>
                      </a:path>
                    </a:pathLst>
                  </a:custGeom>
                  <a:grpFill/>
                  <a:ln w="2826" cap="flat">
                    <a:noFill/>
                    <a:prstDash val="solid"/>
                    <a:miter/>
                  </a:ln>
                </p:spPr>
                <p:txBody>
                  <a:bodyPr rtlCol="0" anchor="ctr"/>
                  <a:lstStyle/>
                  <a:p>
                    <a:endParaRPr lang="fr-CA"/>
                  </a:p>
                </p:txBody>
              </p:sp>
              <p:sp>
                <p:nvSpPr>
                  <p:cNvPr id="1064" name="Forme libre : forme 1063">
                    <a:extLst>
                      <a:ext uri="{FF2B5EF4-FFF2-40B4-BE49-F238E27FC236}">
                        <a16:creationId xmlns:a16="http://schemas.microsoft.com/office/drawing/2014/main" id="{0D7472B1-F4D7-346B-157C-EC24E9332B24}"/>
                      </a:ext>
                    </a:extLst>
                  </p:cNvPr>
                  <p:cNvSpPr/>
                  <p:nvPr/>
                </p:nvSpPr>
                <p:spPr>
                  <a:xfrm>
                    <a:off x="9378256" y="4605068"/>
                    <a:ext cx="102665" cy="101642"/>
                  </a:xfrm>
                  <a:custGeom>
                    <a:avLst/>
                    <a:gdLst>
                      <a:gd name="connsiteX0" fmla="*/ 81933 w 102665"/>
                      <a:gd name="connsiteY0" fmla="*/ 10381 h 101642"/>
                      <a:gd name="connsiteX1" fmla="*/ 79206 w 102665"/>
                      <a:gd name="connsiteY1" fmla="*/ 11120 h 101642"/>
                      <a:gd name="connsiteX2" fmla="*/ 75300 w 102665"/>
                      <a:gd name="connsiteY2" fmla="*/ 23833 h 101642"/>
                      <a:gd name="connsiteX3" fmla="*/ 81499 w 102665"/>
                      <a:gd name="connsiteY3" fmla="*/ 70934 h 101642"/>
                      <a:gd name="connsiteX4" fmla="*/ 52260 w 102665"/>
                      <a:gd name="connsiteY4" fmla="*/ 87293 h 101642"/>
                      <a:gd name="connsiteX5" fmla="*/ 21525 w 102665"/>
                      <a:gd name="connsiteY5" fmla="*/ 30477 h 101642"/>
                      <a:gd name="connsiteX6" fmla="*/ 53970 w 102665"/>
                      <a:gd name="connsiteY6" fmla="*/ 14890 h 101642"/>
                      <a:gd name="connsiteX7" fmla="*/ 55712 w 102665"/>
                      <a:gd name="connsiteY7" fmla="*/ 13785 h 101642"/>
                      <a:gd name="connsiteX8" fmla="*/ 60126 w 102665"/>
                      <a:gd name="connsiteY8" fmla="*/ 3146 h 101642"/>
                      <a:gd name="connsiteX9" fmla="*/ 58750 w 102665"/>
                      <a:gd name="connsiteY9" fmla="*/ 687 h 101642"/>
                      <a:gd name="connsiteX10" fmla="*/ 2303 w 102665"/>
                      <a:gd name="connsiteY10" fmla="*/ 37164 h 101642"/>
                      <a:gd name="connsiteX11" fmla="*/ 16742 w 102665"/>
                      <a:gd name="connsiteY11" fmla="*/ 88680 h 101642"/>
                      <a:gd name="connsiteX12" fmla="*/ 91235 w 102665"/>
                      <a:gd name="connsiteY12" fmla="*/ 82416 h 101642"/>
                      <a:gd name="connsiteX13" fmla="*/ 81933 w 102665"/>
                      <a:gd name="connsiteY13" fmla="*/ 10381 h 10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665" h="101642">
                        <a:moveTo>
                          <a:pt x="81933" y="10381"/>
                        </a:moveTo>
                        <a:cubicBezTo>
                          <a:pt x="81042" y="9679"/>
                          <a:pt x="79617" y="10061"/>
                          <a:pt x="79206" y="11120"/>
                        </a:cubicBezTo>
                        <a:cubicBezTo>
                          <a:pt x="79049" y="12614"/>
                          <a:pt x="73115" y="22728"/>
                          <a:pt x="75300" y="23833"/>
                        </a:cubicBezTo>
                        <a:cubicBezTo>
                          <a:pt x="89545" y="35494"/>
                          <a:pt x="90610" y="56326"/>
                          <a:pt x="81499" y="70934"/>
                        </a:cubicBezTo>
                        <a:cubicBezTo>
                          <a:pt x="75662" y="80288"/>
                          <a:pt x="65654" y="87090"/>
                          <a:pt x="52260" y="87293"/>
                        </a:cubicBezTo>
                        <a:cubicBezTo>
                          <a:pt x="21902" y="88746"/>
                          <a:pt x="6366" y="54031"/>
                          <a:pt x="21525" y="30477"/>
                        </a:cubicBezTo>
                        <a:cubicBezTo>
                          <a:pt x="28321" y="19727"/>
                          <a:pt x="39839" y="14193"/>
                          <a:pt x="53970" y="14890"/>
                        </a:cubicBezTo>
                        <a:cubicBezTo>
                          <a:pt x="54724" y="14932"/>
                          <a:pt x="55424" y="14484"/>
                          <a:pt x="55712" y="13785"/>
                        </a:cubicBezTo>
                        <a:cubicBezTo>
                          <a:pt x="57340" y="9839"/>
                          <a:pt x="58781" y="6358"/>
                          <a:pt x="60126" y="3146"/>
                        </a:cubicBezTo>
                        <a:cubicBezTo>
                          <a:pt x="60589" y="2120"/>
                          <a:pt x="59867" y="827"/>
                          <a:pt x="58750" y="687"/>
                        </a:cubicBezTo>
                        <a:cubicBezTo>
                          <a:pt x="31284" y="-3836"/>
                          <a:pt x="9278" y="14613"/>
                          <a:pt x="2303" y="37164"/>
                        </a:cubicBezTo>
                        <a:cubicBezTo>
                          <a:pt x="-3122" y="54705"/>
                          <a:pt x="784" y="74652"/>
                          <a:pt x="16742" y="88680"/>
                        </a:cubicBezTo>
                        <a:cubicBezTo>
                          <a:pt x="44813" y="110604"/>
                          <a:pt x="75194" y="102143"/>
                          <a:pt x="91235" y="82416"/>
                        </a:cubicBezTo>
                        <a:cubicBezTo>
                          <a:pt x="106857" y="63199"/>
                          <a:pt x="108881" y="33304"/>
                          <a:pt x="81933" y="10381"/>
                        </a:cubicBezTo>
                        <a:close/>
                      </a:path>
                    </a:pathLst>
                  </a:custGeom>
                  <a:grpFill/>
                  <a:ln w="2826" cap="flat">
                    <a:noFill/>
                    <a:prstDash val="solid"/>
                    <a:miter/>
                  </a:ln>
                </p:spPr>
                <p:txBody>
                  <a:bodyPr rtlCol="0" anchor="ctr"/>
                  <a:lstStyle/>
                  <a:p>
                    <a:endParaRPr lang="fr-CA"/>
                  </a:p>
                </p:txBody>
              </p:sp>
              <p:sp>
                <p:nvSpPr>
                  <p:cNvPr id="1065" name="Forme libre : forme 1064">
                    <a:extLst>
                      <a:ext uri="{FF2B5EF4-FFF2-40B4-BE49-F238E27FC236}">
                        <a16:creationId xmlns:a16="http://schemas.microsoft.com/office/drawing/2014/main" id="{51C69B16-7B28-0756-4B65-D72563A2DD3D}"/>
                      </a:ext>
                    </a:extLst>
                  </p:cNvPr>
                  <p:cNvSpPr/>
                  <p:nvPr/>
                </p:nvSpPr>
                <p:spPr>
                  <a:xfrm>
                    <a:off x="9218398" y="4044915"/>
                    <a:ext cx="35286" cy="15969"/>
                  </a:xfrm>
                  <a:custGeom>
                    <a:avLst/>
                    <a:gdLst>
                      <a:gd name="connsiteX0" fmla="*/ 1761 w 35286"/>
                      <a:gd name="connsiteY0" fmla="*/ 12430 h 15969"/>
                      <a:gd name="connsiteX1" fmla="*/ 7946 w 35286"/>
                      <a:gd name="connsiteY1" fmla="*/ 13935 h 15969"/>
                      <a:gd name="connsiteX2" fmla="*/ 31171 w 35286"/>
                      <a:gd name="connsiteY2" fmla="*/ 15951 h 15969"/>
                      <a:gd name="connsiteX3" fmla="*/ 32782 w 35286"/>
                      <a:gd name="connsiteY3" fmla="*/ 15357 h 15969"/>
                      <a:gd name="connsiteX4" fmla="*/ 33153 w 35286"/>
                      <a:gd name="connsiteY4" fmla="*/ 13684 h 15969"/>
                      <a:gd name="connsiteX5" fmla="*/ 34932 w 35286"/>
                      <a:gd name="connsiteY5" fmla="*/ 3987 h 15969"/>
                      <a:gd name="connsiteX6" fmla="*/ 35140 w 35286"/>
                      <a:gd name="connsiteY6" fmla="*/ 2211 h 15969"/>
                      <a:gd name="connsiteX7" fmla="*/ 33710 w 35286"/>
                      <a:gd name="connsiteY7" fmla="*/ 1140 h 15969"/>
                      <a:gd name="connsiteX8" fmla="*/ 7369 w 35286"/>
                      <a:gd name="connsiteY8" fmla="*/ 238 h 15969"/>
                      <a:gd name="connsiteX9" fmla="*/ 1761 w 35286"/>
                      <a:gd name="connsiteY9" fmla="*/ 12430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86" h="15969">
                        <a:moveTo>
                          <a:pt x="1761" y="12430"/>
                        </a:moveTo>
                        <a:cubicBezTo>
                          <a:pt x="3614" y="14158"/>
                          <a:pt x="5956" y="13898"/>
                          <a:pt x="7946" y="13935"/>
                        </a:cubicBezTo>
                        <a:cubicBezTo>
                          <a:pt x="15347" y="14089"/>
                          <a:pt x="23162" y="14766"/>
                          <a:pt x="31171" y="15951"/>
                        </a:cubicBezTo>
                        <a:cubicBezTo>
                          <a:pt x="31765" y="16039"/>
                          <a:pt x="32382" y="15816"/>
                          <a:pt x="32782" y="15357"/>
                        </a:cubicBezTo>
                        <a:cubicBezTo>
                          <a:pt x="33181" y="14897"/>
                          <a:pt x="33321" y="14266"/>
                          <a:pt x="33153" y="13684"/>
                        </a:cubicBezTo>
                        <a:cubicBezTo>
                          <a:pt x="32156" y="10237"/>
                          <a:pt x="32773" y="6885"/>
                          <a:pt x="34932" y="3987"/>
                        </a:cubicBezTo>
                        <a:cubicBezTo>
                          <a:pt x="35314" y="3476"/>
                          <a:pt x="35394" y="2799"/>
                          <a:pt x="35140" y="2211"/>
                        </a:cubicBezTo>
                        <a:cubicBezTo>
                          <a:pt x="34889" y="1625"/>
                          <a:pt x="34343" y="1217"/>
                          <a:pt x="33710" y="1140"/>
                        </a:cubicBezTo>
                        <a:cubicBezTo>
                          <a:pt x="25558" y="252"/>
                          <a:pt x="16732" y="-359"/>
                          <a:pt x="7369" y="238"/>
                        </a:cubicBezTo>
                        <a:cubicBezTo>
                          <a:pt x="4022" y="1140"/>
                          <a:pt x="-3373" y="6931"/>
                          <a:pt x="1761" y="12430"/>
                        </a:cubicBezTo>
                        <a:close/>
                      </a:path>
                    </a:pathLst>
                  </a:custGeom>
                  <a:grpFill/>
                  <a:ln w="2826" cap="flat">
                    <a:noFill/>
                    <a:prstDash val="solid"/>
                    <a:miter/>
                  </a:ln>
                </p:spPr>
                <p:txBody>
                  <a:bodyPr rtlCol="0" anchor="ctr"/>
                  <a:lstStyle/>
                  <a:p>
                    <a:endParaRPr lang="fr-CA"/>
                  </a:p>
                </p:txBody>
              </p:sp>
              <p:sp>
                <p:nvSpPr>
                  <p:cNvPr id="1066" name="Forme libre : forme 1065">
                    <a:extLst>
                      <a:ext uri="{FF2B5EF4-FFF2-40B4-BE49-F238E27FC236}">
                        <a16:creationId xmlns:a16="http://schemas.microsoft.com/office/drawing/2014/main" id="{48CAE2FF-081D-3D75-9E96-8E911EAD3D36}"/>
                      </a:ext>
                    </a:extLst>
                  </p:cNvPr>
                  <p:cNvSpPr/>
                  <p:nvPr/>
                </p:nvSpPr>
                <p:spPr>
                  <a:xfrm>
                    <a:off x="9156994" y="4253261"/>
                    <a:ext cx="231515" cy="394784"/>
                  </a:xfrm>
                  <a:custGeom>
                    <a:avLst/>
                    <a:gdLst>
                      <a:gd name="connsiteX0" fmla="*/ 230697 w 231515"/>
                      <a:gd name="connsiteY0" fmla="*/ 200832 h 394784"/>
                      <a:gd name="connsiteX1" fmla="*/ 199717 w 231515"/>
                      <a:gd name="connsiteY1" fmla="*/ 83195 h 394784"/>
                      <a:gd name="connsiteX2" fmla="*/ 91565 w 231515"/>
                      <a:gd name="connsiteY2" fmla="*/ 138 h 394784"/>
                      <a:gd name="connsiteX3" fmla="*/ 24872 w 231515"/>
                      <a:gd name="connsiteY3" fmla="*/ 60189 h 394784"/>
                      <a:gd name="connsiteX4" fmla="*/ 5196 w 231515"/>
                      <a:gd name="connsiteY4" fmla="*/ 129845 h 394784"/>
                      <a:gd name="connsiteX5" fmla="*/ 425 w 231515"/>
                      <a:gd name="connsiteY5" fmla="*/ 165355 h 394784"/>
                      <a:gd name="connsiteX6" fmla="*/ 21417 w 231515"/>
                      <a:gd name="connsiteY6" fmla="*/ 297363 h 394784"/>
                      <a:gd name="connsiteX7" fmla="*/ 72311 w 231515"/>
                      <a:gd name="connsiteY7" fmla="*/ 363844 h 394784"/>
                      <a:gd name="connsiteX8" fmla="*/ 74864 w 231515"/>
                      <a:gd name="connsiteY8" fmla="*/ 368124 h 394784"/>
                      <a:gd name="connsiteX9" fmla="*/ 142570 w 231515"/>
                      <a:gd name="connsiteY9" fmla="*/ 394365 h 394784"/>
                      <a:gd name="connsiteX10" fmla="*/ 197238 w 231515"/>
                      <a:gd name="connsiteY10" fmla="*/ 356300 h 394784"/>
                      <a:gd name="connsiteX11" fmla="*/ 230697 w 231515"/>
                      <a:gd name="connsiteY11" fmla="*/ 200832 h 394784"/>
                      <a:gd name="connsiteX12" fmla="*/ 104439 w 231515"/>
                      <a:gd name="connsiteY12" fmla="*/ 372427 h 394784"/>
                      <a:gd name="connsiteX13" fmla="*/ 75175 w 231515"/>
                      <a:gd name="connsiteY13" fmla="*/ 347617 h 394784"/>
                      <a:gd name="connsiteX14" fmla="*/ 56407 w 231515"/>
                      <a:gd name="connsiteY14" fmla="*/ 322807 h 394784"/>
                      <a:gd name="connsiteX15" fmla="*/ 32345 w 231515"/>
                      <a:gd name="connsiteY15" fmla="*/ 69683 h 394784"/>
                      <a:gd name="connsiteX16" fmla="*/ 35731 w 231515"/>
                      <a:gd name="connsiteY16" fmla="*/ 63247 h 394784"/>
                      <a:gd name="connsiteX17" fmla="*/ 49428 w 231515"/>
                      <a:gd name="connsiteY17" fmla="*/ 39377 h 394784"/>
                      <a:gd name="connsiteX18" fmla="*/ 132242 w 231515"/>
                      <a:gd name="connsiteY18" fmla="*/ 26210 h 394784"/>
                      <a:gd name="connsiteX19" fmla="*/ 192198 w 231515"/>
                      <a:gd name="connsiteY19" fmla="*/ 104167 h 394784"/>
                      <a:gd name="connsiteX20" fmla="*/ 209091 w 231515"/>
                      <a:gd name="connsiteY20" fmla="*/ 292912 h 394784"/>
                      <a:gd name="connsiteX21" fmla="*/ 150245 w 231515"/>
                      <a:gd name="connsiteY21" fmla="*/ 374980 h 394784"/>
                      <a:gd name="connsiteX22" fmla="*/ 104439 w 231515"/>
                      <a:gd name="connsiteY22" fmla="*/ 372427 h 39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1515" h="394784">
                        <a:moveTo>
                          <a:pt x="230697" y="200832"/>
                        </a:moveTo>
                        <a:cubicBezTo>
                          <a:pt x="228835" y="166057"/>
                          <a:pt x="218425" y="121499"/>
                          <a:pt x="199717" y="83195"/>
                        </a:cubicBezTo>
                        <a:cubicBezTo>
                          <a:pt x="176397" y="35445"/>
                          <a:pt x="140183" y="-2591"/>
                          <a:pt x="91565" y="138"/>
                        </a:cubicBezTo>
                        <a:cubicBezTo>
                          <a:pt x="59782" y="4941"/>
                          <a:pt x="38646" y="29751"/>
                          <a:pt x="24872" y="60189"/>
                        </a:cubicBezTo>
                        <a:cubicBezTo>
                          <a:pt x="24096" y="61908"/>
                          <a:pt x="7966" y="99933"/>
                          <a:pt x="5196" y="129845"/>
                        </a:cubicBezTo>
                        <a:cubicBezTo>
                          <a:pt x="2715" y="141190"/>
                          <a:pt x="1064" y="153117"/>
                          <a:pt x="425" y="165355"/>
                        </a:cubicBezTo>
                        <a:cubicBezTo>
                          <a:pt x="-1817" y="208151"/>
                          <a:pt x="4762" y="258862"/>
                          <a:pt x="21417" y="297363"/>
                        </a:cubicBezTo>
                        <a:cubicBezTo>
                          <a:pt x="31477" y="320611"/>
                          <a:pt x="51958" y="347455"/>
                          <a:pt x="72311" y="363844"/>
                        </a:cubicBezTo>
                        <a:cubicBezTo>
                          <a:pt x="71811" y="364550"/>
                          <a:pt x="74058" y="367476"/>
                          <a:pt x="74864" y="368124"/>
                        </a:cubicBezTo>
                        <a:cubicBezTo>
                          <a:pt x="97427" y="387738"/>
                          <a:pt x="118693" y="396921"/>
                          <a:pt x="142570" y="394365"/>
                        </a:cubicBezTo>
                        <a:cubicBezTo>
                          <a:pt x="165969" y="389625"/>
                          <a:pt x="183858" y="375514"/>
                          <a:pt x="197238" y="356300"/>
                        </a:cubicBezTo>
                        <a:cubicBezTo>
                          <a:pt x="226671" y="314027"/>
                          <a:pt x="234272" y="247060"/>
                          <a:pt x="230697" y="200832"/>
                        </a:cubicBezTo>
                        <a:close/>
                        <a:moveTo>
                          <a:pt x="104439" y="372427"/>
                        </a:moveTo>
                        <a:cubicBezTo>
                          <a:pt x="92267" y="364338"/>
                          <a:pt x="81471" y="354459"/>
                          <a:pt x="75175" y="347617"/>
                        </a:cubicBezTo>
                        <a:cubicBezTo>
                          <a:pt x="68042" y="339868"/>
                          <a:pt x="61144" y="330491"/>
                          <a:pt x="56407" y="322807"/>
                        </a:cubicBezTo>
                        <a:cubicBezTo>
                          <a:pt x="11886" y="250561"/>
                          <a:pt x="-1234" y="155926"/>
                          <a:pt x="32345" y="69683"/>
                        </a:cubicBezTo>
                        <a:cubicBezTo>
                          <a:pt x="33958" y="66445"/>
                          <a:pt x="35271" y="63887"/>
                          <a:pt x="35731" y="63247"/>
                        </a:cubicBezTo>
                        <a:cubicBezTo>
                          <a:pt x="41493" y="55207"/>
                          <a:pt x="42053" y="46007"/>
                          <a:pt x="49428" y="39377"/>
                        </a:cubicBezTo>
                        <a:cubicBezTo>
                          <a:pt x="72811" y="18353"/>
                          <a:pt x="103057" y="7479"/>
                          <a:pt x="132242" y="26210"/>
                        </a:cubicBezTo>
                        <a:cubicBezTo>
                          <a:pt x="157443" y="40207"/>
                          <a:pt x="177836" y="68924"/>
                          <a:pt x="192198" y="104167"/>
                        </a:cubicBezTo>
                        <a:cubicBezTo>
                          <a:pt x="215589" y="161563"/>
                          <a:pt x="222982" y="236270"/>
                          <a:pt x="209091" y="292912"/>
                        </a:cubicBezTo>
                        <a:cubicBezTo>
                          <a:pt x="199474" y="332127"/>
                          <a:pt x="173464" y="367662"/>
                          <a:pt x="150245" y="374980"/>
                        </a:cubicBezTo>
                        <a:cubicBezTo>
                          <a:pt x="137961" y="378843"/>
                          <a:pt x="122571" y="377835"/>
                          <a:pt x="104439" y="372427"/>
                        </a:cubicBezTo>
                        <a:close/>
                      </a:path>
                    </a:pathLst>
                  </a:custGeom>
                  <a:grpFill/>
                  <a:ln w="2826" cap="flat">
                    <a:noFill/>
                    <a:prstDash val="solid"/>
                    <a:miter/>
                  </a:ln>
                </p:spPr>
                <p:txBody>
                  <a:bodyPr rtlCol="0" anchor="ctr"/>
                  <a:lstStyle/>
                  <a:p>
                    <a:endParaRPr lang="fr-CA"/>
                  </a:p>
                </p:txBody>
              </p:sp>
              <p:sp>
                <p:nvSpPr>
                  <p:cNvPr id="1067" name="Forme libre : forme 1066">
                    <a:extLst>
                      <a:ext uri="{FF2B5EF4-FFF2-40B4-BE49-F238E27FC236}">
                        <a16:creationId xmlns:a16="http://schemas.microsoft.com/office/drawing/2014/main" id="{F191F194-0487-6C66-880E-BBA23A9D58B1}"/>
                      </a:ext>
                    </a:extLst>
                  </p:cNvPr>
                  <p:cNvSpPr/>
                  <p:nvPr/>
                </p:nvSpPr>
                <p:spPr>
                  <a:xfrm>
                    <a:off x="9271862" y="4429877"/>
                    <a:ext cx="22922" cy="35961"/>
                  </a:xfrm>
                  <a:custGeom>
                    <a:avLst/>
                    <a:gdLst>
                      <a:gd name="connsiteX0" fmla="*/ 19555 w 22922"/>
                      <a:gd name="connsiteY0" fmla="*/ 7618 h 35961"/>
                      <a:gd name="connsiteX1" fmla="*/ 8468 w 22922"/>
                      <a:gd name="connsiteY1" fmla="*/ 0 h 35961"/>
                      <a:gd name="connsiteX2" fmla="*/ 510 w 22922"/>
                      <a:gd name="connsiteY2" fmla="*/ 12312 h 35961"/>
                      <a:gd name="connsiteX3" fmla="*/ 1415 w 22922"/>
                      <a:gd name="connsiteY3" fmla="*/ 20045 h 35961"/>
                      <a:gd name="connsiteX4" fmla="*/ 1767 w 22922"/>
                      <a:gd name="connsiteY4" fmla="*/ 26483 h 35961"/>
                      <a:gd name="connsiteX5" fmla="*/ 10481 w 22922"/>
                      <a:gd name="connsiteY5" fmla="*/ 35172 h 35961"/>
                      <a:gd name="connsiteX6" fmla="*/ 11712 w 22922"/>
                      <a:gd name="connsiteY6" fmla="*/ 35837 h 35961"/>
                      <a:gd name="connsiteX7" fmla="*/ 21334 w 22922"/>
                      <a:gd name="connsiteY7" fmla="*/ 30986 h 35961"/>
                      <a:gd name="connsiteX8" fmla="*/ 19555 w 22922"/>
                      <a:gd name="connsiteY8" fmla="*/ 7618 h 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 h="35961">
                        <a:moveTo>
                          <a:pt x="19555" y="7618"/>
                        </a:moveTo>
                        <a:cubicBezTo>
                          <a:pt x="17003" y="3358"/>
                          <a:pt x="13168" y="722"/>
                          <a:pt x="8468" y="0"/>
                        </a:cubicBezTo>
                        <a:cubicBezTo>
                          <a:pt x="4368" y="297"/>
                          <a:pt x="2972" y="10097"/>
                          <a:pt x="510" y="12312"/>
                        </a:cubicBezTo>
                        <a:cubicBezTo>
                          <a:pt x="-1146" y="13417"/>
                          <a:pt x="1792" y="18857"/>
                          <a:pt x="1415" y="20045"/>
                        </a:cubicBezTo>
                        <a:cubicBezTo>
                          <a:pt x="2195" y="22443"/>
                          <a:pt x="490" y="24505"/>
                          <a:pt x="1767" y="26483"/>
                        </a:cubicBezTo>
                        <a:cubicBezTo>
                          <a:pt x="4596" y="29433"/>
                          <a:pt x="7997" y="32080"/>
                          <a:pt x="10481" y="35172"/>
                        </a:cubicBezTo>
                        <a:cubicBezTo>
                          <a:pt x="10784" y="35552"/>
                          <a:pt x="11226" y="35792"/>
                          <a:pt x="11712" y="35837"/>
                        </a:cubicBezTo>
                        <a:cubicBezTo>
                          <a:pt x="15378" y="36166"/>
                          <a:pt x="19613" y="36214"/>
                          <a:pt x="21334" y="30986"/>
                        </a:cubicBezTo>
                        <a:cubicBezTo>
                          <a:pt x="23990" y="23408"/>
                          <a:pt x="23262" y="13806"/>
                          <a:pt x="19555" y="7618"/>
                        </a:cubicBezTo>
                        <a:close/>
                      </a:path>
                    </a:pathLst>
                  </a:custGeom>
                  <a:grpFill/>
                  <a:ln w="2826" cap="flat">
                    <a:noFill/>
                    <a:prstDash val="solid"/>
                    <a:miter/>
                  </a:ln>
                </p:spPr>
                <p:txBody>
                  <a:bodyPr rtlCol="0" anchor="ctr"/>
                  <a:lstStyle/>
                  <a:p>
                    <a:endParaRPr lang="fr-CA"/>
                  </a:p>
                </p:txBody>
              </p:sp>
              <p:sp>
                <p:nvSpPr>
                  <p:cNvPr id="1068" name="Forme libre : forme 1067">
                    <a:extLst>
                      <a:ext uri="{FF2B5EF4-FFF2-40B4-BE49-F238E27FC236}">
                        <a16:creationId xmlns:a16="http://schemas.microsoft.com/office/drawing/2014/main" id="{8C08C0B8-1A42-37F8-6E00-24CFA5BC4A7E}"/>
                      </a:ext>
                    </a:extLst>
                  </p:cNvPr>
                  <p:cNvSpPr/>
                  <p:nvPr/>
                </p:nvSpPr>
                <p:spPr>
                  <a:xfrm>
                    <a:off x="9245388" y="4433424"/>
                    <a:ext cx="19273" cy="36497"/>
                  </a:xfrm>
                  <a:custGeom>
                    <a:avLst/>
                    <a:gdLst>
                      <a:gd name="connsiteX0" fmla="*/ 19178 w 19273"/>
                      <a:gd name="connsiteY0" fmla="*/ 17897 h 36497"/>
                      <a:gd name="connsiteX1" fmla="*/ 6657 w 19273"/>
                      <a:gd name="connsiteY1" fmla="*/ 0 h 36497"/>
                      <a:gd name="connsiteX2" fmla="*/ 2177 w 19273"/>
                      <a:gd name="connsiteY2" fmla="*/ 8757 h 36497"/>
                      <a:gd name="connsiteX3" fmla="*/ 4493 w 19273"/>
                      <a:gd name="connsiteY3" fmla="*/ 28434 h 36497"/>
                      <a:gd name="connsiteX4" fmla="*/ 9164 w 19273"/>
                      <a:gd name="connsiteY4" fmla="*/ 36497 h 36497"/>
                      <a:gd name="connsiteX5" fmla="*/ 19178 w 19273"/>
                      <a:gd name="connsiteY5" fmla="*/ 17897 h 3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3" h="36497">
                        <a:moveTo>
                          <a:pt x="19178" y="17897"/>
                        </a:moveTo>
                        <a:cubicBezTo>
                          <a:pt x="18447" y="12858"/>
                          <a:pt x="13356" y="68"/>
                          <a:pt x="6657" y="0"/>
                        </a:cubicBezTo>
                        <a:cubicBezTo>
                          <a:pt x="2971" y="166"/>
                          <a:pt x="-3357" y="8846"/>
                          <a:pt x="2177" y="8757"/>
                        </a:cubicBezTo>
                        <a:cubicBezTo>
                          <a:pt x="11874" y="5896"/>
                          <a:pt x="13590" y="28359"/>
                          <a:pt x="4493" y="28434"/>
                        </a:cubicBezTo>
                        <a:cubicBezTo>
                          <a:pt x="-339" y="28573"/>
                          <a:pt x="4738" y="36069"/>
                          <a:pt x="9164" y="36497"/>
                        </a:cubicBezTo>
                        <a:cubicBezTo>
                          <a:pt x="15517" y="35792"/>
                          <a:pt x="19994" y="22209"/>
                          <a:pt x="19178" y="17897"/>
                        </a:cubicBezTo>
                        <a:close/>
                      </a:path>
                    </a:pathLst>
                  </a:custGeom>
                  <a:grpFill/>
                  <a:ln w="2826" cap="flat">
                    <a:noFill/>
                    <a:prstDash val="solid"/>
                    <a:miter/>
                  </a:ln>
                </p:spPr>
                <p:txBody>
                  <a:bodyPr rtlCol="0" anchor="ctr"/>
                  <a:lstStyle/>
                  <a:p>
                    <a:endParaRPr lang="fr-CA"/>
                  </a:p>
                </p:txBody>
              </p:sp>
              <p:sp>
                <p:nvSpPr>
                  <p:cNvPr id="1069" name="Forme libre : forme 1068">
                    <a:extLst>
                      <a:ext uri="{FF2B5EF4-FFF2-40B4-BE49-F238E27FC236}">
                        <a16:creationId xmlns:a16="http://schemas.microsoft.com/office/drawing/2014/main" id="{0F600BD4-23DE-DB4B-D8C6-FB2BE0880661}"/>
                      </a:ext>
                    </a:extLst>
                  </p:cNvPr>
                  <p:cNvSpPr/>
                  <p:nvPr/>
                </p:nvSpPr>
                <p:spPr>
                  <a:xfrm>
                    <a:off x="9289044" y="4244828"/>
                    <a:ext cx="172667" cy="28029"/>
                  </a:xfrm>
                  <a:custGeom>
                    <a:avLst/>
                    <a:gdLst>
                      <a:gd name="connsiteX0" fmla="*/ 171158 w 172667"/>
                      <a:gd name="connsiteY0" fmla="*/ 12983 h 28029"/>
                      <a:gd name="connsiteX1" fmla="*/ 170633 w 172667"/>
                      <a:gd name="connsiteY1" fmla="*/ 12929 h 28029"/>
                      <a:gd name="connsiteX2" fmla="*/ 170636 w 172667"/>
                      <a:gd name="connsiteY2" fmla="*/ 12900 h 28029"/>
                      <a:gd name="connsiteX3" fmla="*/ 151622 w 172667"/>
                      <a:gd name="connsiteY3" fmla="*/ 9868 h 28029"/>
                      <a:gd name="connsiteX4" fmla="*/ 136731 w 172667"/>
                      <a:gd name="connsiteY4" fmla="*/ 8080 h 28029"/>
                      <a:gd name="connsiteX5" fmla="*/ 123308 w 172667"/>
                      <a:gd name="connsiteY5" fmla="*/ 10068 h 28029"/>
                      <a:gd name="connsiteX6" fmla="*/ 97587 w 172667"/>
                      <a:gd name="connsiteY6" fmla="*/ 12366 h 28029"/>
                      <a:gd name="connsiteX7" fmla="*/ 2987 w 172667"/>
                      <a:gd name="connsiteY7" fmla="*/ 377 h 28029"/>
                      <a:gd name="connsiteX8" fmla="*/ 451 w 172667"/>
                      <a:gd name="connsiteY8" fmla="*/ 7181 h 28029"/>
                      <a:gd name="connsiteX9" fmla="*/ 2207 w 172667"/>
                      <a:gd name="connsiteY9" fmla="*/ 14602 h 28029"/>
                      <a:gd name="connsiteX10" fmla="*/ 105842 w 172667"/>
                      <a:gd name="connsiteY10" fmla="*/ 25889 h 28029"/>
                      <a:gd name="connsiteX11" fmla="*/ 146380 w 172667"/>
                      <a:gd name="connsiteY11" fmla="*/ 16475 h 28029"/>
                      <a:gd name="connsiteX12" fmla="*/ 161407 w 172667"/>
                      <a:gd name="connsiteY12" fmla="*/ 18522 h 28029"/>
                      <a:gd name="connsiteX13" fmla="*/ 170542 w 172667"/>
                      <a:gd name="connsiteY13" fmla="*/ 19747 h 28029"/>
                      <a:gd name="connsiteX14" fmla="*/ 172657 w 172667"/>
                      <a:gd name="connsiteY14" fmla="*/ 17983 h 28029"/>
                      <a:gd name="connsiteX15" fmla="*/ 171158 w 172667"/>
                      <a:gd name="connsiteY15" fmla="*/ 12983 h 2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667" h="28029">
                        <a:moveTo>
                          <a:pt x="171158" y="12983"/>
                        </a:moveTo>
                        <a:cubicBezTo>
                          <a:pt x="170984" y="12954"/>
                          <a:pt x="170819" y="12929"/>
                          <a:pt x="170633" y="12929"/>
                        </a:cubicBezTo>
                        <a:cubicBezTo>
                          <a:pt x="170633" y="12917"/>
                          <a:pt x="170633" y="12909"/>
                          <a:pt x="170636" y="12900"/>
                        </a:cubicBezTo>
                        <a:lnTo>
                          <a:pt x="151622" y="9868"/>
                        </a:lnTo>
                        <a:cubicBezTo>
                          <a:pt x="151613" y="10019"/>
                          <a:pt x="139378" y="8246"/>
                          <a:pt x="136731" y="8080"/>
                        </a:cubicBezTo>
                        <a:cubicBezTo>
                          <a:pt x="132354" y="9277"/>
                          <a:pt x="127960" y="9662"/>
                          <a:pt x="123308" y="10068"/>
                        </a:cubicBezTo>
                        <a:cubicBezTo>
                          <a:pt x="114702" y="10927"/>
                          <a:pt x="106910" y="11424"/>
                          <a:pt x="97587" y="12366"/>
                        </a:cubicBezTo>
                        <a:cubicBezTo>
                          <a:pt x="65391" y="15441"/>
                          <a:pt x="25321" y="19268"/>
                          <a:pt x="2987" y="377"/>
                        </a:cubicBezTo>
                        <a:cubicBezTo>
                          <a:pt x="-1216" y="-1642"/>
                          <a:pt x="152" y="5011"/>
                          <a:pt x="451" y="7181"/>
                        </a:cubicBezTo>
                        <a:cubicBezTo>
                          <a:pt x="1174" y="9379"/>
                          <a:pt x="-519" y="14236"/>
                          <a:pt x="2207" y="14602"/>
                        </a:cubicBezTo>
                        <a:cubicBezTo>
                          <a:pt x="36412" y="22574"/>
                          <a:pt x="71130" y="22977"/>
                          <a:pt x="105842" y="25889"/>
                        </a:cubicBezTo>
                        <a:cubicBezTo>
                          <a:pt x="119454" y="28682"/>
                          <a:pt x="140295" y="31217"/>
                          <a:pt x="146380" y="16475"/>
                        </a:cubicBezTo>
                        <a:cubicBezTo>
                          <a:pt x="151511" y="17280"/>
                          <a:pt x="158732" y="18231"/>
                          <a:pt x="161407" y="18522"/>
                        </a:cubicBezTo>
                        <a:cubicBezTo>
                          <a:pt x="164414" y="18851"/>
                          <a:pt x="167526" y="19188"/>
                          <a:pt x="170542" y="19747"/>
                        </a:cubicBezTo>
                        <a:cubicBezTo>
                          <a:pt x="171601" y="19973"/>
                          <a:pt x="172689" y="19071"/>
                          <a:pt x="172657" y="17983"/>
                        </a:cubicBezTo>
                        <a:cubicBezTo>
                          <a:pt x="172535" y="16549"/>
                          <a:pt x="173197" y="13411"/>
                          <a:pt x="171158" y="12983"/>
                        </a:cubicBezTo>
                        <a:close/>
                      </a:path>
                    </a:pathLst>
                  </a:custGeom>
                  <a:grpFill/>
                  <a:ln w="2826" cap="flat">
                    <a:noFill/>
                    <a:prstDash val="solid"/>
                    <a:miter/>
                  </a:ln>
                </p:spPr>
                <p:txBody>
                  <a:bodyPr rtlCol="0" anchor="ctr"/>
                  <a:lstStyle/>
                  <a:p>
                    <a:endParaRPr lang="fr-CA"/>
                  </a:p>
                </p:txBody>
              </p:sp>
            </p:grpSp>
            <p:grpSp>
              <p:nvGrpSpPr>
                <p:cNvPr id="1070" name="Graphique 35" descr="Garçon dans un fauteuil roulant">
                  <a:extLst>
                    <a:ext uri="{FF2B5EF4-FFF2-40B4-BE49-F238E27FC236}">
                      <a16:creationId xmlns:a16="http://schemas.microsoft.com/office/drawing/2014/main" id="{45A2CAC5-65DE-4546-2BF3-BDF4D8C6C2A5}"/>
                    </a:ext>
                  </a:extLst>
                </p:cNvPr>
                <p:cNvGrpSpPr/>
                <p:nvPr/>
              </p:nvGrpSpPr>
              <p:grpSpPr>
                <a:xfrm>
                  <a:off x="9476564" y="4235455"/>
                  <a:ext cx="283060" cy="335695"/>
                  <a:chOff x="9476564" y="4235455"/>
                  <a:chExt cx="283060" cy="335695"/>
                </a:xfrm>
                <a:grpFill/>
              </p:grpSpPr>
              <p:sp>
                <p:nvSpPr>
                  <p:cNvPr id="1071" name="Forme libre : forme 1070">
                    <a:extLst>
                      <a:ext uri="{FF2B5EF4-FFF2-40B4-BE49-F238E27FC236}">
                        <a16:creationId xmlns:a16="http://schemas.microsoft.com/office/drawing/2014/main" id="{7A34CDAF-116C-C6C6-1C7D-5495967723E3}"/>
                      </a:ext>
                    </a:extLst>
                  </p:cNvPr>
                  <p:cNvSpPr/>
                  <p:nvPr/>
                </p:nvSpPr>
                <p:spPr>
                  <a:xfrm>
                    <a:off x="9476564" y="4235455"/>
                    <a:ext cx="283060" cy="335695"/>
                  </a:xfrm>
                  <a:custGeom>
                    <a:avLst/>
                    <a:gdLst>
                      <a:gd name="connsiteX0" fmla="*/ 280186 w 283060"/>
                      <a:gd name="connsiteY0" fmla="*/ 129361 h 335695"/>
                      <a:gd name="connsiteX1" fmla="*/ 217592 w 283060"/>
                      <a:gd name="connsiteY1" fmla="*/ 27439 h 335695"/>
                      <a:gd name="connsiteX2" fmla="*/ 102632 w 283060"/>
                      <a:gd name="connsiteY2" fmla="*/ 5 h 335695"/>
                      <a:gd name="connsiteX3" fmla="*/ 54494 w 283060"/>
                      <a:gd name="connsiteY3" fmla="*/ 6792 h 335695"/>
                      <a:gd name="connsiteX4" fmla="*/ 52532 w 283060"/>
                      <a:gd name="connsiteY4" fmla="*/ 9179 h 335695"/>
                      <a:gd name="connsiteX5" fmla="*/ 53249 w 283060"/>
                      <a:gd name="connsiteY5" fmla="*/ 13950 h 335695"/>
                      <a:gd name="connsiteX6" fmla="*/ 46331 w 283060"/>
                      <a:gd name="connsiteY6" fmla="*/ 17051 h 335695"/>
                      <a:gd name="connsiteX7" fmla="*/ 39252 w 283060"/>
                      <a:gd name="connsiteY7" fmla="*/ 18402 h 335695"/>
                      <a:gd name="connsiteX8" fmla="*/ 34401 w 283060"/>
                      <a:gd name="connsiteY8" fmla="*/ 15381 h 335695"/>
                      <a:gd name="connsiteX9" fmla="*/ 33684 w 283060"/>
                      <a:gd name="connsiteY9" fmla="*/ 28501 h 335695"/>
                      <a:gd name="connsiteX10" fmla="*/ 14519 w 283060"/>
                      <a:gd name="connsiteY10" fmla="*/ 14904 h 335695"/>
                      <a:gd name="connsiteX11" fmla="*/ 442 w 283060"/>
                      <a:gd name="connsiteY11" fmla="*/ 14904 h 335695"/>
                      <a:gd name="connsiteX12" fmla="*/ 2464 w 283060"/>
                      <a:gd name="connsiteY12" fmla="*/ 124347 h 335695"/>
                      <a:gd name="connsiteX13" fmla="*/ 4314 w 283060"/>
                      <a:gd name="connsiteY13" fmla="*/ 126074 h 335695"/>
                      <a:gd name="connsiteX14" fmla="*/ 18451 w 283060"/>
                      <a:gd name="connsiteY14" fmla="*/ 131733 h 335695"/>
                      <a:gd name="connsiteX15" fmla="*/ 22748 w 283060"/>
                      <a:gd name="connsiteY15" fmla="*/ 164416 h 335695"/>
                      <a:gd name="connsiteX16" fmla="*/ 23988 w 283060"/>
                      <a:gd name="connsiteY16" fmla="*/ 166346 h 335695"/>
                      <a:gd name="connsiteX17" fmla="*/ 54314 w 283060"/>
                      <a:gd name="connsiteY17" fmla="*/ 205633 h 335695"/>
                      <a:gd name="connsiteX18" fmla="*/ 76497 w 283060"/>
                      <a:gd name="connsiteY18" fmla="*/ 312163 h 335695"/>
                      <a:gd name="connsiteX19" fmla="*/ 78153 w 283060"/>
                      <a:gd name="connsiteY19" fmla="*/ 324418 h 335695"/>
                      <a:gd name="connsiteX20" fmla="*/ 87253 w 283060"/>
                      <a:gd name="connsiteY20" fmla="*/ 326371 h 335695"/>
                      <a:gd name="connsiteX21" fmla="*/ 112372 w 283060"/>
                      <a:gd name="connsiteY21" fmla="*/ 316446 h 335695"/>
                      <a:gd name="connsiteX22" fmla="*/ 110759 w 283060"/>
                      <a:gd name="connsiteY22" fmla="*/ 300193 h 335695"/>
                      <a:gd name="connsiteX23" fmla="*/ 116801 w 283060"/>
                      <a:gd name="connsiteY23" fmla="*/ 277353 h 335695"/>
                      <a:gd name="connsiteX24" fmla="*/ 111675 w 283060"/>
                      <a:gd name="connsiteY24" fmla="*/ 223359 h 335695"/>
                      <a:gd name="connsiteX25" fmla="*/ 109314 w 283060"/>
                      <a:gd name="connsiteY25" fmla="*/ 99913 h 335695"/>
                      <a:gd name="connsiteX26" fmla="*/ 113917 w 283060"/>
                      <a:gd name="connsiteY26" fmla="*/ 98197 h 335695"/>
                      <a:gd name="connsiteX27" fmla="*/ 158412 w 283060"/>
                      <a:gd name="connsiteY27" fmla="*/ 114556 h 335695"/>
                      <a:gd name="connsiteX28" fmla="*/ 194335 w 283060"/>
                      <a:gd name="connsiteY28" fmla="*/ 132082 h 335695"/>
                      <a:gd name="connsiteX29" fmla="*/ 193447 w 283060"/>
                      <a:gd name="connsiteY29" fmla="*/ 277214 h 335695"/>
                      <a:gd name="connsiteX30" fmla="*/ 197102 w 283060"/>
                      <a:gd name="connsiteY30" fmla="*/ 291744 h 335695"/>
                      <a:gd name="connsiteX31" fmla="*/ 200828 w 283060"/>
                      <a:gd name="connsiteY31" fmla="*/ 319770 h 335695"/>
                      <a:gd name="connsiteX32" fmla="*/ 202375 w 283060"/>
                      <a:gd name="connsiteY32" fmla="*/ 331145 h 335695"/>
                      <a:gd name="connsiteX33" fmla="*/ 205068 w 283060"/>
                      <a:gd name="connsiteY33" fmla="*/ 334935 h 335695"/>
                      <a:gd name="connsiteX34" fmla="*/ 246887 w 283060"/>
                      <a:gd name="connsiteY34" fmla="*/ 331360 h 335695"/>
                      <a:gd name="connsiteX35" fmla="*/ 256344 w 283060"/>
                      <a:gd name="connsiteY35" fmla="*/ 327930 h 335695"/>
                      <a:gd name="connsiteX36" fmla="*/ 265656 w 283060"/>
                      <a:gd name="connsiteY36" fmla="*/ 312329 h 335695"/>
                      <a:gd name="connsiteX37" fmla="*/ 267811 w 283060"/>
                      <a:gd name="connsiteY37" fmla="*/ 297529 h 335695"/>
                      <a:gd name="connsiteX38" fmla="*/ 277540 w 283060"/>
                      <a:gd name="connsiteY38" fmla="*/ 275383 h 335695"/>
                      <a:gd name="connsiteX39" fmla="*/ 280186 w 283060"/>
                      <a:gd name="connsiteY39" fmla="*/ 129361 h 33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3060" h="335695">
                        <a:moveTo>
                          <a:pt x="280186" y="129361"/>
                        </a:moveTo>
                        <a:cubicBezTo>
                          <a:pt x="291305" y="78296"/>
                          <a:pt x="270107" y="40285"/>
                          <a:pt x="217592" y="27439"/>
                        </a:cubicBezTo>
                        <a:cubicBezTo>
                          <a:pt x="207150" y="24615"/>
                          <a:pt x="103572" y="-395"/>
                          <a:pt x="102632" y="5"/>
                        </a:cubicBezTo>
                        <a:cubicBezTo>
                          <a:pt x="91182" y="4882"/>
                          <a:pt x="72945" y="14636"/>
                          <a:pt x="54494" y="6792"/>
                        </a:cubicBezTo>
                        <a:cubicBezTo>
                          <a:pt x="54237" y="6683"/>
                          <a:pt x="53235" y="6741"/>
                          <a:pt x="52532" y="9179"/>
                        </a:cubicBezTo>
                        <a:cubicBezTo>
                          <a:pt x="52158" y="10478"/>
                          <a:pt x="53752" y="12211"/>
                          <a:pt x="53249" y="13950"/>
                        </a:cubicBezTo>
                        <a:cubicBezTo>
                          <a:pt x="52847" y="15349"/>
                          <a:pt x="50611" y="18071"/>
                          <a:pt x="46331" y="17051"/>
                        </a:cubicBezTo>
                        <a:cubicBezTo>
                          <a:pt x="45742" y="16911"/>
                          <a:pt x="44900" y="20949"/>
                          <a:pt x="39252" y="18402"/>
                        </a:cubicBezTo>
                        <a:cubicBezTo>
                          <a:pt x="38338" y="17991"/>
                          <a:pt x="34655" y="14610"/>
                          <a:pt x="34401" y="15381"/>
                        </a:cubicBezTo>
                        <a:cubicBezTo>
                          <a:pt x="33296" y="18716"/>
                          <a:pt x="37096" y="28124"/>
                          <a:pt x="33684" y="28501"/>
                        </a:cubicBezTo>
                        <a:cubicBezTo>
                          <a:pt x="30107" y="28898"/>
                          <a:pt x="21503" y="19024"/>
                          <a:pt x="14519" y="14904"/>
                        </a:cubicBezTo>
                        <a:cubicBezTo>
                          <a:pt x="10585" y="12583"/>
                          <a:pt x="4617" y="14724"/>
                          <a:pt x="442" y="14904"/>
                        </a:cubicBezTo>
                        <a:cubicBezTo>
                          <a:pt x="-1162" y="47583"/>
                          <a:pt x="2087" y="96067"/>
                          <a:pt x="2464" y="124347"/>
                        </a:cubicBezTo>
                        <a:cubicBezTo>
                          <a:pt x="2478" y="125306"/>
                          <a:pt x="3352" y="126126"/>
                          <a:pt x="4314" y="126074"/>
                        </a:cubicBezTo>
                        <a:cubicBezTo>
                          <a:pt x="9205" y="125986"/>
                          <a:pt x="6961" y="125489"/>
                          <a:pt x="18451" y="131733"/>
                        </a:cubicBezTo>
                        <a:cubicBezTo>
                          <a:pt x="21997" y="134218"/>
                          <a:pt x="24210" y="152863"/>
                          <a:pt x="22748" y="164416"/>
                        </a:cubicBezTo>
                        <a:cubicBezTo>
                          <a:pt x="22640" y="165275"/>
                          <a:pt x="23162" y="166086"/>
                          <a:pt x="23988" y="166346"/>
                        </a:cubicBezTo>
                        <a:cubicBezTo>
                          <a:pt x="44635" y="172839"/>
                          <a:pt x="52076" y="195987"/>
                          <a:pt x="54314" y="205633"/>
                        </a:cubicBezTo>
                        <a:cubicBezTo>
                          <a:pt x="63029" y="241016"/>
                          <a:pt x="67743" y="277502"/>
                          <a:pt x="76497" y="312163"/>
                        </a:cubicBezTo>
                        <a:cubicBezTo>
                          <a:pt x="76609" y="317083"/>
                          <a:pt x="77231" y="319844"/>
                          <a:pt x="78153" y="324418"/>
                        </a:cubicBezTo>
                        <a:cubicBezTo>
                          <a:pt x="78942" y="327088"/>
                          <a:pt x="85369" y="325983"/>
                          <a:pt x="87253" y="326371"/>
                        </a:cubicBezTo>
                        <a:cubicBezTo>
                          <a:pt x="96422" y="326143"/>
                          <a:pt x="104440" y="323470"/>
                          <a:pt x="112372" y="316446"/>
                        </a:cubicBezTo>
                        <a:cubicBezTo>
                          <a:pt x="113523" y="309045"/>
                          <a:pt x="113049" y="308211"/>
                          <a:pt x="110759" y="300193"/>
                        </a:cubicBezTo>
                        <a:cubicBezTo>
                          <a:pt x="120495" y="292610"/>
                          <a:pt x="122723" y="286668"/>
                          <a:pt x="116801" y="277353"/>
                        </a:cubicBezTo>
                        <a:cubicBezTo>
                          <a:pt x="107538" y="262586"/>
                          <a:pt x="110739" y="240365"/>
                          <a:pt x="111675" y="223359"/>
                        </a:cubicBezTo>
                        <a:cubicBezTo>
                          <a:pt x="114131" y="182901"/>
                          <a:pt x="114271" y="144577"/>
                          <a:pt x="109314" y="99913"/>
                        </a:cubicBezTo>
                        <a:cubicBezTo>
                          <a:pt x="109231" y="99163"/>
                          <a:pt x="110961" y="98155"/>
                          <a:pt x="113917" y="98197"/>
                        </a:cubicBezTo>
                        <a:cubicBezTo>
                          <a:pt x="130038" y="97481"/>
                          <a:pt x="143735" y="106618"/>
                          <a:pt x="158412" y="114556"/>
                        </a:cubicBezTo>
                        <a:cubicBezTo>
                          <a:pt x="168571" y="119361"/>
                          <a:pt x="195131" y="128578"/>
                          <a:pt x="194335" y="132082"/>
                        </a:cubicBezTo>
                        <a:cubicBezTo>
                          <a:pt x="202627" y="181525"/>
                          <a:pt x="197750" y="232362"/>
                          <a:pt x="193447" y="277214"/>
                        </a:cubicBezTo>
                        <a:cubicBezTo>
                          <a:pt x="193749" y="282333"/>
                          <a:pt x="195508" y="287142"/>
                          <a:pt x="197102" y="291744"/>
                        </a:cubicBezTo>
                        <a:cubicBezTo>
                          <a:pt x="198875" y="296787"/>
                          <a:pt x="201370" y="316977"/>
                          <a:pt x="200828" y="319770"/>
                        </a:cubicBezTo>
                        <a:cubicBezTo>
                          <a:pt x="200728" y="323370"/>
                          <a:pt x="200094" y="328373"/>
                          <a:pt x="202375" y="331145"/>
                        </a:cubicBezTo>
                        <a:cubicBezTo>
                          <a:pt x="203475" y="332445"/>
                          <a:pt x="203178" y="334663"/>
                          <a:pt x="205068" y="334935"/>
                        </a:cubicBezTo>
                        <a:cubicBezTo>
                          <a:pt x="219742" y="336853"/>
                          <a:pt x="233396" y="334954"/>
                          <a:pt x="246887" y="331360"/>
                        </a:cubicBezTo>
                        <a:cubicBezTo>
                          <a:pt x="250265" y="329878"/>
                          <a:pt x="253409" y="328142"/>
                          <a:pt x="256344" y="327930"/>
                        </a:cubicBezTo>
                        <a:cubicBezTo>
                          <a:pt x="259405" y="327668"/>
                          <a:pt x="257115" y="315809"/>
                          <a:pt x="265656" y="312329"/>
                        </a:cubicBezTo>
                        <a:cubicBezTo>
                          <a:pt x="267389" y="311735"/>
                          <a:pt x="267346" y="303066"/>
                          <a:pt x="267811" y="297529"/>
                        </a:cubicBezTo>
                        <a:cubicBezTo>
                          <a:pt x="274256" y="293303"/>
                          <a:pt x="285806" y="282702"/>
                          <a:pt x="277540" y="275383"/>
                        </a:cubicBezTo>
                        <a:cubicBezTo>
                          <a:pt x="258746" y="259208"/>
                          <a:pt x="279647" y="156752"/>
                          <a:pt x="280186" y="129361"/>
                        </a:cubicBezTo>
                        <a:close/>
                      </a:path>
                    </a:pathLst>
                  </a:custGeom>
                  <a:grpFill/>
                  <a:ln w="2826" cap="flat">
                    <a:noFill/>
                    <a:prstDash val="solid"/>
                    <a:miter/>
                  </a:ln>
                </p:spPr>
                <p:txBody>
                  <a:bodyPr rtlCol="0" anchor="ctr"/>
                  <a:lstStyle/>
                  <a:p>
                    <a:endParaRPr lang="fr-CA"/>
                  </a:p>
                </p:txBody>
              </p:sp>
              <p:sp>
                <p:nvSpPr>
                  <p:cNvPr id="1072" name="Forme libre : forme 1071">
                    <a:extLst>
                      <a:ext uri="{FF2B5EF4-FFF2-40B4-BE49-F238E27FC236}">
                        <a16:creationId xmlns:a16="http://schemas.microsoft.com/office/drawing/2014/main" id="{7744AA03-B11F-7E22-EA9F-19E4D0FB080A}"/>
                      </a:ext>
                    </a:extLst>
                  </p:cNvPr>
                  <p:cNvSpPr/>
                  <p:nvPr/>
                </p:nvSpPr>
                <p:spPr>
                  <a:xfrm>
                    <a:off x="9501972" y="4424098"/>
                    <a:ext cx="34682" cy="119787"/>
                  </a:xfrm>
                  <a:custGeom>
                    <a:avLst/>
                    <a:gdLst>
                      <a:gd name="connsiteX0" fmla="*/ 28812 w 34682"/>
                      <a:gd name="connsiteY0" fmla="*/ 87888 h 119787"/>
                      <a:gd name="connsiteX1" fmla="*/ 935 w 34682"/>
                      <a:gd name="connsiteY1" fmla="*/ 0 h 119787"/>
                      <a:gd name="connsiteX2" fmla="*/ 1544 w 34682"/>
                      <a:gd name="connsiteY2" fmla="*/ 11379 h 119787"/>
                      <a:gd name="connsiteX3" fmla="*/ 20138 w 34682"/>
                      <a:gd name="connsiteY3" fmla="*/ 77172 h 119787"/>
                      <a:gd name="connsiteX4" fmla="*/ 32002 w 34682"/>
                      <a:gd name="connsiteY4" fmla="*/ 119548 h 119787"/>
                      <a:gd name="connsiteX5" fmla="*/ 33940 w 34682"/>
                      <a:gd name="connsiteY5" fmla="*/ 119448 h 119787"/>
                      <a:gd name="connsiteX6" fmla="*/ 34646 w 34682"/>
                      <a:gd name="connsiteY6" fmla="*/ 117640 h 119787"/>
                      <a:gd name="connsiteX7" fmla="*/ 28812 w 34682"/>
                      <a:gd name="connsiteY7" fmla="*/ 87888 h 11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2" h="119787">
                        <a:moveTo>
                          <a:pt x="28812" y="87888"/>
                        </a:moveTo>
                        <a:cubicBezTo>
                          <a:pt x="23202" y="67061"/>
                          <a:pt x="18856" y="10222"/>
                          <a:pt x="935" y="0"/>
                        </a:cubicBezTo>
                        <a:cubicBezTo>
                          <a:pt x="-1514" y="1082"/>
                          <a:pt x="1632" y="8912"/>
                          <a:pt x="1544" y="11379"/>
                        </a:cubicBezTo>
                        <a:cubicBezTo>
                          <a:pt x="4074" y="34004"/>
                          <a:pt x="12805" y="55791"/>
                          <a:pt x="20138" y="77172"/>
                        </a:cubicBezTo>
                        <a:cubicBezTo>
                          <a:pt x="17117" y="91668"/>
                          <a:pt x="16623" y="111493"/>
                          <a:pt x="32002" y="119548"/>
                        </a:cubicBezTo>
                        <a:cubicBezTo>
                          <a:pt x="32610" y="119899"/>
                          <a:pt x="33369" y="119862"/>
                          <a:pt x="33940" y="119448"/>
                        </a:cubicBezTo>
                        <a:cubicBezTo>
                          <a:pt x="34512" y="119037"/>
                          <a:pt x="34789" y="118329"/>
                          <a:pt x="34646" y="117640"/>
                        </a:cubicBezTo>
                        <a:cubicBezTo>
                          <a:pt x="32627" y="107747"/>
                          <a:pt x="30688" y="97650"/>
                          <a:pt x="28812" y="87888"/>
                        </a:cubicBezTo>
                        <a:close/>
                      </a:path>
                    </a:pathLst>
                  </a:custGeom>
                  <a:grpFill/>
                  <a:ln w="2826" cap="flat">
                    <a:noFill/>
                    <a:prstDash val="solid"/>
                    <a:miter/>
                  </a:ln>
                </p:spPr>
                <p:txBody>
                  <a:bodyPr rtlCol="0" anchor="ctr"/>
                  <a:lstStyle/>
                  <a:p>
                    <a:endParaRPr lang="fr-CA"/>
                  </a:p>
                </p:txBody>
              </p:sp>
            </p:grpSp>
            <p:grpSp>
              <p:nvGrpSpPr>
                <p:cNvPr id="1073" name="Graphique 35" descr="Garçon dans un fauteuil roulant">
                  <a:extLst>
                    <a:ext uri="{FF2B5EF4-FFF2-40B4-BE49-F238E27FC236}">
                      <a16:creationId xmlns:a16="http://schemas.microsoft.com/office/drawing/2014/main" id="{1DD38D2C-F5C3-9238-CA81-32BACDE4099D}"/>
                    </a:ext>
                  </a:extLst>
                </p:cNvPr>
                <p:cNvGrpSpPr/>
                <p:nvPr/>
              </p:nvGrpSpPr>
              <p:grpSpPr>
                <a:xfrm>
                  <a:off x="9153323" y="3985440"/>
                  <a:ext cx="751062" cy="723778"/>
                  <a:chOff x="9153323" y="3985440"/>
                  <a:chExt cx="751062" cy="723778"/>
                </a:xfrm>
                <a:grpFill/>
              </p:grpSpPr>
              <p:sp>
                <p:nvSpPr>
                  <p:cNvPr id="1074" name="Forme libre : forme 1073">
                    <a:extLst>
                      <a:ext uri="{FF2B5EF4-FFF2-40B4-BE49-F238E27FC236}">
                        <a16:creationId xmlns:a16="http://schemas.microsoft.com/office/drawing/2014/main" id="{2DF845E2-A159-D0EB-97EC-FF1E597BF89A}"/>
                      </a:ext>
                    </a:extLst>
                  </p:cNvPr>
                  <p:cNvSpPr/>
                  <p:nvPr/>
                </p:nvSpPr>
                <p:spPr>
                  <a:xfrm>
                    <a:off x="9424163" y="4656144"/>
                    <a:ext cx="6543" cy="6550"/>
                  </a:xfrm>
                  <a:custGeom>
                    <a:avLst/>
                    <a:gdLst>
                      <a:gd name="connsiteX0" fmla="*/ 5570 w 6543"/>
                      <a:gd name="connsiteY0" fmla="*/ 976 h 6550"/>
                      <a:gd name="connsiteX1" fmla="*/ 973 w 6543"/>
                      <a:gd name="connsiteY1" fmla="*/ 5573 h 6550"/>
                      <a:gd name="connsiteX2" fmla="*/ 5570 w 6543"/>
                      <a:gd name="connsiteY2" fmla="*/ 976 h 6550"/>
                    </a:gdLst>
                    <a:ahLst/>
                    <a:cxnLst>
                      <a:cxn ang="0">
                        <a:pos x="connsiteX0" y="connsiteY0"/>
                      </a:cxn>
                      <a:cxn ang="0">
                        <a:pos x="connsiteX1" y="connsiteY1"/>
                      </a:cxn>
                      <a:cxn ang="0">
                        <a:pos x="connsiteX2" y="connsiteY2"/>
                      </a:cxn>
                    </a:cxnLst>
                    <a:rect l="l" t="t" r="r" b="b"/>
                    <a:pathLst>
                      <a:path w="6543" h="6550">
                        <a:moveTo>
                          <a:pt x="5570" y="976"/>
                        </a:moveTo>
                        <a:cubicBezTo>
                          <a:pt x="2609" y="-2039"/>
                          <a:pt x="-2031" y="2626"/>
                          <a:pt x="973" y="5573"/>
                        </a:cubicBezTo>
                        <a:cubicBezTo>
                          <a:pt x="3934" y="8591"/>
                          <a:pt x="8574" y="3923"/>
                          <a:pt x="5570" y="976"/>
                        </a:cubicBezTo>
                        <a:close/>
                      </a:path>
                    </a:pathLst>
                  </a:custGeom>
                  <a:grpFill/>
                  <a:ln w="2826" cap="flat">
                    <a:noFill/>
                    <a:prstDash val="solid"/>
                    <a:miter/>
                  </a:ln>
                </p:spPr>
                <p:txBody>
                  <a:bodyPr rtlCol="0" anchor="ctr"/>
                  <a:lstStyle/>
                  <a:p>
                    <a:endParaRPr lang="fr-CA"/>
                  </a:p>
                </p:txBody>
              </p:sp>
              <p:sp>
                <p:nvSpPr>
                  <p:cNvPr id="1075" name="Forme libre : forme 1074">
                    <a:extLst>
                      <a:ext uri="{FF2B5EF4-FFF2-40B4-BE49-F238E27FC236}">
                        <a16:creationId xmlns:a16="http://schemas.microsoft.com/office/drawing/2014/main" id="{1BB106A5-ECB1-516C-6A33-110512484EB9}"/>
                      </a:ext>
                    </a:extLst>
                  </p:cNvPr>
                  <p:cNvSpPr/>
                  <p:nvPr/>
                </p:nvSpPr>
                <p:spPr>
                  <a:xfrm>
                    <a:off x="9182847" y="4459743"/>
                    <a:ext cx="55575" cy="4132"/>
                  </a:xfrm>
                  <a:custGeom>
                    <a:avLst/>
                    <a:gdLst>
                      <a:gd name="connsiteX0" fmla="*/ 973 w 55575"/>
                      <a:gd name="connsiteY0" fmla="*/ 2782 h 4132"/>
                      <a:gd name="connsiteX1" fmla="*/ 55024 w 55575"/>
                      <a:gd name="connsiteY1" fmla="*/ 2605 h 4132"/>
                      <a:gd name="connsiteX2" fmla="*/ 28270 w 55575"/>
                      <a:gd name="connsiteY2" fmla="*/ 295 h 4132"/>
                      <a:gd name="connsiteX3" fmla="*/ 970 w 55575"/>
                      <a:gd name="connsiteY3" fmla="*/ 769 h 4132"/>
                      <a:gd name="connsiteX4" fmla="*/ 973 w 55575"/>
                      <a:gd name="connsiteY4" fmla="*/ 2782 h 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75" h="4132">
                        <a:moveTo>
                          <a:pt x="973" y="2782"/>
                        </a:moveTo>
                        <a:cubicBezTo>
                          <a:pt x="18887" y="3699"/>
                          <a:pt x="37236" y="5384"/>
                          <a:pt x="55024" y="2605"/>
                        </a:cubicBezTo>
                        <a:cubicBezTo>
                          <a:pt x="59924" y="-1569"/>
                          <a:pt x="30583" y="604"/>
                          <a:pt x="28270" y="295"/>
                        </a:cubicBezTo>
                        <a:cubicBezTo>
                          <a:pt x="19164" y="389"/>
                          <a:pt x="10075" y="532"/>
                          <a:pt x="970" y="769"/>
                        </a:cubicBezTo>
                        <a:cubicBezTo>
                          <a:pt x="-338" y="804"/>
                          <a:pt x="-309" y="2682"/>
                          <a:pt x="973" y="2782"/>
                        </a:cubicBezTo>
                        <a:close/>
                      </a:path>
                    </a:pathLst>
                  </a:custGeom>
                  <a:grpFill/>
                  <a:ln w="2826" cap="flat">
                    <a:noFill/>
                    <a:prstDash val="solid"/>
                    <a:miter/>
                  </a:ln>
                </p:spPr>
                <p:txBody>
                  <a:bodyPr rtlCol="0" anchor="ctr"/>
                  <a:lstStyle/>
                  <a:p>
                    <a:endParaRPr lang="fr-CA"/>
                  </a:p>
                </p:txBody>
              </p:sp>
              <p:sp>
                <p:nvSpPr>
                  <p:cNvPr id="1076" name="Forme libre : forme 1075">
                    <a:extLst>
                      <a:ext uri="{FF2B5EF4-FFF2-40B4-BE49-F238E27FC236}">
                        <a16:creationId xmlns:a16="http://schemas.microsoft.com/office/drawing/2014/main" id="{6C29F539-EC34-3DB2-2EE8-29B672F40B1E}"/>
                      </a:ext>
                    </a:extLst>
                  </p:cNvPr>
                  <p:cNvSpPr/>
                  <p:nvPr/>
                </p:nvSpPr>
                <p:spPr>
                  <a:xfrm>
                    <a:off x="9206205" y="4470289"/>
                    <a:ext cx="38415" cy="52696"/>
                  </a:xfrm>
                  <a:custGeom>
                    <a:avLst/>
                    <a:gdLst>
                      <a:gd name="connsiteX0" fmla="*/ 27186 w 38415"/>
                      <a:gd name="connsiteY0" fmla="*/ 12232 h 52696"/>
                      <a:gd name="connsiteX1" fmla="*/ 8449 w 38415"/>
                      <a:gd name="connsiteY1" fmla="*/ 38130 h 52696"/>
                      <a:gd name="connsiteX2" fmla="*/ 0 w 38415"/>
                      <a:gd name="connsiteY2" fmla="*/ 51274 h 52696"/>
                      <a:gd name="connsiteX3" fmla="*/ 6990 w 38415"/>
                      <a:gd name="connsiteY3" fmla="*/ 46457 h 52696"/>
                      <a:gd name="connsiteX4" fmla="*/ 20707 w 38415"/>
                      <a:gd name="connsiteY4" fmla="*/ 27554 h 52696"/>
                      <a:gd name="connsiteX5" fmla="*/ 38404 w 38415"/>
                      <a:gd name="connsiteY5" fmla="*/ 1505 h 52696"/>
                      <a:gd name="connsiteX6" fmla="*/ 27186 w 38415"/>
                      <a:gd name="connsiteY6" fmla="*/ 12232 h 5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15" h="52696">
                        <a:moveTo>
                          <a:pt x="27186" y="12232"/>
                        </a:moveTo>
                        <a:cubicBezTo>
                          <a:pt x="20895" y="20833"/>
                          <a:pt x="14685" y="29490"/>
                          <a:pt x="8449" y="38130"/>
                        </a:cubicBezTo>
                        <a:cubicBezTo>
                          <a:pt x="5548" y="42422"/>
                          <a:pt x="2039" y="46485"/>
                          <a:pt x="0" y="51274"/>
                        </a:cubicBezTo>
                        <a:cubicBezTo>
                          <a:pt x="451" y="55971"/>
                          <a:pt x="6065" y="47636"/>
                          <a:pt x="6990" y="46457"/>
                        </a:cubicBezTo>
                        <a:cubicBezTo>
                          <a:pt x="11710" y="40266"/>
                          <a:pt x="16124" y="33847"/>
                          <a:pt x="20707" y="27554"/>
                        </a:cubicBezTo>
                        <a:cubicBezTo>
                          <a:pt x="26660" y="18917"/>
                          <a:pt x="33430" y="10762"/>
                          <a:pt x="38404" y="1505"/>
                        </a:cubicBezTo>
                        <a:cubicBezTo>
                          <a:pt x="38816" y="-4900"/>
                          <a:pt x="28119" y="11144"/>
                          <a:pt x="27186" y="12232"/>
                        </a:cubicBezTo>
                        <a:close/>
                      </a:path>
                    </a:pathLst>
                  </a:custGeom>
                  <a:grpFill/>
                  <a:ln w="2826" cap="flat">
                    <a:noFill/>
                    <a:prstDash val="solid"/>
                    <a:miter/>
                  </a:ln>
                </p:spPr>
                <p:txBody>
                  <a:bodyPr rtlCol="0" anchor="ctr"/>
                  <a:lstStyle/>
                  <a:p>
                    <a:endParaRPr lang="fr-CA"/>
                  </a:p>
                </p:txBody>
              </p:sp>
              <p:grpSp>
                <p:nvGrpSpPr>
                  <p:cNvPr id="1077" name="Graphique 35" descr="Garçon dans un fauteuil roulant">
                    <a:extLst>
                      <a:ext uri="{FF2B5EF4-FFF2-40B4-BE49-F238E27FC236}">
                        <a16:creationId xmlns:a16="http://schemas.microsoft.com/office/drawing/2014/main" id="{03A6097B-111E-77DC-31FC-ACD5ECDFCC46}"/>
                      </a:ext>
                    </a:extLst>
                  </p:cNvPr>
                  <p:cNvGrpSpPr/>
                  <p:nvPr/>
                </p:nvGrpSpPr>
                <p:grpSpPr>
                  <a:xfrm>
                    <a:off x="9563545" y="4567975"/>
                    <a:ext cx="42855" cy="31190"/>
                    <a:chOff x="9563545" y="4567975"/>
                    <a:chExt cx="42855" cy="31190"/>
                  </a:xfrm>
                  <a:grpFill/>
                </p:grpSpPr>
                <p:sp>
                  <p:nvSpPr>
                    <p:cNvPr id="1078" name="Forme libre : forme 1077">
                      <a:extLst>
                        <a:ext uri="{FF2B5EF4-FFF2-40B4-BE49-F238E27FC236}">
                          <a16:creationId xmlns:a16="http://schemas.microsoft.com/office/drawing/2014/main" id="{F61A9D18-DADD-CB8F-5007-DFA406240D75}"/>
                        </a:ext>
                      </a:extLst>
                    </p:cNvPr>
                    <p:cNvSpPr/>
                    <p:nvPr/>
                  </p:nvSpPr>
                  <p:spPr>
                    <a:xfrm>
                      <a:off x="9563545" y="4567975"/>
                      <a:ext cx="31054" cy="17572"/>
                    </a:xfrm>
                    <a:custGeom>
                      <a:avLst/>
                      <a:gdLst>
                        <a:gd name="connsiteX0" fmla="*/ 16334 w 31054"/>
                        <a:gd name="connsiteY0" fmla="*/ 7665 h 17572"/>
                        <a:gd name="connsiteX1" fmla="*/ 31053 w 31054"/>
                        <a:gd name="connsiteY1" fmla="*/ 5106 h 17572"/>
                        <a:gd name="connsiteX2" fmla="*/ 25165 w 31054"/>
                        <a:gd name="connsiteY2" fmla="*/ 67 h 17572"/>
                        <a:gd name="connsiteX3" fmla="*/ 147 w 31054"/>
                        <a:gd name="connsiteY3" fmla="*/ 16336 h 17572"/>
                        <a:gd name="connsiteX4" fmla="*/ 3516 w 31054"/>
                        <a:gd name="connsiteY4" fmla="*/ 15880 h 17572"/>
                        <a:gd name="connsiteX5" fmla="*/ 16334 w 31054"/>
                        <a:gd name="connsiteY5" fmla="*/ 7665 h 1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54" h="17572">
                          <a:moveTo>
                            <a:pt x="16334" y="7665"/>
                          </a:moveTo>
                          <a:cubicBezTo>
                            <a:pt x="25856" y="2220"/>
                            <a:pt x="30505" y="8219"/>
                            <a:pt x="31053" y="5106"/>
                          </a:cubicBezTo>
                          <a:cubicBezTo>
                            <a:pt x="31136" y="2040"/>
                            <a:pt x="27869" y="369"/>
                            <a:pt x="25165" y="67"/>
                          </a:cubicBezTo>
                          <a:cubicBezTo>
                            <a:pt x="19811" y="-938"/>
                            <a:pt x="-1989" y="9666"/>
                            <a:pt x="147" y="16336"/>
                          </a:cubicBezTo>
                          <a:cubicBezTo>
                            <a:pt x="429" y="18352"/>
                            <a:pt x="3390" y="17687"/>
                            <a:pt x="3516" y="15880"/>
                          </a:cubicBezTo>
                          <a:cubicBezTo>
                            <a:pt x="3882" y="13087"/>
                            <a:pt x="13653" y="9209"/>
                            <a:pt x="16334" y="7665"/>
                          </a:cubicBezTo>
                          <a:close/>
                        </a:path>
                      </a:pathLst>
                    </a:custGeom>
                    <a:grpFill/>
                    <a:ln w="2826" cap="flat">
                      <a:noFill/>
                      <a:prstDash val="solid"/>
                      <a:miter/>
                    </a:ln>
                  </p:spPr>
                  <p:txBody>
                    <a:bodyPr rtlCol="0" anchor="ctr"/>
                    <a:lstStyle/>
                    <a:p>
                      <a:endParaRPr lang="fr-CA"/>
                    </a:p>
                  </p:txBody>
                </p:sp>
                <p:sp>
                  <p:nvSpPr>
                    <p:cNvPr id="1079" name="Forme libre : forme 1078">
                      <a:extLst>
                        <a:ext uri="{FF2B5EF4-FFF2-40B4-BE49-F238E27FC236}">
                          <a16:creationId xmlns:a16="http://schemas.microsoft.com/office/drawing/2014/main" id="{73A0305E-155D-F3BA-CF67-16710CD26A2B}"/>
                        </a:ext>
                      </a:extLst>
                    </p:cNvPr>
                    <p:cNvSpPr/>
                    <p:nvPr/>
                  </p:nvSpPr>
                  <p:spPr>
                    <a:xfrm>
                      <a:off x="9568091" y="4576542"/>
                      <a:ext cx="32668" cy="17540"/>
                    </a:xfrm>
                    <a:custGeom>
                      <a:avLst/>
                      <a:gdLst>
                        <a:gd name="connsiteX0" fmla="*/ 24911 w 32668"/>
                        <a:gd name="connsiteY0" fmla="*/ 49 h 17540"/>
                        <a:gd name="connsiteX1" fmla="*/ 455 w 32668"/>
                        <a:gd name="connsiteY1" fmla="*/ 14372 h 17540"/>
                        <a:gd name="connsiteX2" fmla="*/ 2668 w 32668"/>
                        <a:gd name="connsiteY2" fmla="*/ 17241 h 17540"/>
                        <a:gd name="connsiteX3" fmla="*/ 16802 w 32668"/>
                        <a:gd name="connsiteY3" fmla="*/ 8107 h 17540"/>
                        <a:gd name="connsiteX4" fmla="*/ 27786 w 32668"/>
                        <a:gd name="connsiteY4" fmla="*/ 4915 h 17540"/>
                        <a:gd name="connsiteX5" fmla="*/ 32503 w 32668"/>
                        <a:gd name="connsiteY5" fmla="*/ 2616 h 17540"/>
                        <a:gd name="connsiteX6" fmla="*/ 24911 w 32668"/>
                        <a:gd name="connsiteY6" fmla="*/ 49 h 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68" h="17540">
                          <a:moveTo>
                            <a:pt x="24911" y="49"/>
                          </a:moveTo>
                          <a:cubicBezTo>
                            <a:pt x="15548" y="1474"/>
                            <a:pt x="6802" y="7545"/>
                            <a:pt x="455" y="14372"/>
                          </a:cubicBezTo>
                          <a:cubicBezTo>
                            <a:pt x="-824" y="15865"/>
                            <a:pt x="812" y="18412"/>
                            <a:pt x="2668" y="17241"/>
                          </a:cubicBezTo>
                          <a:cubicBezTo>
                            <a:pt x="7419" y="14243"/>
                            <a:pt x="11839" y="10786"/>
                            <a:pt x="16802" y="8107"/>
                          </a:cubicBezTo>
                          <a:cubicBezTo>
                            <a:pt x="20174" y="6268"/>
                            <a:pt x="23912" y="4946"/>
                            <a:pt x="27786" y="4915"/>
                          </a:cubicBezTo>
                          <a:cubicBezTo>
                            <a:pt x="29522" y="5089"/>
                            <a:pt x="33528" y="5483"/>
                            <a:pt x="32503" y="2616"/>
                          </a:cubicBezTo>
                          <a:cubicBezTo>
                            <a:pt x="31264" y="186"/>
                            <a:pt x="27327" y="-153"/>
                            <a:pt x="24911" y="49"/>
                          </a:cubicBezTo>
                          <a:close/>
                        </a:path>
                      </a:pathLst>
                    </a:custGeom>
                    <a:grpFill/>
                    <a:ln w="2826" cap="flat">
                      <a:noFill/>
                      <a:prstDash val="solid"/>
                      <a:miter/>
                    </a:ln>
                  </p:spPr>
                  <p:txBody>
                    <a:bodyPr rtlCol="0" anchor="ctr"/>
                    <a:lstStyle/>
                    <a:p>
                      <a:endParaRPr lang="fr-CA"/>
                    </a:p>
                  </p:txBody>
                </p:sp>
                <p:sp>
                  <p:nvSpPr>
                    <p:cNvPr id="1080" name="Forme libre : forme 1079">
                      <a:extLst>
                        <a:ext uri="{FF2B5EF4-FFF2-40B4-BE49-F238E27FC236}">
                          <a16:creationId xmlns:a16="http://schemas.microsoft.com/office/drawing/2014/main" id="{7036E9B0-1522-9984-5188-325DD0A6D85F}"/>
                        </a:ext>
                      </a:extLst>
                    </p:cNvPr>
                    <p:cNvSpPr/>
                    <p:nvPr/>
                  </p:nvSpPr>
                  <p:spPr>
                    <a:xfrm>
                      <a:off x="9574725" y="4583303"/>
                      <a:ext cx="31675" cy="15862"/>
                    </a:xfrm>
                    <a:custGeom>
                      <a:avLst/>
                      <a:gdLst>
                        <a:gd name="connsiteX0" fmla="*/ 9996 w 31675"/>
                        <a:gd name="connsiteY0" fmla="*/ 4755 h 15862"/>
                        <a:gd name="connsiteX1" fmla="*/ 1630 w 31675"/>
                        <a:gd name="connsiteY1" fmla="*/ 15588 h 15862"/>
                        <a:gd name="connsiteX2" fmla="*/ 3437 w 31675"/>
                        <a:gd name="connsiteY2" fmla="*/ 13246 h 15862"/>
                        <a:gd name="connsiteX3" fmla="*/ 9139 w 31675"/>
                        <a:gd name="connsiteY3" fmla="*/ 10094 h 15862"/>
                        <a:gd name="connsiteX4" fmla="*/ 23388 w 31675"/>
                        <a:gd name="connsiteY4" fmla="*/ 5545 h 15862"/>
                        <a:gd name="connsiteX5" fmla="*/ 30811 w 31675"/>
                        <a:gd name="connsiteY5" fmla="*/ 3692 h 15862"/>
                        <a:gd name="connsiteX6" fmla="*/ 30811 w 31675"/>
                        <a:gd name="connsiteY6" fmla="*/ 634 h 15862"/>
                        <a:gd name="connsiteX7" fmla="*/ 9996 w 31675"/>
                        <a:gd name="connsiteY7" fmla="*/ 4755 h 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75" h="15862">
                          <a:moveTo>
                            <a:pt x="9996" y="4755"/>
                          </a:moveTo>
                          <a:cubicBezTo>
                            <a:pt x="5790" y="6242"/>
                            <a:pt x="-3818" y="10225"/>
                            <a:pt x="1630" y="15588"/>
                          </a:cubicBezTo>
                          <a:cubicBezTo>
                            <a:pt x="3009" y="16639"/>
                            <a:pt x="4574" y="14423"/>
                            <a:pt x="3437" y="13246"/>
                          </a:cubicBezTo>
                          <a:cubicBezTo>
                            <a:pt x="2481" y="12256"/>
                            <a:pt x="8537" y="10320"/>
                            <a:pt x="9139" y="10094"/>
                          </a:cubicBezTo>
                          <a:cubicBezTo>
                            <a:pt x="13805" y="8329"/>
                            <a:pt x="18499" y="6588"/>
                            <a:pt x="23388" y="5545"/>
                          </a:cubicBezTo>
                          <a:cubicBezTo>
                            <a:pt x="25829" y="5009"/>
                            <a:pt x="28644" y="5037"/>
                            <a:pt x="30811" y="3692"/>
                          </a:cubicBezTo>
                          <a:cubicBezTo>
                            <a:pt x="31854" y="3044"/>
                            <a:pt x="32068" y="1225"/>
                            <a:pt x="30811" y="634"/>
                          </a:cubicBezTo>
                          <a:cubicBezTo>
                            <a:pt x="24278" y="-1576"/>
                            <a:pt x="16184" y="2524"/>
                            <a:pt x="9996" y="4755"/>
                          </a:cubicBezTo>
                          <a:close/>
                        </a:path>
                      </a:pathLst>
                    </a:custGeom>
                    <a:grpFill/>
                    <a:ln w="2826" cap="flat">
                      <a:noFill/>
                      <a:prstDash val="solid"/>
                      <a:miter/>
                    </a:ln>
                  </p:spPr>
                  <p:txBody>
                    <a:bodyPr rtlCol="0" anchor="ctr"/>
                    <a:lstStyle/>
                    <a:p>
                      <a:endParaRPr lang="fr-CA"/>
                    </a:p>
                  </p:txBody>
                </p:sp>
              </p:grpSp>
              <p:sp>
                <p:nvSpPr>
                  <p:cNvPr id="1081" name="Forme libre : forme 1080">
                    <a:extLst>
                      <a:ext uri="{FF2B5EF4-FFF2-40B4-BE49-F238E27FC236}">
                        <a16:creationId xmlns:a16="http://schemas.microsoft.com/office/drawing/2014/main" id="{0398C78F-14B9-0BFB-9544-8A7426A0594D}"/>
                      </a:ext>
                    </a:extLst>
                  </p:cNvPr>
                  <p:cNvSpPr/>
                  <p:nvPr/>
                </p:nvSpPr>
                <p:spPr>
                  <a:xfrm>
                    <a:off x="9153323" y="3985440"/>
                    <a:ext cx="751062" cy="723778"/>
                  </a:xfrm>
                  <a:custGeom>
                    <a:avLst/>
                    <a:gdLst>
                      <a:gd name="connsiteX0" fmla="*/ 748257 w 751062"/>
                      <a:gd name="connsiteY0" fmla="*/ 625144 h 723778"/>
                      <a:gd name="connsiteX1" fmla="*/ 747120 w 751062"/>
                      <a:gd name="connsiteY1" fmla="*/ 625078 h 723778"/>
                      <a:gd name="connsiteX2" fmla="*/ 744528 w 751062"/>
                      <a:gd name="connsiteY2" fmla="*/ 624544 h 723778"/>
                      <a:gd name="connsiteX3" fmla="*/ 743103 w 751062"/>
                      <a:gd name="connsiteY3" fmla="*/ 624444 h 723778"/>
                      <a:gd name="connsiteX4" fmla="*/ 730288 w 751062"/>
                      <a:gd name="connsiteY4" fmla="*/ 625070 h 723778"/>
                      <a:gd name="connsiteX5" fmla="*/ 723649 w 751062"/>
                      <a:gd name="connsiteY5" fmla="*/ 621843 h 723778"/>
                      <a:gd name="connsiteX6" fmla="*/ 698145 w 751062"/>
                      <a:gd name="connsiteY6" fmla="*/ 623485 h 723778"/>
                      <a:gd name="connsiteX7" fmla="*/ 685850 w 751062"/>
                      <a:gd name="connsiteY7" fmla="*/ 609137 h 723778"/>
                      <a:gd name="connsiteX8" fmla="*/ 637204 w 751062"/>
                      <a:gd name="connsiteY8" fmla="*/ 411350 h 723778"/>
                      <a:gd name="connsiteX9" fmla="*/ 628575 w 751062"/>
                      <a:gd name="connsiteY9" fmla="*/ 388570 h 723778"/>
                      <a:gd name="connsiteX10" fmla="*/ 608918 w 751062"/>
                      <a:gd name="connsiteY10" fmla="*/ 375355 h 723778"/>
                      <a:gd name="connsiteX11" fmla="*/ 596909 w 751062"/>
                      <a:gd name="connsiteY11" fmla="*/ 306844 h 723778"/>
                      <a:gd name="connsiteX12" fmla="*/ 590793 w 751062"/>
                      <a:gd name="connsiteY12" fmla="*/ 298789 h 723778"/>
                      <a:gd name="connsiteX13" fmla="*/ 581616 w 751062"/>
                      <a:gd name="connsiteY13" fmla="*/ 290808 h 723778"/>
                      <a:gd name="connsiteX14" fmla="*/ 579077 w 751062"/>
                      <a:gd name="connsiteY14" fmla="*/ 249394 h 723778"/>
                      <a:gd name="connsiteX15" fmla="*/ 577487 w 751062"/>
                      <a:gd name="connsiteY15" fmla="*/ 247804 h 723778"/>
                      <a:gd name="connsiteX16" fmla="*/ 570702 w 751062"/>
                      <a:gd name="connsiteY16" fmla="*/ 246824 h 723778"/>
                      <a:gd name="connsiteX17" fmla="*/ 563458 w 751062"/>
                      <a:gd name="connsiteY17" fmla="*/ 246545 h 723778"/>
                      <a:gd name="connsiteX18" fmla="*/ 445376 w 751062"/>
                      <a:gd name="connsiteY18" fmla="*/ 212891 h 723778"/>
                      <a:gd name="connsiteX19" fmla="*/ 430285 w 751062"/>
                      <a:gd name="connsiteY19" fmla="*/ 181799 h 723778"/>
                      <a:gd name="connsiteX20" fmla="*/ 419971 w 751062"/>
                      <a:gd name="connsiteY20" fmla="*/ 159057 h 723778"/>
                      <a:gd name="connsiteX21" fmla="*/ 390901 w 751062"/>
                      <a:gd name="connsiteY21" fmla="*/ 100302 h 723778"/>
                      <a:gd name="connsiteX22" fmla="*/ 381727 w 751062"/>
                      <a:gd name="connsiteY22" fmla="*/ 79872 h 723778"/>
                      <a:gd name="connsiteX23" fmla="*/ 349107 w 751062"/>
                      <a:gd name="connsiteY23" fmla="*/ 42190 h 723778"/>
                      <a:gd name="connsiteX24" fmla="*/ 319001 w 751062"/>
                      <a:gd name="connsiteY24" fmla="*/ 40094 h 723778"/>
                      <a:gd name="connsiteX25" fmla="*/ 303025 w 751062"/>
                      <a:gd name="connsiteY25" fmla="*/ 26831 h 723778"/>
                      <a:gd name="connsiteX26" fmla="*/ 297020 w 751062"/>
                      <a:gd name="connsiteY26" fmla="*/ 38095 h 723778"/>
                      <a:gd name="connsiteX27" fmla="*/ 299670 w 751062"/>
                      <a:gd name="connsiteY27" fmla="*/ 51613 h 723778"/>
                      <a:gd name="connsiteX28" fmla="*/ 301851 w 751062"/>
                      <a:gd name="connsiteY28" fmla="*/ 50693 h 723778"/>
                      <a:gd name="connsiteX29" fmla="*/ 301212 w 751062"/>
                      <a:gd name="connsiteY29" fmla="*/ 38761 h 723778"/>
                      <a:gd name="connsiteX30" fmla="*/ 303533 w 751062"/>
                      <a:gd name="connsiteY30" fmla="*/ 76303 h 723778"/>
                      <a:gd name="connsiteX31" fmla="*/ 301086 w 751062"/>
                      <a:gd name="connsiteY31" fmla="*/ 88118 h 723778"/>
                      <a:gd name="connsiteX32" fmla="*/ 280234 w 751062"/>
                      <a:gd name="connsiteY32" fmla="*/ 70067 h 723778"/>
                      <a:gd name="connsiteX33" fmla="*/ 261802 w 751062"/>
                      <a:gd name="connsiteY33" fmla="*/ 58103 h 723778"/>
                      <a:gd name="connsiteX34" fmla="*/ 235270 w 751062"/>
                      <a:gd name="connsiteY34" fmla="*/ 35334 h 723778"/>
                      <a:gd name="connsiteX35" fmla="*/ 237138 w 751062"/>
                      <a:gd name="connsiteY35" fmla="*/ 3469 h 723778"/>
                      <a:gd name="connsiteX36" fmla="*/ 235542 w 751062"/>
                      <a:gd name="connsiteY36" fmla="*/ 333 h 723778"/>
                      <a:gd name="connsiteX37" fmla="*/ 233620 w 751062"/>
                      <a:gd name="connsiteY37" fmla="*/ 2027 h 723778"/>
                      <a:gd name="connsiteX38" fmla="*/ 233292 w 751062"/>
                      <a:gd name="connsiteY38" fmla="*/ 16386 h 723778"/>
                      <a:gd name="connsiteX39" fmla="*/ 215137 w 751062"/>
                      <a:gd name="connsiteY39" fmla="*/ 43572 h 723778"/>
                      <a:gd name="connsiteX40" fmla="*/ 169152 w 751062"/>
                      <a:gd name="connsiteY40" fmla="*/ 80771 h 723778"/>
                      <a:gd name="connsiteX41" fmla="*/ 137929 w 751062"/>
                      <a:gd name="connsiteY41" fmla="*/ 77439 h 723778"/>
                      <a:gd name="connsiteX42" fmla="*/ 129126 w 751062"/>
                      <a:gd name="connsiteY42" fmla="*/ 77414 h 723778"/>
                      <a:gd name="connsiteX43" fmla="*/ 108293 w 751062"/>
                      <a:gd name="connsiteY43" fmla="*/ 58979 h 723778"/>
                      <a:gd name="connsiteX44" fmla="*/ 87766 w 751062"/>
                      <a:gd name="connsiteY44" fmla="*/ 54003 h 723778"/>
                      <a:gd name="connsiteX45" fmla="*/ 68235 w 751062"/>
                      <a:gd name="connsiteY45" fmla="*/ 56898 h 723778"/>
                      <a:gd name="connsiteX46" fmla="*/ 64943 w 751062"/>
                      <a:gd name="connsiteY46" fmla="*/ 76700 h 723778"/>
                      <a:gd name="connsiteX47" fmla="*/ 82803 w 751062"/>
                      <a:gd name="connsiteY47" fmla="*/ 78864 h 723778"/>
                      <a:gd name="connsiteX48" fmla="*/ 103228 w 751062"/>
                      <a:gd name="connsiteY48" fmla="*/ 81166 h 723778"/>
                      <a:gd name="connsiteX49" fmla="*/ 111977 w 751062"/>
                      <a:gd name="connsiteY49" fmla="*/ 106644 h 723778"/>
                      <a:gd name="connsiteX50" fmla="*/ 121810 w 751062"/>
                      <a:gd name="connsiteY50" fmla="*/ 262089 h 723778"/>
                      <a:gd name="connsiteX51" fmla="*/ 122453 w 751062"/>
                      <a:gd name="connsiteY51" fmla="*/ 264530 h 723778"/>
                      <a:gd name="connsiteX52" fmla="*/ 127264 w 751062"/>
                      <a:gd name="connsiteY52" fmla="*/ 264233 h 723778"/>
                      <a:gd name="connsiteX53" fmla="*/ 127618 w 751062"/>
                      <a:gd name="connsiteY53" fmla="*/ 256747 h 723778"/>
                      <a:gd name="connsiteX54" fmla="*/ 120671 w 751062"/>
                      <a:gd name="connsiteY54" fmla="*/ 149083 h 723778"/>
                      <a:gd name="connsiteX55" fmla="*/ 116180 w 751062"/>
                      <a:gd name="connsiteY55" fmla="*/ 96002 h 723778"/>
                      <a:gd name="connsiteX56" fmla="*/ 104950 w 751062"/>
                      <a:gd name="connsiteY56" fmla="*/ 76600 h 723778"/>
                      <a:gd name="connsiteX57" fmla="*/ 106529 w 751062"/>
                      <a:gd name="connsiteY57" fmla="*/ 63377 h 723778"/>
                      <a:gd name="connsiteX58" fmla="*/ 131087 w 751062"/>
                      <a:gd name="connsiteY58" fmla="*/ 117691 h 723778"/>
                      <a:gd name="connsiteX59" fmla="*/ 133971 w 751062"/>
                      <a:gd name="connsiteY59" fmla="*/ 180306 h 723778"/>
                      <a:gd name="connsiteX60" fmla="*/ 132669 w 751062"/>
                      <a:gd name="connsiteY60" fmla="*/ 256467 h 723778"/>
                      <a:gd name="connsiteX61" fmla="*/ 131950 w 751062"/>
                      <a:gd name="connsiteY61" fmla="*/ 260753 h 723778"/>
                      <a:gd name="connsiteX62" fmla="*/ 132407 w 751062"/>
                      <a:gd name="connsiteY62" fmla="*/ 271637 h 723778"/>
                      <a:gd name="connsiteX63" fmla="*/ 122821 w 751062"/>
                      <a:gd name="connsiteY63" fmla="*/ 268134 h 723778"/>
                      <a:gd name="connsiteX64" fmla="*/ 121833 w 751062"/>
                      <a:gd name="connsiteY64" fmla="*/ 263183 h 723778"/>
                      <a:gd name="connsiteX65" fmla="*/ 119832 w 751062"/>
                      <a:gd name="connsiteY65" fmla="*/ 263183 h 723778"/>
                      <a:gd name="connsiteX66" fmla="*/ 118884 w 751062"/>
                      <a:gd name="connsiteY66" fmla="*/ 267077 h 723778"/>
                      <a:gd name="connsiteX67" fmla="*/ 38391 w 751062"/>
                      <a:gd name="connsiteY67" fmla="*/ 306230 h 723778"/>
                      <a:gd name="connsiteX68" fmla="*/ 55244 w 751062"/>
                      <a:gd name="connsiteY68" fmla="*/ 616010 h 723778"/>
                      <a:gd name="connsiteX69" fmla="*/ 55121 w 751062"/>
                      <a:gd name="connsiteY69" fmla="*/ 616118 h 723778"/>
                      <a:gd name="connsiteX70" fmla="*/ 200638 w 751062"/>
                      <a:gd name="connsiteY70" fmla="*/ 627174 h 723778"/>
                      <a:gd name="connsiteX71" fmla="*/ 238677 w 751062"/>
                      <a:gd name="connsiteY71" fmla="*/ 633256 h 723778"/>
                      <a:gd name="connsiteX72" fmla="*/ 276296 w 751062"/>
                      <a:gd name="connsiteY72" fmla="*/ 723748 h 723778"/>
                      <a:gd name="connsiteX73" fmla="*/ 307374 w 751062"/>
                      <a:gd name="connsiteY73" fmla="*/ 627671 h 723778"/>
                      <a:gd name="connsiteX74" fmla="*/ 317262 w 751062"/>
                      <a:gd name="connsiteY74" fmla="*/ 601839 h 723778"/>
                      <a:gd name="connsiteX75" fmla="*/ 319092 w 751062"/>
                      <a:gd name="connsiteY75" fmla="*/ 590286 h 723778"/>
                      <a:gd name="connsiteX76" fmla="*/ 319766 w 751062"/>
                      <a:gd name="connsiteY76" fmla="*/ 582311 h 723778"/>
                      <a:gd name="connsiteX77" fmla="*/ 378509 w 751062"/>
                      <a:gd name="connsiteY77" fmla="*/ 596082 h 723778"/>
                      <a:gd name="connsiteX78" fmla="*/ 381173 w 751062"/>
                      <a:gd name="connsiteY78" fmla="*/ 638079 h 723778"/>
                      <a:gd name="connsiteX79" fmla="*/ 386096 w 751062"/>
                      <a:gd name="connsiteY79" fmla="*/ 657567 h 723778"/>
                      <a:gd name="connsiteX80" fmla="*/ 401851 w 751062"/>
                      <a:gd name="connsiteY80" fmla="*/ 665087 h 723778"/>
                      <a:gd name="connsiteX81" fmla="*/ 404264 w 751062"/>
                      <a:gd name="connsiteY81" fmla="*/ 678456 h 723778"/>
                      <a:gd name="connsiteX82" fmla="*/ 404496 w 751062"/>
                      <a:gd name="connsiteY82" fmla="*/ 679487 h 723778"/>
                      <a:gd name="connsiteX83" fmla="*/ 409178 w 751062"/>
                      <a:gd name="connsiteY83" fmla="*/ 680803 h 723778"/>
                      <a:gd name="connsiteX84" fmla="*/ 410595 w 751062"/>
                      <a:gd name="connsiteY84" fmla="*/ 686468 h 723778"/>
                      <a:gd name="connsiteX85" fmla="*/ 419320 w 751062"/>
                      <a:gd name="connsiteY85" fmla="*/ 685212 h 723778"/>
                      <a:gd name="connsiteX86" fmla="*/ 419523 w 751062"/>
                      <a:gd name="connsiteY86" fmla="*/ 680332 h 723778"/>
                      <a:gd name="connsiteX87" fmla="*/ 420014 w 751062"/>
                      <a:gd name="connsiteY87" fmla="*/ 673345 h 723778"/>
                      <a:gd name="connsiteX88" fmla="*/ 441855 w 751062"/>
                      <a:gd name="connsiteY88" fmla="*/ 670875 h 723778"/>
                      <a:gd name="connsiteX89" fmla="*/ 462196 w 751062"/>
                      <a:gd name="connsiteY89" fmla="*/ 663580 h 723778"/>
                      <a:gd name="connsiteX90" fmla="*/ 501235 w 751062"/>
                      <a:gd name="connsiteY90" fmla="*/ 658178 h 723778"/>
                      <a:gd name="connsiteX91" fmla="*/ 515857 w 751062"/>
                      <a:gd name="connsiteY91" fmla="*/ 679621 h 723778"/>
                      <a:gd name="connsiteX92" fmla="*/ 582549 w 751062"/>
                      <a:gd name="connsiteY92" fmla="*/ 672434 h 723778"/>
                      <a:gd name="connsiteX93" fmla="*/ 598071 w 751062"/>
                      <a:gd name="connsiteY93" fmla="*/ 677043 h 723778"/>
                      <a:gd name="connsiteX94" fmla="*/ 614578 w 751062"/>
                      <a:gd name="connsiteY94" fmla="*/ 674936 h 723778"/>
                      <a:gd name="connsiteX95" fmla="*/ 709358 w 751062"/>
                      <a:gd name="connsiteY95" fmla="*/ 657475 h 723778"/>
                      <a:gd name="connsiteX96" fmla="*/ 742469 w 751062"/>
                      <a:gd name="connsiteY96" fmla="*/ 648481 h 723778"/>
                      <a:gd name="connsiteX97" fmla="*/ 743285 w 751062"/>
                      <a:gd name="connsiteY97" fmla="*/ 644749 h 723778"/>
                      <a:gd name="connsiteX98" fmla="*/ 730610 w 751062"/>
                      <a:gd name="connsiteY98" fmla="*/ 642102 h 723778"/>
                      <a:gd name="connsiteX99" fmla="*/ 731059 w 751062"/>
                      <a:gd name="connsiteY99" fmla="*/ 640157 h 723778"/>
                      <a:gd name="connsiteX100" fmla="*/ 745661 w 751062"/>
                      <a:gd name="connsiteY100" fmla="*/ 639812 h 723778"/>
                      <a:gd name="connsiteX101" fmla="*/ 748257 w 751062"/>
                      <a:gd name="connsiteY101" fmla="*/ 625144 h 723778"/>
                      <a:gd name="connsiteX102" fmla="*/ 96509 w 751062"/>
                      <a:gd name="connsiteY102" fmla="*/ 73656 h 723778"/>
                      <a:gd name="connsiteX103" fmla="*/ 73058 w 751062"/>
                      <a:gd name="connsiteY103" fmla="*/ 71623 h 723778"/>
                      <a:gd name="connsiteX104" fmla="*/ 68081 w 751062"/>
                      <a:gd name="connsiteY104" fmla="*/ 70624 h 723778"/>
                      <a:gd name="connsiteX105" fmla="*/ 73098 w 751062"/>
                      <a:gd name="connsiteY105" fmla="*/ 61387 h 723778"/>
                      <a:gd name="connsiteX106" fmla="*/ 98576 w 751062"/>
                      <a:gd name="connsiteY106" fmla="*/ 62397 h 723778"/>
                      <a:gd name="connsiteX107" fmla="*/ 96509 w 751062"/>
                      <a:gd name="connsiteY107" fmla="*/ 73656 h 723778"/>
                      <a:gd name="connsiteX108" fmla="*/ 607379 w 751062"/>
                      <a:gd name="connsiteY108" fmla="*/ 388147 h 723778"/>
                      <a:gd name="connsiteX109" fmla="*/ 608427 w 751062"/>
                      <a:gd name="connsiteY109" fmla="*/ 379318 h 723778"/>
                      <a:gd name="connsiteX110" fmla="*/ 630927 w 751062"/>
                      <a:gd name="connsiteY110" fmla="*/ 410622 h 723778"/>
                      <a:gd name="connsiteX111" fmla="*/ 678660 w 751062"/>
                      <a:gd name="connsiteY111" fmla="*/ 607478 h 723778"/>
                      <a:gd name="connsiteX112" fmla="*/ 670720 w 751062"/>
                      <a:gd name="connsiteY112" fmla="*/ 607295 h 723778"/>
                      <a:gd name="connsiteX113" fmla="*/ 617376 w 751062"/>
                      <a:gd name="connsiteY113" fmla="*/ 405836 h 723778"/>
                      <a:gd name="connsiteX114" fmla="*/ 606900 w 751062"/>
                      <a:gd name="connsiteY114" fmla="*/ 392630 h 723778"/>
                      <a:gd name="connsiteX115" fmla="*/ 607379 w 751062"/>
                      <a:gd name="connsiteY115" fmla="*/ 388147 h 723778"/>
                      <a:gd name="connsiteX116" fmla="*/ 617108 w 751062"/>
                      <a:gd name="connsiteY116" fmla="*/ 538895 h 723778"/>
                      <a:gd name="connsiteX117" fmla="*/ 650852 w 751062"/>
                      <a:gd name="connsiteY117" fmla="*/ 543107 h 723778"/>
                      <a:gd name="connsiteX118" fmla="*/ 666588 w 751062"/>
                      <a:gd name="connsiteY118" fmla="*/ 607692 h 723778"/>
                      <a:gd name="connsiteX119" fmla="*/ 618649 w 751062"/>
                      <a:gd name="connsiteY119" fmla="*/ 598198 h 723778"/>
                      <a:gd name="connsiteX120" fmla="*/ 615429 w 751062"/>
                      <a:gd name="connsiteY120" fmla="*/ 566981 h 723778"/>
                      <a:gd name="connsiteX121" fmla="*/ 617108 w 751062"/>
                      <a:gd name="connsiteY121" fmla="*/ 538895 h 723778"/>
                      <a:gd name="connsiteX122" fmla="*/ 614098 w 751062"/>
                      <a:gd name="connsiteY122" fmla="*/ 407752 h 723778"/>
                      <a:gd name="connsiteX123" fmla="*/ 649961 w 751062"/>
                      <a:gd name="connsiteY123" fmla="*/ 539024 h 723778"/>
                      <a:gd name="connsiteX124" fmla="*/ 609324 w 751062"/>
                      <a:gd name="connsiteY124" fmla="*/ 533927 h 723778"/>
                      <a:gd name="connsiteX125" fmla="*/ 599236 w 751062"/>
                      <a:gd name="connsiteY125" fmla="*/ 509908 h 723778"/>
                      <a:gd name="connsiteX126" fmla="*/ 607294 w 751062"/>
                      <a:gd name="connsiteY126" fmla="*/ 510356 h 723778"/>
                      <a:gd name="connsiteX127" fmla="*/ 607459 w 751062"/>
                      <a:gd name="connsiteY127" fmla="*/ 519764 h 723778"/>
                      <a:gd name="connsiteX128" fmla="*/ 644647 w 751062"/>
                      <a:gd name="connsiteY128" fmla="*/ 525735 h 723778"/>
                      <a:gd name="connsiteX129" fmla="*/ 644647 w 751062"/>
                      <a:gd name="connsiteY129" fmla="*/ 522012 h 723778"/>
                      <a:gd name="connsiteX130" fmla="*/ 610152 w 751062"/>
                      <a:gd name="connsiteY130" fmla="*/ 519290 h 723778"/>
                      <a:gd name="connsiteX131" fmla="*/ 610717 w 751062"/>
                      <a:gd name="connsiteY131" fmla="*/ 510025 h 723778"/>
                      <a:gd name="connsiteX132" fmla="*/ 611954 w 751062"/>
                      <a:gd name="connsiteY132" fmla="*/ 508669 h 723778"/>
                      <a:gd name="connsiteX133" fmla="*/ 610849 w 751062"/>
                      <a:gd name="connsiteY133" fmla="*/ 501116 h 723778"/>
                      <a:gd name="connsiteX134" fmla="*/ 607551 w 751062"/>
                      <a:gd name="connsiteY134" fmla="*/ 492519 h 723778"/>
                      <a:gd name="connsiteX135" fmla="*/ 599110 w 751062"/>
                      <a:gd name="connsiteY135" fmla="*/ 487059 h 723778"/>
                      <a:gd name="connsiteX136" fmla="*/ 606471 w 751062"/>
                      <a:gd name="connsiteY136" fmla="*/ 396682 h 723778"/>
                      <a:gd name="connsiteX137" fmla="*/ 614098 w 751062"/>
                      <a:gd name="connsiteY137" fmla="*/ 407752 h 723778"/>
                      <a:gd name="connsiteX138" fmla="*/ 602380 w 751062"/>
                      <a:gd name="connsiteY138" fmla="*/ 576372 h 723778"/>
                      <a:gd name="connsiteX139" fmla="*/ 602083 w 751062"/>
                      <a:gd name="connsiteY139" fmla="*/ 547127 h 723778"/>
                      <a:gd name="connsiteX140" fmla="*/ 608179 w 751062"/>
                      <a:gd name="connsiteY140" fmla="*/ 537425 h 723778"/>
                      <a:gd name="connsiteX141" fmla="*/ 613924 w 751062"/>
                      <a:gd name="connsiteY141" fmla="*/ 538444 h 723778"/>
                      <a:gd name="connsiteX142" fmla="*/ 611865 w 751062"/>
                      <a:gd name="connsiteY142" fmla="*/ 568126 h 723778"/>
                      <a:gd name="connsiteX143" fmla="*/ 614355 w 751062"/>
                      <a:gd name="connsiteY143" fmla="*/ 594960 h 723778"/>
                      <a:gd name="connsiteX144" fmla="*/ 602334 w 751062"/>
                      <a:gd name="connsiteY144" fmla="*/ 579604 h 723778"/>
                      <a:gd name="connsiteX145" fmla="*/ 602380 w 751062"/>
                      <a:gd name="connsiteY145" fmla="*/ 576372 h 723778"/>
                      <a:gd name="connsiteX146" fmla="*/ 598833 w 751062"/>
                      <a:gd name="connsiteY146" fmla="*/ 507229 h 723778"/>
                      <a:gd name="connsiteX147" fmla="*/ 598942 w 751062"/>
                      <a:gd name="connsiteY147" fmla="*/ 489923 h 723778"/>
                      <a:gd name="connsiteX148" fmla="*/ 604510 w 751062"/>
                      <a:gd name="connsiteY148" fmla="*/ 495123 h 723778"/>
                      <a:gd name="connsiteX149" fmla="*/ 608596 w 751062"/>
                      <a:gd name="connsiteY149" fmla="*/ 503398 h 723778"/>
                      <a:gd name="connsiteX150" fmla="*/ 608896 w 751062"/>
                      <a:gd name="connsiteY150" fmla="*/ 506787 h 723778"/>
                      <a:gd name="connsiteX151" fmla="*/ 598833 w 751062"/>
                      <a:gd name="connsiteY151" fmla="*/ 507229 h 723778"/>
                      <a:gd name="connsiteX152" fmla="*/ 579003 w 751062"/>
                      <a:gd name="connsiteY152" fmla="*/ 296887 h 723778"/>
                      <a:gd name="connsiteX153" fmla="*/ 588243 w 751062"/>
                      <a:gd name="connsiteY153" fmla="*/ 306398 h 723778"/>
                      <a:gd name="connsiteX154" fmla="*/ 603919 w 751062"/>
                      <a:gd name="connsiteY154" fmla="*/ 341259 h 723778"/>
                      <a:gd name="connsiteX155" fmla="*/ 601654 w 751062"/>
                      <a:gd name="connsiteY155" fmla="*/ 379167 h 723778"/>
                      <a:gd name="connsiteX156" fmla="*/ 591081 w 751062"/>
                      <a:gd name="connsiteY156" fmla="*/ 496476 h 723778"/>
                      <a:gd name="connsiteX157" fmla="*/ 598562 w 751062"/>
                      <a:gd name="connsiteY157" fmla="*/ 525698 h 723778"/>
                      <a:gd name="connsiteX158" fmla="*/ 601929 w 751062"/>
                      <a:gd name="connsiteY158" fmla="*/ 531094 h 723778"/>
                      <a:gd name="connsiteX159" fmla="*/ 580411 w 751062"/>
                      <a:gd name="connsiteY159" fmla="*/ 555625 h 723778"/>
                      <a:gd name="connsiteX160" fmla="*/ 525694 w 751062"/>
                      <a:gd name="connsiteY160" fmla="*/ 556718 h 723778"/>
                      <a:gd name="connsiteX161" fmla="*/ 518472 w 751062"/>
                      <a:gd name="connsiteY161" fmla="*/ 527400 h 723778"/>
                      <a:gd name="connsiteX162" fmla="*/ 519343 w 751062"/>
                      <a:gd name="connsiteY162" fmla="*/ 381802 h 723778"/>
                      <a:gd name="connsiteX163" fmla="*/ 520685 w 751062"/>
                      <a:gd name="connsiteY163" fmla="*/ 372417 h 723778"/>
                      <a:gd name="connsiteX164" fmla="*/ 519903 w 751062"/>
                      <a:gd name="connsiteY164" fmla="*/ 358020 h 723778"/>
                      <a:gd name="connsiteX165" fmla="*/ 512131 w 751062"/>
                      <a:gd name="connsiteY165" fmla="*/ 358020 h 723778"/>
                      <a:gd name="connsiteX166" fmla="*/ 512956 w 751062"/>
                      <a:gd name="connsiteY166" fmla="*/ 374653 h 723778"/>
                      <a:gd name="connsiteX167" fmla="*/ 437084 w 751062"/>
                      <a:gd name="connsiteY167" fmla="*/ 346425 h 723778"/>
                      <a:gd name="connsiteX168" fmla="*/ 424980 w 751062"/>
                      <a:gd name="connsiteY168" fmla="*/ 309182 h 723778"/>
                      <a:gd name="connsiteX169" fmla="*/ 418664 w 751062"/>
                      <a:gd name="connsiteY169" fmla="*/ 298797 h 723778"/>
                      <a:gd name="connsiteX170" fmla="*/ 388477 w 751062"/>
                      <a:gd name="connsiteY170" fmla="*/ 279307 h 723778"/>
                      <a:gd name="connsiteX171" fmla="*/ 387095 w 751062"/>
                      <a:gd name="connsiteY171" fmla="*/ 284321 h 723778"/>
                      <a:gd name="connsiteX172" fmla="*/ 403568 w 751062"/>
                      <a:gd name="connsiteY172" fmla="*/ 292941 h 723778"/>
                      <a:gd name="connsiteX173" fmla="*/ 407719 w 751062"/>
                      <a:gd name="connsiteY173" fmla="*/ 296887 h 723778"/>
                      <a:gd name="connsiteX174" fmla="*/ 430525 w 751062"/>
                      <a:gd name="connsiteY174" fmla="*/ 347870 h 723778"/>
                      <a:gd name="connsiteX175" fmla="*/ 434362 w 751062"/>
                      <a:gd name="connsiteY175" fmla="*/ 448723 h 723778"/>
                      <a:gd name="connsiteX176" fmla="*/ 432792 w 751062"/>
                      <a:gd name="connsiteY176" fmla="*/ 512186 h 723778"/>
                      <a:gd name="connsiteX177" fmla="*/ 429388 w 751062"/>
                      <a:gd name="connsiteY177" fmla="*/ 551462 h 723778"/>
                      <a:gd name="connsiteX178" fmla="*/ 414215 w 751062"/>
                      <a:gd name="connsiteY178" fmla="*/ 561093 h 723778"/>
                      <a:gd name="connsiteX179" fmla="*/ 404358 w 751062"/>
                      <a:gd name="connsiteY179" fmla="*/ 561207 h 723778"/>
                      <a:gd name="connsiteX180" fmla="*/ 400584 w 751062"/>
                      <a:gd name="connsiteY180" fmla="*/ 560596 h 723778"/>
                      <a:gd name="connsiteX181" fmla="*/ 379308 w 751062"/>
                      <a:gd name="connsiteY181" fmla="*/ 455245 h 723778"/>
                      <a:gd name="connsiteX182" fmla="*/ 347771 w 751062"/>
                      <a:gd name="connsiteY182" fmla="*/ 414650 h 723778"/>
                      <a:gd name="connsiteX183" fmla="*/ 345755 w 751062"/>
                      <a:gd name="connsiteY183" fmla="*/ 380949 h 723778"/>
                      <a:gd name="connsiteX184" fmla="*/ 345093 w 751062"/>
                      <a:gd name="connsiteY184" fmla="*/ 362586 h 723778"/>
                      <a:gd name="connsiteX185" fmla="*/ 341287 w 751062"/>
                      <a:gd name="connsiteY185" fmla="*/ 362072 h 723778"/>
                      <a:gd name="connsiteX186" fmla="*/ 340419 w 751062"/>
                      <a:gd name="connsiteY186" fmla="*/ 378405 h 723778"/>
                      <a:gd name="connsiteX187" fmla="*/ 330368 w 751062"/>
                      <a:gd name="connsiteY187" fmla="*/ 374356 h 723778"/>
                      <a:gd name="connsiteX188" fmla="*/ 329643 w 751062"/>
                      <a:gd name="connsiteY188" fmla="*/ 378921 h 723778"/>
                      <a:gd name="connsiteX189" fmla="*/ 339922 w 751062"/>
                      <a:gd name="connsiteY189" fmla="*/ 385166 h 723778"/>
                      <a:gd name="connsiteX190" fmla="*/ 340424 w 751062"/>
                      <a:gd name="connsiteY190" fmla="*/ 389897 h 723778"/>
                      <a:gd name="connsiteX191" fmla="*/ 328044 w 751062"/>
                      <a:gd name="connsiteY191" fmla="*/ 393004 h 723778"/>
                      <a:gd name="connsiteX192" fmla="*/ 325445 w 751062"/>
                      <a:gd name="connsiteY192" fmla="*/ 283947 h 723778"/>
                      <a:gd name="connsiteX193" fmla="*/ 324868 w 751062"/>
                      <a:gd name="connsiteY193" fmla="*/ 266586 h 723778"/>
                      <a:gd name="connsiteX194" fmla="*/ 329177 w 751062"/>
                      <a:gd name="connsiteY194" fmla="*/ 266364 h 723778"/>
                      <a:gd name="connsiteX195" fmla="*/ 335368 w 751062"/>
                      <a:gd name="connsiteY195" fmla="*/ 265969 h 723778"/>
                      <a:gd name="connsiteX196" fmla="*/ 352463 w 751062"/>
                      <a:gd name="connsiteY196" fmla="*/ 277871 h 723778"/>
                      <a:gd name="connsiteX197" fmla="*/ 359038 w 751062"/>
                      <a:gd name="connsiteY197" fmla="*/ 279338 h 723778"/>
                      <a:gd name="connsiteX198" fmla="*/ 359432 w 751062"/>
                      <a:gd name="connsiteY198" fmla="*/ 267534 h 723778"/>
                      <a:gd name="connsiteX199" fmla="*/ 369620 w 751062"/>
                      <a:gd name="connsiteY199" fmla="*/ 268982 h 723778"/>
                      <a:gd name="connsiteX200" fmla="*/ 370283 w 751062"/>
                      <a:gd name="connsiteY200" fmla="*/ 267606 h 723778"/>
                      <a:gd name="connsiteX201" fmla="*/ 370979 w 751062"/>
                      <a:gd name="connsiteY201" fmla="*/ 268148 h 723778"/>
                      <a:gd name="connsiteX202" fmla="*/ 377081 w 751062"/>
                      <a:gd name="connsiteY202" fmla="*/ 260450 h 723778"/>
                      <a:gd name="connsiteX203" fmla="*/ 378489 w 751062"/>
                      <a:gd name="connsiteY203" fmla="*/ 257900 h 723778"/>
                      <a:gd name="connsiteX204" fmla="*/ 426416 w 751062"/>
                      <a:gd name="connsiteY204" fmla="*/ 251841 h 723778"/>
                      <a:gd name="connsiteX205" fmla="*/ 427521 w 751062"/>
                      <a:gd name="connsiteY205" fmla="*/ 251656 h 723778"/>
                      <a:gd name="connsiteX206" fmla="*/ 449227 w 751062"/>
                      <a:gd name="connsiteY206" fmla="*/ 258080 h 723778"/>
                      <a:gd name="connsiteX207" fmla="*/ 509826 w 751062"/>
                      <a:gd name="connsiteY207" fmla="*/ 272380 h 723778"/>
                      <a:gd name="connsiteX208" fmla="*/ 570708 w 751062"/>
                      <a:gd name="connsiteY208" fmla="*/ 291368 h 723778"/>
                      <a:gd name="connsiteX209" fmla="*/ 579003 w 751062"/>
                      <a:gd name="connsiteY209" fmla="*/ 296887 h 723778"/>
                      <a:gd name="connsiteX210" fmla="*/ 598351 w 751062"/>
                      <a:gd name="connsiteY210" fmla="*/ 569867 h 723778"/>
                      <a:gd name="connsiteX211" fmla="*/ 592283 w 751062"/>
                      <a:gd name="connsiteY211" fmla="*/ 561584 h 723778"/>
                      <a:gd name="connsiteX212" fmla="*/ 593602 w 751062"/>
                      <a:gd name="connsiteY212" fmla="*/ 554691 h 723778"/>
                      <a:gd name="connsiteX213" fmla="*/ 598465 w 751062"/>
                      <a:gd name="connsiteY213" fmla="*/ 550782 h 723778"/>
                      <a:gd name="connsiteX214" fmla="*/ 598351 w 751062"/>
                      <a:gd name="connsiteY214" fmla="*/ 569867 h 723778"/>
                      <a:gd name="connsiteX215" fmla="*/ 588289 w 751062"/>
                      <a:gd name="connsiteY215" fmla="*/ 560659 h 723778"/>
                      <a:gd name="connsiteX216" fmla="*/ 579348 w 751062"/>
                      <a:gd name="connsiteY216" fmla="*/ 576172 h 723778"/>
                      <a:gd name="connsiteX217" fmla="*/ 569992 w 751062"/>
                      <a:gd name="connsiteY217" fmla="*/ 579590 h 723778"/>
                      <a:gd name="connsiteX218" fmla="*/ 560666 w 751062"/>
                      <a:gd name="connsiteY218" fmla="*/ 581803 h 723778"/>
                      <a:gd name="connsiteX219" fmla="*/ 528489 w 751062"/>
                      <a:gd name="connsiteY219" fmla="*/ 583170 h 723778"/>
                      <a:gd name="connsiteX220" fmla="*/ 525731 w 751062"/>
                      <a:gd name="connsiteY220" fmla="*/ 575558 h 723778"/>
                      <a:gd name="connsiteX221" fmla="*/ 525925 w 751062"/>
                      <a:gd name="connsiteY221" fmla="*/ 560770 h 723778"/>
                      <a:gd name="connsiteX222" fmla="*/ 560046 w 751062"/>
                      <a:gd name="connsiteY222" fmla="*/ 564088 h 723778"/>
                      <a:gd name="connsiteX223" fmla="*/ 588309 w 751062"/>
                      <a:gd name="connsiteY223" fmla="*/ 558160 h 723778"/>
                      <a:gd name="connsiteX224" fmla="*/ 588289 w 751062"/>
                      <a:gd name="connsiteY224" fmla="*/ 560659 h 723778"/>
                      <a:gd name="connsiteX225" fmla="*/ 527887 w 751062"/>
                      <a:gd name="connsiteY225" fmla="*/ 586457 h 723778"/>
                      <a:gd name="connsiteX226" fmla="*/ 559658 w 751062"/>
                      <a:gd name="connsiteY226" fmla="*/ 586431 h 723778"/>
                      <a:gd name="connsiteX227" fmla="*/ 541695 w 751062"/>
                      <a:gd name="connsiteY227" fmla="*/ 600260 h 723778"/>
                      <a:gd name="connsiteX228" fmla="*/ 524417 w 751062"/>
                      <a:gd name="connsiteY228" fmla="*/ 605965 h 723778"/>
                      <a:gd name="connsiteX229" fmla="*/ 527887 w 751062"/>
                      <a:gd name="connsiteY229" fmla="*/ 586457 h 723778"/>
                      <a:gd name="connsiteX230" fmla="*/ 451752 w 751062"/>
                      <a:gd name="connsiteY230" fmla="*/ 357586 h 723778"/>
                      <a:gd name="connsiteX231" fmla="*/ 467779 w 751062"/>
                      <a:gd name="connsiteY231" fmla="*/ 361364 h 723778"/>
                      <a:gd name="connsiteX232" fmla="*/ 484297 w 751062"/>
                      <a:gd name="connsiteY232" fmla="*/ 369844 h 723778"/>
                      <a:gd name="connsiteX233" fmla="*/ 439862 w 751062"/>
                      <a:gd name="connsiteY233" fmla="*/ 375915 h 723778"/>
                      <a:gd name="connsiteX234" fmla="*/ 438714 w 751062"/>
                      <a:gd name="connsiteY234" fmla="*/ 359485 h 723778"/>
                      <a:gd name="connsiteX235" fmla="*/ 451752 w 751062"/>
                      <a:gd name="connsiteY235" fmla="*/ 357586 h 723778"/>
                      <a:gd name="connsiteX236" fmla="*/ 438488 w 751062"/>
                      <a:gd name="connsiteY236" fmla="*/ 357232 h 723778"/>
                      <a:gd name="connsiteX237" fmla="*/ 437840 w 751062"/>
                      <a:gd name="connsiteY237" fmla="*/ 351693 h 723778"/>
                      <a:gd name="connsiteX238" fmla="*/ 451312 w 751062"/>
                      <a:gd name="connsiteY238" fmla="*/ 354748 h 723778"/>
                      <a:gd name="connsiteX239" fmla="*/ 438488 w 751062"/>
                      <a:gd name="connsiteY239" fmla="*/ 357232 h 723778"/>
                      <a:gd name="connsiteX240" fmla="*/ 469806 w 751062"/>
                      <a:gd name="connsiteY240" fmla="*/ 652932 h 723778"/>
                      <a:gd name="connsiteX241" fmla="*/ 453139 w 751062"/>
                      <a:gd name="connsiteY241" fmla="*/ 655628 h 723778"/>
                      <a:gd name="connsiteX242" fmla="*/ 448285 w 751062"/>
                      <a:gd name="connsiteY242" fmla="*/ 656430 h 723778"/>
                      <a:gd name="connsiteX243" fmla="*/ 452968 w 751062"/>
                      <a:gd name="connsiteY243" fmla="*/ 642119 h 723778"/>
                      <a:gd name="connsiteX244" fmla="*/ 468638 w 751062"/>
                      <a:gd name="connsiteY244" fmla="*/ 642296 h 723778"/>
                      <a:gd name="connsiteX245" fmla="*/ 469806 w 751062"/>
                      <a:gd name="connsiteY245" fmla="*/ 652932 h 723778"/>
                      <a:gd name="connsiteX246" fmla="*/ 470460 w 751062"/>
                      <a:gd name="connsiteY246" fmla="*/ 642416 h 723778"/>
                      <a:gd name="connsiteX247" fmla="*/ 475205 w 751062"/>
                      <a:gd name="connsiteY247" fmla="*/ 644912 h 723778"/>
                      <a:gd name="connsiteX248" fmla="*/ 474857 w 751062"/>
                      <a:gd name="connsiteY248" fmla="*/ 651388 h 723778"/>
                      <a:gd name="connsiteX249" fmla="*/ 470460 w 751062"/>
                      <a:gd name="connsiteY249" fmla="*/ 642416 h 723778"/>
                      <a:gd name="connsiteX250" fmla="*/ 472119 w 751062"/>
                      <a:gd name="connsiteY250" fmla="*/ 639703 h 723778"/>
                      <a:gd name="connsiteX251" fmla="*/ 462565 w 751062"/>
                      <a:gd name="connsiteY251" fmla="*/ 639372 h 723778"/>
                      <a:gd name="connsiteX252" fmla="*/ 457145 w 751062"/>
                      <a:gd name="connsiteY252" fmla="*/ 639678 h 723778"/>
                      <a:gd name="connsiteX253" fmla="*/ 434240 w 751062"/>
                      <a:gd name="connsiteY253" fmla="*/ 639835 h 723778"/>
                      <a:gd name="connsiteX254" fmla="*/ 461957 w 751062"/>
                      <a:gd name="connsiteY254" fmla="*/ 625552 h 723778"/>
                      <a:gd name="connsiteX255" fmla="*/ 486513 w 751062"/>
                      <a:gd name="connsiteY255" fmla="*/ 631500 h 723778"/>
                      <a:gd name="connsiteX256" fmla="*/ 485490 w 751062"/>
                      <a:gd name="connsiteY256" fmla="*/ 638624 h 723778"/>
                      <a:gd name="connsiteX257" fmla="*/ 477218 w 751062"/>
                      <a:gd name="connsiteY257" fmla="*/ 642387 h 723778"/>
                      <a:gd name="connsiteX258" fmla="*/ 472119 w 751062"/>
                      <a:gd name="connsiteY258" fmla="*/ 639703 h 723778"/>
                      <a:gd name="connsiteX259" fmla="*/ 476876 w 751062"/>
                      <a:gd name="connsiteY259" fmla="*/ 619876 h 723778"/>
                      <a:gd name="connsiteX260" fmla="*/ 429703 w 751062"/>
                      <a:gd name="connsiteY260" fmla="*/ 638050 h 723778"/>
                      <a:gd name="connsiteX261" fmla="*/ 429554 w 751062"/>
                      <a:gd name="connsiteY261" fmla="*/ 640406 h 723778"/>
                      <a:gd name="connsiteX262" fmla="*/ 415934 w 751062"/>
                      <a:gd name="connsiteY262" fmla="*/ 642633 h 723778"/>
                      <a:gd name="connsiteX263" fmla="*/ 403773 w 751062"/>
                      <a:gd name="connsiteY263" fmla="*/ 577348 h 723778"/>
                      <a:gd name="connsiteX264" fmla="*/ 433988 w 751062"/>
                      <a:gd name="connsiteY264" fmla="*/ 571575 h 723778"/>
                      <a:gd name="connsiteX265" fmla="*/ 436841 w 751062"/>
                      <a:gd name="connsiteY265" fmla="*/ 572740 h 723778"/>
                      <a:gd name="connsiteX266" fmla="*/ 446106 w 751062"/>
                      <a:gd name="connsiteY266" fmla="*/ 588210 h 723778"/>
                      <a:gd name="connsiteX267" fmla="*/ 466982 w 751062"/>
                      <a:gd name="connsiteY267" fmla="*/ 611615 h 723778"/>
                      <a:gd name="connsiteX268" fmla="*/ 483414 w 751062"/>
                      <a:gd name="connsiteY268" fmla="*/ 621975 h 723778"/>
                      <a:gd name="connsiteX269" fmla="*/ 476876 w 751062"/>
                      <a:gd name="connsiteY269" fmla="*/ 619876 h 723778"/>
                      <a:gd name="connsiteX270" fmla="*/ 403153 w 751062"/>
                      <a:gd name="connsiteY270" fmla="*/ 574096 h 723778"/>
                      <a:gd name="connsiteX271" fmla="*/ 401574 w 751062"/>
                      <a:gd name="connsiteY271" fmla="*/ 565821 h 723778"/>
                      <a:gd name="connsiteX272" fmla="*/ 417484 w 751062"/>
                      <a:gd name="connsiteY272" fmla="*/ 566310 h 723778"/>
                      <a:gd name="connsiteX273" fmla="*/ 434322 w 751062"/>
                      <a:gd name="connsiteY273" fmla="*/ 557878 h 723778"/>
                      <a:gd name="connsiteX274" fmla="*/ 433857 w 751062"/>
                      <a:gd name="connsiteY274" fmla="*/ 566118 h 723778"/>
                      <a:gd name="connsiteX275" fmla="*/ 403153 w 751062"/>
                      <a:gd name="connsiteY275" fmla="*/ 574096 h 723778"/>
                      <a:gd name="connsiteX276" fmla="*/ 328540 w 751062"/>
                      <a:gd name="connsiteY276" fmla="*/ 407589 h 723778"/>
                      <a:gd name="connsiteX277" fmla="*/ 328138 w 751062"/>
                      <a:gd name="connsiteY277" fmla="*/ 395682 h 723778"/>
                      <a:gd name="connsiteX278" fmla="*/ 340781 w 751062"/>
                      <a:gd name="connsiteY278" fmla="*/ 393218 h 723778"/>
                      <a:gd name="connsiteX279" fmla="*/ 342355 w 751062"/>
                      <a:gd name="connsiteY279" fmla="*/ 412872 h 723778"/>
                      <a:gd name="connsiteX280" fmla="*/ 328406 w 751062"/>
                      <a:gd name="connsiteY280" fmla="*/ 410656 h 723778"/>
                      <a:gd name="connsiteX281" fmla="*/ 328540 w 751062"/>
                      <a:gd name="connsiteY281" fmla="*/ 407589 h 723778"/>
                      <a:gd name="connsiteX282" fmla="*/ 569677 w 751062"/>
                      <a:gd name="connsiteY282" fmla="*/ 251276 h 723778"/>
                      <a:gd name="connsiteX283" fmla="*/ 574891 w 751062"/>
                      <a:gd name="connsiteY283" fmla="*/ 252013 h 723778"/>
                      <a:gd name="connsiteX284" fmla="*/ 574971 w 751062"/>
                      <a:gd name="connsiteY284" fmla="*/ 252581 h 723778"/>
                      <a:gd name="connsiteX285" fmla="*/ 577818 w 751062"/>
                      <a:gd name="connsiteY285" fmla="*/ 288113 h 723778"/>
                      <a:gd name="connsiteX286" fmla="*/ 569143 w 751062"/>
                      <a:gd name="connsiteY286" fmla="*/ 283062 h 723778"/>
                      <a:gd name="connsiteX287" fmla="*/ 567350 w 751062"/>
                      <a:gd name="connsiteY287" fmla="*/ 269873 h 723778"/>
                      <a:gd name="connsiteX288" fmla="*/ 563630 w 751062"/>
                      <a:gd name="connsiteY288" fmla="*/ 250125 h 723778"/>
                      <a:gd name="connsiteX289" fmla="*/ 569677 w 751062"/>
                      <a:gd name="connsiteY289" fmla="*/ 251276 h 723778"/>
                      <a:gd name="connsiteX290" fmla="*/ 559809 w 751062"/>
                      <a:gd name="connsiteY290" fmla="*/ 257518 h 723778"/>
                      <a:gd name="connsiteX291" fmla="*/ 564144 w 751062"/>
                      <a:gd name="connsiteY291" fmla="*/ 280712 h 723778"/>
                      <a:gd name="connsiteX292" fmla="*/ 521305 w 751062"/>
                      <a:gd name="connsiteY292" fmla="*/ 269667 h 723778"/>
                      <a:gd name="connsiteX293" fmla="*/ 428689 w 751062"/>
                      <a:gd name="connsiteY293" fmla="*/ 249217 h 723778"/>
                      <a:gd name="connsiteX294" fmla="*/ 426062 w 751062"/>
                      <a:gd name="connsiteY294" fmla="*/ 244149 h 723778"/>
                      <a:gd name="connsiteX295" fmla="*/ 512328 w 751062"/>
                      <a:gd name="connsiteY295" fmla="*/ 256898 h 723778"/>
                      <a:gd name="connsiteX296" fmla="*/ 559809 w 751062"/>
                      <a:gd name="connsiteY296" fmla="*/ 257518 h 723778"/>
                      <a:gd name="connsiteX297" fmla="*/ 444713 w 751062"/>
                      <a:gd name="connsiteY297" fmla="*/ 218028 h 723778"/>
                      <a:gd name="connsiteX298" fmla="*/ 535799 w 751062"/>
                      <a:gd name="connsiteY298" fmla="*/ 232773 h 723778"/>
                      <a:gd name="connsiteX299" fmla="*/ 558396 w 751062"/>
                      <a:gd name="connsiteY299" fmla="*/ 247767 h 723778"/>
                      <a:gd name="connsiteX300" fmla="*/ 558504 w 751062"/>
                      <a:gd name="connsiteY300" fmla="*/ 247761 h 723778"/>
                      <a:gd name="connsiteX301" fmla="*/ 557068 w 751062"/>
                      <a:gd name="connsiteY301" fmla="*/ 253583 h 723778"/>
                      <a:gd name="connsiteX302" fmla="*/ 515369 w 751062"/>
                      <a:gd name="connsiteY302" fmla="*/ 252469 h 723778"/>
                      <a:gd name="connsiteX303" fmla="*/ 423432 w 751062"/>
                      <a:gd name="connsiteY303" fmla="*/ 238861 h 723778"/>
                      <a:gd name="connsiteX304" fmla="*/ 419946 w 751062"/>
                      <a:gd name="connsiteY304" fmla="*/ 231311 h 723778"/>
                      <a:gd name="connsiteX305" fmla="*/ 536630 w 751062"/>
                      <a:gd name="connsiteY305" fmla="*/ 245996 h 723778"/>
                      <a:gd name="connsiteX306" fmla="*/ 537178 w 751062"/>
                      <a:gd name="connsiteY306" fmla="*/ 245959 h 723778"/>
                      <a:gd name="connsiteX307" fmla="*/ 537912 w 751062"/>
                      <a:gd name="connsiteY307" fmla="*/ 245896 h 723778"/>
                      <a:gd name="connsiteX308" fmla="*/ 537535 w 751062"/>
                      <a:gd name="connsiteY308" fmla="*/ 242747 h 723778"/>
                      <a:gd name="connsiteX309" fmla="*/ 417779 w 751062"/>
                      <a:gd name="connsiteY309" fmla="*/ 226320 h 723778"/>
                      <a:gd name="connsiteX310" fmla="*/ 413476 w 751062"/>
                      <a:gd name="connsiteY310" fmla="*/ 215838 h 723778"/>
                      <a:gd name="connsiteX311" fmla="*/ 441432 w 751062"/>
                      <a:gd name="connsiteY311" fmla="*/ 217754 h 723778"/>
                      <a:gd name="connsiteX312" fmla="*/ 444713 w 751062"/>
                      <a:gd name="connsiteY312" fmla="*/ 218028 h 723778"/>
                      <a:gd name="connsiteX313" fmla="*/ 438466 w 751062"/>
                      <a:gd name="connsiteY313" fmla="*/ 212329 h 723778"/>
                      <a:gd name="connsiteX314" fmla="*/ 411428 w 751062"/>
                      <a:gd name="connsiteY314" fmla="*/ 210556 h 723778"/>
                      <a:gd name="connsiteX315" fmla="*/ 405401 w 751062"/>
                      <a:gd name="connsiteY315" fmla="*/ 193763 h 723778"/>
                      <a:gd name="connsiteX316" fmla="*/ 425597 w 751062"/>
                      <a:gd name="connsiteY316" fmla="*/ 185817 h 723778"/>
                      <a:gd name="connsiteX317" fmla="*/ 438466 w 751062"/>
                      <a:gd name="connsiteY317" fmla="*/ 212329 h 723778"/>
                      <a:gd name="connsiteX318" fmla="*/ 305909 w 751062"/>
                      <a:gd name="connsiteY318" fmla="*/ 79267 h 723778"/>
                      <a:gd name="connsiteX319" fmla="*/ 302677 w 751062"/>
                      <a:gd name="connsiteY319" fmla="*/ 34049 h 723778"/>
                      <a:gd name="connsiteX320" fmla="*/ 304524 w 751062"/>
                      <a:gd name="connsiteY320" fmla="*/ 30951 h 723778"/>
                      <a:gd name="connsiteX321" fmla="*/ 315640 w 751062"/>
                      <a:gd name="connsiteY321" fmla="*/ 93669 h 723778"/>
                      <a:gd name="connsiteX322" fmla="*/ 311471 w 751062"/>
                      <a:gd name="connsiteY322" fmla="*/ 81448 h 723778"/>
                      <a:gd name="connsiteX323" fmla="*/ 304524 w 751062"/>
                      <a:gd name="connsiteY323" fmla="*/ 83033 h 723778"/>
                      <a:gd name="connsiteX324" fmla="*/ 305909 w 751062"/>
                      <a:gd name="connsiteY324" fmla="*/ 79267 h 723778"/>
                      <a:gd name="connsiteX325" fmla="*/ 221059 w 751062"/>
                      <a:gd name="connsiteY325" fmla="*/ 47744 h 723778"/>
                      <a:gd name="connsiteX326" fmla="*/ 232966 w 751062"/>
                      <a:gd name="connsiteY326" fmla="*/ 21948 h 723778"/>
                      <a:gd name="connsiteX327" fmla="*/ 232072 w 751062"/>
                      <a:gd name="connsiteY327" fmla="*/ 29181 h 723778"/>
                      <a:gd name="connsiteX328" fmla="*/ 229100 w 751062"/>
                      <a:gd name="connsiteY328" fmla="*/ 26426 h 723778"/>
                      <a:gd name="connsiteX329" fmla="*/ 298651 w 751062"/>
                      <a:gd name="connsiteY329" fmla="*/ 90248 h 723778"/>
                      <a:gd name="connsiteX330" fmla="*/ 265360 w 751062"/>
                      <a:gd name="connsiteY330" fmla="*/ 99197 h 723778"/>
                      <a:gd name="connsiteX331" fmla="*/ 223406 w 751062"/>
                      <a:gd name="connsiteY331" fmla="*/ 56590 h 723778"/>
                      <a:gd name="connsiteX332" fmla="*/ 221059 w 751062"/>
                      <a:gd name="connsiteY332" fmla="*/ 47744 h 723778"/>
                      <a:gd name="connsiteX333" fmla="*/ 279785 w 751062"/>
                      <a:gd name="connsiteY333" fmla="*/ 87958 h 723778"/>
                      <a:gd name="connsiteX334" fmla="*/ 279785 w 751062"/>
                      <a:gd name="connsiteY334" fmla="*/ 87958 h 723778"/>
                      <a:gd name="connsiteX335" fmla="*/ 279785 w 751062"/>
                      <a:gd name="connsiteY335" fmla="*/ 87958 h 723778"/>
                      <a:gd name="connsiteX336" fmla="*/ 187329 w 751062"/>
                      <a:gd name="connsiteY336" fmla="*/ 69898 h 723778"/>
                      <a:gd name="connsiteX337" fmla="*/ 214352 w 751062"/>
                      <a:gd name="connsiteY337" fmla="*/ 49166 h 723778"/>
                      <a:gd name="connsiteX338" fmla="*/ 219612 w 751062"/>
                      <a:gd name="connsiteY338" fmla="*/ 62474 h 723778"/>
                      <a:gd name="connsiteX339" fmla="*/ 264269 w 751062"/>
                      <a:gd name="connsiteY339" fmla="*/ 106181 h 723778"/>
                      <a:gd name="connsiteX340" fmla="*/ 268826 w 751062"/>
                      <a:gd name="connsiteY340" fmla="*/ 105584 h 723778"/>
                      <a:gd name="connsiteX341" fmla="*/ 278415 w 751062"/>
                      <a:gd name="connsiteY341" fmla="*/ 88275 h 723778"/>
                      <a:gd name="connsiteX342" fmla="*/ 291766 w 751062"/>
                      <a:gd name="connsiteY342" fmla="*/ 92884 h 723778"/>
                      <a:gd name="connsiteX343" fmla="*/ 297991 w 751062"/>
                      <a:gd name="connsiteY343" fmla="*/ 96496 h 723778"/>
                      <a:gd name="connsiteX344" fmla="*/ 301566 w 751062"/>
                      <a:gd name="connsiteY344" fmla="*/ 97747 h 723778"/>
                      <a:gd name="connsiteX345" fmla="*/ 329491 w 751062"/>
                      <a:gd name="connsiteY345" fmla="*/ 175189 h 723778"/>
                      <a:gd name="connsiteX346" fmla="*/ 335536 w 751062"/>
                      <a:gd name="connsiteY346" fmla="*/ 189532 h 723778"/>
                      <a:gd name="connsiteX347" fmla="*/ 358930 w 751062"/>
                      <a:gd name="connsiteY347" fmla="*/ 231623 h 723778"/>
                      <a:gd name="connsiteX348" fmla="*/ 361799 w 751062"/>
                      <a:gd name="connsiteY348" fmla="*/ 229410 h 723778"/>
                      <a:gd name="connsiteX349" fmla="*/ 333343 w 751062"/>
                      <a:gd name="connsiteY349" fmla="*/ 171389 h 723778"/>
                      <a:gd name="connsiteX350" fmla="*/ 329174 w 751062"/>
                      <a:gd name="connsiteY350" fmla="*/ 161061 h 723778"/>
                      <a:gd name="connsiteX351" fmla="*/ 304815 w 751062"/>
                      <a:gd name="connsiteY351" fmla="*/ 96490 h 723778"/>
                      <a:gd name="connsiteX352" fmla="*/ 308613 w 751062"/>
                      <a:gd name="connsiteY352" fmla="*/ 86128 h 723778"/>
                      <a:gd name="connsiteX353" fmla="*/ 314843 w 751062"/>
                      <a:gd name="connsiteY353" fmla="*/ 101810 h 723778"/>
                      <a:gd name="connsiteX354" fmla="*/ 318675 w 751062"/>
                      <a:gd name="connsiteY354" fmla="*/ 100805 h 723778"/>
                      <a:gd name="connsiteX355" fmla="*/ 320848 w 751062"/>
                      <a:gd name="connsiteY355" fmla="*/ 44426 h 723778"/>
                      <a:gd name="connsiteX356" fmla="*/ 332287 w 751062"/>
                      <a:gd name="connsiteY356" fmla="*/ 44323 h 723778"/>
                      <a:gd name="connsiteX357" fmla="*/ 375040 w 751062"/>
                      <a:gd name="connsiteY357" fmla="*/ 81671 h 723778"/>
                      <a:gd name="connsiteX358" fmla="*/ 384351 w 751062"/>
                      <a:gd name="connsiteY358" fmla="*/ 102215 h 723778"/>
                      <a:gd name="connsiteX359" fmla="*/ 422210 w 751062"/>
                      <a:gd name="connsiteY359" fmla="*/ 179732 h 723778"/>
                      <a:gd name="connsiteX360" fmla="*/ 403293 w 751062"/>
                      <a:gd name="connsiteY360" fmla="*/ 187499 h 723778"/>
                      <a:gd name="connsiteX361" fmla="*/ 378463 w 751062"/>
                      <a:gd name="connsiteY361" fmla="*/ 102215 h 723778"/>
                      <a:gd name="connsiteX362" fmla="*/ 377512 w 751062"/>
                      <a:gd name="connsiteY362" fmla="*/ 98009 h 723778"/>
                      <a:gd name="connsiteX363" fmla="*/ 374780 w 751062"/>
                      <a:gd name="connsiteY363" fmla="*/ 92024 h 723778"/>
                      <a:gd name="connsiteX364" fmla="*/ 370051 w 751062"/>
                      <a:gd name="connsiteY364" fmla="*/ 95691 h 723778"/>
                      <a:gd name="connsiteX365" fmla="*/ 371967 w 751062"/>
                      <a:gd name="connsiteY365" fmla="*/ 100308 h 723778"/>
                      <a:gd name="connsiteX366" fmla="*/ 371907 w 751062"/>
                      <a:gd name="connsiteY366" fmla="*/ 100308 h 723778"/>
                      <a:gd name="connsiteX367" fmla="*/ 408062 w 751062"/>
                      <a:gd name="connsiteY367" fmla="*/ 218808 h 723778"/>
                      <a:gd name="connsiteX368" fmla="*/ 422807 w 751062"/>
                      <a:gd name="connsiteY368" fmla="*/ 248098 h 723778"/>
                      <a:gd name="connsiteX369" fmla="*/ 378823 w 751062"/>
                      <a:gd name="connsiteY369" fmla="*/ 256575 h 723778"/>
                      <a:gd name="connsiteX370" fmla="*/ 366488 w 751062"/>
                      <a:gd name="connsiteY370" fmla="*/ 237836 h 723778"/>
                      <a:gd name="connsiteX371" fmla="*/ 345073 w 751062"/>
                      <a:gd name="connsiteY371" fmla="*/ 228933 h 723778"/>
                      <a:gd name="connsiteX372" fmla="*/ 335536 w 751062"/>
                      <a:gd name="connsiteY372" fmla="*/ 227474 h 723778"/>
                      <a:gd name="connsiteX373" fmla="*/ 303719 w 751062"/>
                      <a:gd name="connsiteY373" fmla="*/ 233281 h 723778"/>
                      <a:gd name="connsiteX374" fmla="*/ 215234 w 751062"/>
                      <a:gd name="connsiteY374" fmla="*/ 227682 h 723778"/>
                      <a:gd name="connsiteX375" fmla="*/ 218067 w 751062"/>
                      <a:gd name="connsiteY375" fmla="*/ 215587 h 723778"/>
                      <a:gd name="connsiteX376" fmla="*/ 219552 w 751062"/>
                      <a:gd name="connsiteY376" fmla="*/ 143832 h 723778"/>
                      <a:gd name="connsiteX377" fmla="*/ 217342 w 751062"/>
                      <a:gd name="connsiteY377" fmla="*/ 122662 h 723778"/>
                      <a:gd name="connsiteX378" fmla="*/ 212291 w 751062"/>
                      <a:gd name="connsiteY378" fmla="*/ 123345 h 723778"/>
                      <a:gd name="connsiteX379" fmla="*/ 210003 w 751062"/>
                      <a:gd name="connsiteY379" fmla="*/ 190340 h 723778"/>
                      <a:gd name="connsiteX380" fmla="*/ 210203 w 751062"/>
                      <a:gd name="connsiteY380" fmla="*/ 226463 h 723778"/>
                      <a:gd name="connsiteX381" fmla="*/ 151289 w 751062"/>
                      <a:gd name="connsiteY381" fmla="*/ 236742 h 723778"/>
                      <a:gd name="connsiteX382" fmla="*/ 143354 w 751062"/>
                      <a:gd name="connsiteY382" fmla="*/ 239723 h 723778"/>
                      <a:gd name="connsiteX383" fmla="*/ 144619 w 751062"/>
                      <a:gd name="connsiteY383" fmla="*/ 240988 h 723778"/>
                      <a:gd name="connsiteX384" fmla="*/ 206149 w 751062"/>
                      <a:gd name="connsiteY384" fmla="*/ 230794 h 723778"/>
                      <a:gd name="connsiteX385" fmla="*/ 228118 w 751062"/>
                      <a:gd name="connsiteY385" fmla="*/ 232553 h 723778"/>
                      <a:gd name="connsiteX386" fmla="*/ 286378 w 751062"/>
                      <a:gd name="connsiteY386" fmla="*/ 241334 h 723778"/>
                      <a:gd name="connsiteX387" fmla="*/ 305635 w 751062"/>
                      <a:gd name="connsiteY387" fmla="*/ 237567 h 723778"/>
                      <a:gd name="connsiteX388" fmla="*/ 329177 w 751062"/>
                      <a:gd name="connsiteY388" fmla="*/ 231994 h 723778"/>
                      <a:gd name="connsiteX389" fmla="*/ 346675 w 751062"/>
                      <a:gd name="connsiteY389" fmla="*/ 234261 h 723778"/>
                      <a:gd name="connsiteX390" fmla="*/ 363930 w 751062"/>
                      <a:gd name="connsiteY390" fmla="*/ 241836 h 723778"/>
                      <a:gd name="connsiteX391" fmla="*/ 375057 w 751062"/>
                      <a:gd name="connsiteY391" fmla="*/ 256515 h 723778"/>
                      <a:gd name="connsiteX392" fmla="*/ 357719 w 751062"/>
                      <a:gd name="connsiteY392" fmla="*/ 239629 h 723778"/>
                      <a:gd name="connsiteX393" fmla="*/ 356289 w 751062"/>
                      <a:gd name="connsiteY393" fmla="*/ 242076 h 723778"/>
                      <a:gd name="connsiteX394" fmla="*/ 374617 w 751062"/>
                      <a:gd name="connsiteY394" fmla="*/ 262403 h 723778"/>
                      <a:gd name="connsiteX395" fmla="*/ 371468 w 751062"/>
                      <a:gd name="connsiteY395" fmla="*/ 266595 h 723778"/>
                      <a:gd name="connsiteX396" fmla="*/ 370437 w 751062"/>
                      <a:gd name="connsiteY396" fmla="*/ 266855 h 723778"/>
                      <a:gd name="connsiteX397" fmla="*/ 359324 w 751062"/>
                      <a:gd name="connsiteY397" fmla="*/ 252435 h 723778"/>
                      <a:gd name="connsiteX398" fmla="*/ 349767 w 751062"/>
                      <a:gd name="connsiteY398" fmla="*/ 245594 h 723778"/>
                      <a:gd name="connsiteX399" fmla="*/ 348337 w 751062"/>
                      <a:gd name="connsiteY399" fmla="*/ 248041 h 723778"/>
                      <a:gd name="connsiteX400" fmla="*/ 367579 w 751062"/>
                      <a:gd name="connsiteY400" fmla="*/ 266412 h 723778"/>
                      <a:gd name="connsiteX401" fmla="*/ 364709 w 751062"/>
                      <a:gd name="connsiteY401" fmla="*/ 267608 h 723778"/>
                      <a:gd name="connsiteX402" fmla="*/ 361919 w 751062"/>
                      <a:gd name="connsiteY402" fmla="*/ 265801 h 723778"/>
                      <a:gd name="connsiteX403" fmla="*/ 354484 w 751062"/>
                      <a:gd name="connsiteY403" fmla="*/ 260473 h 723778"/>
                      <a:gd name="connsiteX404" fmla="*/ 353739 w 751062"/>
                      <a:gd name="connsiteY404" fmla="*/ 260262 h 723778"/>
                      <a:gd name="connsiteX405" fmla="*/ 341338 w 751062"/>
                      <a:gd name="connsiteY405" fmla="*/ 253029 h 723778"/>
                      <a:gd name="connsiteX406" fmla="*/ 340427 w 751062"/>
                      <a:gd name="connsiteY406" fmla="*/ 256336 h 723778"/>
                      <a:gd name="connsiteX407" fmla="*/ 356948 w 751062"/>
                      <a:gd name="connsiteY407" fmla="*/ 277023 h 723778"/>
                      <a:gd name="connsiteX408" fmla="*/ 339756 w 751062"/>
                      <a:gd name="connsiteY408" fmla="*/ 264062 h 723778"/>
                      <a:gd name="connsiteX409" fmla="*/ 335999 w 751062"/>
                      <a:gd name="connsiteY409" fmla="*/ 261866 h 723778"/>
                      <a:gd name="connsiteX410" fmla="*/ 335542 w 751062"/>
                      <a:gd name="connsiteY410" fmla="*/ 261781 h 723778"/>
                      <a:gd name="connsiteX411" fmla="*/ 331601 w 751062"/>
                      <a:gd name="connsiteY411" fmla="*/ 262335 h 723778"/>
                      <a:gd name="connsiteX412" fmla="*/ 314189 w 751062"/>
                      <a:gd name="connsiteY412" fmla="*/ 262712 h 723778"/>
                      <a:gd name="connsiteX413" fmla="*/ 309001 w 751062"/>
                      <a:gd name="connsiteY413" fmla="*/ 262101 h 723778"/>
                      <a:gd name="connsiteX414" fmla="*/ 307374 w 751062"/>
                      <a:gd name="connsiteY414" fmla="*/ 262395 h 723778"/>
                      <a:gd name="connsiteX415" fmla="*/ 279825 w 751062"/>
                      <a:gd name="connsiteY415" fmla="*/ 264667 h 723778"/>
                      <a:gd name="connsiteX416" fmla="*/ 268744 w 751062"/>
                      <a:gd name="connsiteY416" fmla="*/ 264836 h 723778"/>
                      <a:gd name="connsiteX417" fmla="*/ 257248 w 751062"/>
                      <a:gd name="connsiteY417" fmla="*/ 266052 h 723778"/>
                      <a:gd name="connsiteX418" fmla="*/ 139990 w 751062"/>
                      <a:gd name="connsiteY418" fmla="*/ 259111 h 723778"/>
                      <a:gd name="connsiteX419" fmla="*/ 141004 w 751062"/>
                      <a:gd name="connsiteY419" fmla="*/ 249457 h 723778"/>
                      <a:gd name="connsiteX420" fmla="*/ 146061 w 751062"/>
                      <a:gd name="connsiteY420" fmla="*/ 146573 h 723778"/>
                      <a:gd name="connsiteX421" fmla="*/ 187329 w 751062"/>
                      <a:gd name="connsiteY421" fmla="*/ 69898 h 723778"/>
                      <a:gd name="connsiteX422" fmla="*/ 137952 w 751062"/>
                      <a:gd name="connsiteY422" fmla="*/ 266409 h 723778"/>
                      <a:gd name="connsiteX423" fmla="*/ 137549 w 751062"/>
                      <a:gd name="connsiteY423" fmla="*/ 261127 h 723778"/>
                      <a:gd name="connsiteX424" fmla="*/ 252582 w 751062"/>
                      <a:gd name="connsiteY424" fmla="*/ 271903 h 723778"/>
                      <a:gd name="connsiteX425" fmla="*/ 272918 w 751062"/>
                      <a:gd name="connsiteY425" fmla="*/ 269193 h 723778"/>
                      <a:gd name="connsiteX426" fmla="*/ 281673 w 751062"/>
                      <a:gd name="connsiteY426" fmla="*/ 270741 h 723778"/>
                      <a:gd name="connsiteX427" fmla="*/ 241801 w 751062"/>
                      <a:gd name="connsiteY427" fmla="*/ 283501 h 723778"/>
                      <a:gd name="connsiteX428" fmla="*/ 159727 w 751062"/>
                      <a:gd name="connsiteY428" fmla="*/ 276346 h 723778"/>
                      <a:gd name="connsiteX429" fmla="*/ 138120 w 751062"/>
                      <a:gd name="connsiteY429" fmla="*/ 272211 h 723778"/>
                      <a:gd name="connsiteX430" fmla="*/ 137952 w 751062"/>
                      <a:gd name="connsiteY430" fmla="*/ 266409 h 723778"/>
                      <a:gd name="connsiteX431" fmla="*/ 240464 w 751062"/>
                      <a:gd name="connsiteY431" fmla="*/ 289900 h 723778"/>
                      <a:gd name="connsiteX432" fmla="*/ 285230 w 751062"/>
                      <a:gd name="connsiteY432" fmla="*/ 278070 h 723778"/>
                      <a:gd name="connsiteX433" fmla="*/ 306608 w 751062"/>
                      <a:gd name="connsiteY433" fmla="*/ 281220 h 723778"/>
                      <a:gd name="connsiteX434" fmla="*/ 305466 w 751062"/>
                      <a:gd name="connsiteY434" fmla="*/ 367095 h 723778"/>
                      <a:gd name="connsiteX435" fmla="*/ 303765 w 751062"/>
                      <a:gd name="connsiteY435" fmla="*/ 380538 h 723778"/>
                      <a:gd name="connsiteX436" fmla="*/ 212528 w 751062"/>
                      <a:gd name="connsiteY436" fmla="*/ 365827 h 723778"/>
                      <a:gd name="connsiteX437" fmla="*/ 149893 w 751062"/>
                      <a:gd name="connsiteY437" fmla="*/ 281445 h 723778"/>
                      <a:gd name="connsiteX438" fmla="*/ 240464 w 751062"/>
                      <a:gd name="connsiteY438" fmla="*/ 289900 h 723778"/>
                      <a:gd name="connsiteX439" fmla="*/ 286344 w 751062"/>
                      <a:gd name="connsiteY439" fmla="*/ 274541 h 723778"/>
                      <a:gd name="connsiteX440" fmla="*/ 286944 w 751062"/>
                      <a:gd name="connsiteY440" fmla="*/ 271466 h 723778"/>
                      <a:gd name="connsiteX441" fmla="*/ 306534 w 751062"/>
                      <a:gd name="connsiteY441" fmla="*/ 274147 h 723778"/>
                      <a:gd name="connsiteX442" fmla="*/ 306586 w 751062"/>
                      <a:gd name="connsiteY442" fmla="*/ 277374 h 723778"/>
                      <a:gd name="connsiteX443" fmla="*/ 286344 w 751062"/>
                      <a:gd name="connsiteY443" fmla="*/ 274541 h 723778"/>
                      <a:gd name="connsiteX444" fmla="*/ 306483 w 751062"/>
                      <a:gd name="connsiteY444" fmla="*/ 269896 h 723778"/>
                      <a:gd name="connsiteX445" fmla="*/ 289242 w 751062"/>
                      <a:gd name="connsiteY445" fmla="*/ 267531 h 723778"/>
                      <a:gd name="connsiteX446" fmla="*/ 306766 w 751062"/>
                      <a:gd name="connsiteY446" fmla="*/ 265830 h 723778"/>
                      <a:gd name="connsiteX447" fmla="*/ 306483 w 751062"/>
                      <a:gd name="connsiteY447" fmla="*/ 269896 h 723778"/>
                      <a:gd name="connsiteX448" fmla="*/ 133175 w 751062"/>
                      <a:gd name="connsiteY448" fmla="*/ 88758 h 723778"/>
                      <a:gd name="connsiteX449" fmla="*/ 130936 w 751062"/>
                      <a:gd name="connsiteY449" fmla="*/ 81591 h 723778"/>
                      <a:gd name="connsiteX450" fmla="*/ 165140 w 751062"/>
                      <a:gd name="connsiteY450" fmla="*/ 85837 h 723778"/>
                      <a:gd name="connsiteX451" fmla="*/ 138237 w 751062"/>
                      <a:gd name="connsiteY451" fmla="*/ 142932 h 723778"/>
                      <a:gd name="connsiteX452" fmla="*/ 133175 w 751062"/>
                      <a:gd name="connsiteY452" fmla="*/ 88758 h 723778"/>
                      <a:gd name="connsiteX453" fmla="*/ 7014 w 751062"/>
                      <a:gd name="connsiteY453" fmla="*/ 477659 h 723778"/>
                      <a:gd name="connsiteX454" fmla="*/ 36153 w 751062"/>
                      <a:gd name="connsiteY454" fmla="*/ 336451 h 723778"/>
                      <a:gd name="connsiteX455" fmla="*/ 96323 w 751062"/>
                      <a:gd name="connsiteY455" fmla="*/ 634644 h 723778"/>
                      <a:gd name="connsiteX456" fmla="*/ 7014 w 751062"/>
                      <a:gd name="connsiteY456" fmla="*/ 477659 h 723778"/>
                      <a:gd name="connsiteX457" fmla="*/ 49893 w 751062"/>
                      <a:gd name="connsiteY457" fmla="*/ 320498 h 723778"/>
                      <a:gd name="connsiteX458" fmla="*/ 120251 w 751062"/>
                      <a:gd name="connsiteY458" fmla="*/ 313662 h 723778"/>
                      <a:gd name="connsiteX459" fmla="*/ 121779 w 751062"/>
                      <a:gd name="connsiteY459" fmla="*/ 343475 h 723778"/>
                      <a:gd name="connsiteX460" fmla="*/ 123224 w 751062"/>
                      <a:gd name="connsiteY460" fmla="*/ 352290 h 723778"/>
                      <a:gd name="connsiteX461" fmla="*/ 125083 w 751062"/>
                      <a:gd name="connsiteY461" fmla="*/ 354114 h 723778"/>
                      <a:gd name="connsiteX462" fmla="*/ 126405 w 751062"/>
                      <a:gd name="connsiteY462" fmla="*/ 375050 h 723778"/>
                      <a:gd name="connsiteX463" fmla="*/ 124791 w 751062"/>
                      <a:gd name="connsiteY463" fmla="*/ 444203 h 723778"/>
                      <a:gd name="connsiteX464" fmla="*/ 118918 w 751062"/>
                      <a:gd name="connsiteY464" fmla="*/ 455528 h 723778"/>
                      <a:gd name="connsiteX465" fmla="*/ 107205 w 751062"/>
                      <a:gd name="connsiteY465" fmla="*/ 452507 h 723778"/>
                      <a:gd name="connsiteX466" fmla="*/ 88785 w 751062"/>
                      <a:gd name="connsiteY466" fmla="*/ 466001 h 723778"/>
                      <a:gd name="connsiteX467" fmla="*/ 91906 w 751062"/>
                      <a:gd name="connsiteY467" fmla="*/ 475232 h 723778"/>
                      <a:gd name="connsiteX468" fmla="*/ 100361 w 751062"/>
                      <a:gd name="connsiteY468" fmla="*/ 485437 h 723778"/>
                      <a:gd name="connsiteX469" fmla="*/ 110689 w 751062"/>
                      <a:gd name="connsiteY469" fmla="*/ 475152 h 723778"/>
                      <a:gd name="connsiteX470" fmla="*/ 120017 w 751062"/>
                      <a:gd name="connsiteY470" fmla="*/ 472297 h 723778"/>
                      <a:gd name="connsiteX471" fmla="*/ 127267 w 751062"/>
                      <a:gd name="connsiteY471" fmla="*/ 480129 h 723778"/>
                      <a:gd name="connsiteX472" fmla="*/ 129514 w 751062"/>
                      <a:gd name="connsiteY472" fmla="*/ 483173 h 723778"/>
                      <a:gd name="connsiteX473" fmla="*/ 141752 w 751062"/>
                      <a:gd name="connsiteY473" fmla="*/ 478687 h 723778"/>
                      <a:gd name="connsiteX474" fmla="*/ 144448 w 751062"/>
                      <a:gd name="connsiteY474" fmla="*/ 463400 h 723778"/>
                      <a:gd name="connsiteX475" fmla="*/ 144482 w 751062"/>
                      <a:gd name="connsiteY475" fmla="*/ 463400 h 723778"/>
                      <a:gd name="connsiteX476" fmla="*/ 145141 w 751062"/>
                      <a:gd name="connsiteY476" fmla="*/ 445785 h 723778"/>
                      <a:gd name="connsiteX477" fmla="*/ 122290 w 751062"/>
                      <a:gd name="connsiteY477" fmla="*/ 478428 h 723778"/>
                      <a:gd name="connsiteX478" fmla="*/ 119263 w 751062"/>
                      <a:gd name="connsiteY478" fmla="*/ 476940 h 723778"/>
                      <a:gd name="connsiteX479" fmla="*/ 117776 w 751062"/>
                      <a:gd name="connsiteY479" fmla="*/ 479969 h 723778"/>
                      <a:gd name="connsiteX480" fmla="*/ 136852 w 751062"/>
                      <a:gd name="connsiteY480" fmla="*/ 496745 h 723778"/>
                      <a:gd name="connsiteX481" fmla="*/ 152086 w 751062"/>
                      <a:gd name="connsiteY481" fmla="*/ 487725 h 723778"/>
                      <a:gd name="connsiteX482" fmla="*/ 145373 w 751062"/>
                      <a:gd name="connsiteY482" fmla="*/ 439601 h 723778"/>
                      <a:gd name="connsiteX483" fmla="*/ 147614 w 751062"/>
                      <a:gd name="connsiteY483" fmla="*/ 379652 h 723778"/>
                      <a:gd name="connsiteX484" fmla="*/ 171907 w 751062"/>
                      <a:gd name="connsiteY484" fmla="*/ 383356 h 723778"/>
                      <a:gd name="connsiteX485" fmla="*/ 165092 w 751062"/>
                      <a:gd name="connsiteY485" fmla="*/ 596919 h 723778"/>
                      <a:gd name="connsiteX486" fmla="*/ 163576 w 751062"/>
                      <a:gd name="connsiteY486" fmla="*/ 595708 h 723778"/>
                      <a:gd name="connsiteX487" fmla="*/ 125782 w 751062"/>
                      <a:gd name="connsiteY487" fmla="*/ 587808 h 723778"/>
                      <a:gd name="connsiteX488" fmla="*/ 97531 w 751062"/>
                      <a:gd name="connsiteY488" fmla="*/ 589601 h 723778"/>
                      <a:gd name="connsiteX489" fmla="*/ 101769 w 751062"/>
                      <a:gd name="connsiteY489" fmla="*/ 602618 h 723778"/>
                      <a:gd name="connsiteX490" fmla="*/ 113201 w 751062"/>
                      <a:gd name="connsiteY490" fmla="*/ 606267 h 723778"/>
                      <a:gd name="connsiteX491" fmla="*/ 132078 w 751062"/>
                      <a:gd name="connsiteY491" fmla="*/ 611947 h 723778"/>
                      <a:gd name="connsiteX492" fmla="*/ 149701 w 751062"/>
                      <a:gd name="connsiteY492" fmla="*/ 617021 h 723778"/>
                      <a:gd name="connsiteX493" fmla="*/ 104621 w 751062"/>
                      <a:gd name="connsiteY493" fmla="*/ 635852 h 723778"/>
                      <a:gd name="connsiteX494" fmla="*/ 104644 w 751062"/>
                      <a:gd name="connsiteY494" fmla="*/ 635817 h 723778"/>
                      <a:gd name="connsiteX495" fmla="*/ 49901 w 751062"/>
                      <a:gd name="connsiteY495" fmla="*/ 320501 h 723778"/>
                      <a:gd name="connsiteX496" fmla="*/ 49893 w 751062"/>
                      <a:gd name="connsiteY496" fmla="*/ 320498 h 723778"/>
                      <a:gd name="connsiteX497" fmla="*/ 119769 w 751062"/>
                      <a:gd name="connsiteY497" fmla="*/ 294574 h 723778"/>
                      <a:gd name="connsiteX498" fmla="*/ 119954 w 751062"/>
                      <a:gd name="connsiteY498" fmla="*/ 301427 h 723778"/>
                      <a:gd name="connsiteX499" fmla="*/ 69063 w 751062"/>
                      <a:gd name="connsiteY499" fmla="*/ 297333 h 723778"/>
                      <a:gd name="connsiteX500" fmla="*/ 119635 w 751062"/>
                      <a:gd name="connsiteY500" fmla="*/ 289084 h 723778"/>
                      <a:gd name="connsiteX501" fmla="*/ 119769 w 751062"/>
                      <a:gd name="connsiteY501" fmla="*/ 294574 h 723778"/>
                      <a:gd name="connsiteX502" fmla="*/ 158502 w 751062"/>
                      <a:gd name="connsiteY502" fmla="*/ 618151 h 723778"/>
                      <a:gd name="connsiteX503" fmla="*/ 159795 w 751062"/>
                      <a:gd name="connsiteY503" fmla="*/ 619328 h 723778"/>
                      <a:gd name="connsiteX504" fmla="*/ 179922 w 751062"/>
                      <a:gd name="connsiteY504" fmla="*/ 621643 h 723778"/>
                      <a:gd name="connsiteX505" fmla="*/ 120631 w 751062"/>
                      <a:gd name="connsiteY505" fmla="*/ 641011 h 723778"/>
                      <a:gd name="connsiteX506" fmla="*/ 158502 w 751062"/>
                      <a:gd name="connsiteY506" fmla="*/ 618151 h 723778"/>
                      <a:gd name="connsiteX507" fmla="*/ 151891 w 751062"/>
                      <a:gd name="connsiteY507" fmla="*/ 613951 h 723778"/>
                      <a:gd name="connsiteX508" fmla="*/ 133360 w 751062"/>
                      <a:gd name="connsiteY508" fmla="*/ 609163 h 723778"/>
                      <a:gd name="connsiteX509" fmla="*/ 103639 w 751062"/>
                      <a:gd name="connsiteY509" fmla="*/ 600748 h 723778"/>
                      <a:gd name="connsiteX510" fmla="*/ 101923 w 751062"/>
                      <a:gd name="connsiteY510" fmla="*/ 597356 h 723778"/>
                      <a:gd name="connsiteX511" fmla="*/ 104618 w 751062"/>
                      <a:gd name="connsiteY511" fmla="*/ 589010 h 723778"/>
                      <a:gd name="connsiteX512" fmla="*/ 121445 w 751062"/>
                      <a:gd name="connsiteY512" fmla="*/ 591442 h 723778"/>
                      <a:gd name="connsiteX513" fmla="*/ 163107 w 751062"/>
                      <a:gd name="connsiteY513" fmla="*/ 600123 h 723778"/>
                      <a:gd name="connsiteX514" fmla="*/ 152317 w 751062"/>
                      <a:gd name="connsiteY514" fmla="*/ 614279 h 723778"/>
                      <a:gd name="connsiteX515" fmla="*/ 151891 w 751062"/>
                      <a:gd name="connsiteY515" fmla="*/ 613951 h 723778"/>
                      <a:gd name="connsiteX516" fmla="*/ 178192 w 751062"/>
                      <a:gd name="connsiteY516" fmla="*/ 618839 h 723778"/>
                      <a:gd name="connsiteX517" fmla="*/ 159961 w 751062"/>
                      <a:gd name="connsiteY517" fmla="*/ 616515 h 723778"/>
                      <a:gd name="connsiteX518" fmla="*/ 171299 w 751062"/>
                      <a:gd name="connsiteY518" fmla="*/ 601108 h 723778"/>
                      <a:gd name="connsiteX519" fmla="*/ 190764 w 751062"/>
                      <a:gd name="connsiteY519" fmla="*/ 605613 h 723778"/>
                      <a:gd name="connsiteX520" fmla="*/ 181598 w 751062"/>
                      <a:gd name="connsiteY520" fmla="*/ 619365 h 723778"/>
                      <a:gd name="connsiteX521" fmla="*/ 178192 w 751062"/>
                      <a:gd name="connsiteY521" fmla="*/ 618839 h 723778"/>
                      <a:gd name="connsiteX522" fmla="*/ 190427 w 751062"/>
                      <a:gd name="connsiteY522" fmla="*/ 601439 h 723778"/>
                      <a:gd name="connsiteX523" fmla="*/ 172750 w 751062"/>
                      <a:gd name="connsiteY523" fmla="*/ 598721 h 723778"/>
                      <a:gd name="connsiteX524" fmla="*/ 182621 w 751062"/>
                      <a:gd name="connsiteY524" fmla="*/ 384898 h 723778"/>
                      <a:gd name="connsiteX525" fmla="*/ 191552 w 751062"/>
                      <a:gd name="connsiteY525" fmla="*/ 387088 h 723778"/>
                      <a:gd name="connsiteX526" fmla="*/ 200018 w 751062"/>
                      <a:gd name="connsiteY526" fmla="*/ 388487 h 723778"/>
                      <a:gd name="connsiteX527" fmla="*/ 193154 w 751062"/>
                      <a:gd name="connsiteY527" fmla="*/ 601936 h 723778"/>
                      <a:gd name="connsiteX528" fmla="*/ 190427 w 751062"/>
                      <a:gd name="connsiteY528" fmla="*/ 601439 h 723778"/>
                      <a:gd name="connsiteX529" fmla="*/ 197226 w 751062"/>
                      <a:gd name="connsiteY529" fmla="*/ 384943 h 723778"/>
                      <a:gd name="connsiteX530" fmla="*/ 182141 w 751062"/>
                      <a:gd name="connsiteY530" fmla="*/ 383607 h 723778"/>
                      <a:gd name="connsiteX531" fmla="*/ 172653 w 751062"/>
                      <a:gd name="connsiteY531" fmla="*/ 361624 h 723778"/>
                      <a:gd name="connsiteX532" fmla="*/ 190641 w 751062"/>
                      <a:gd name="connsiteY532" fmla="*/ 365207 h 723778"/>
                      <a:gd name="connsiteX533" fmla="*/ 198825 w 751062"/>
                      <a:gd name="connsiteY533" fmla="*/ 385155 h 723778"/>
                      <a:gd name="connsiteX534" fmla="*/ 197226 w 751062"/>
                      <a:gd name="connsiteY534" fmla="*/ 384943 h 723778"/>
                      <a:gd name="connsiteX535" fmla="*/ 181667 w 751062"/>
                      <a:gd name="connsiteY535" fmla="*/ 360099 h 723778"/>
                      <a:gd name="connsiteX536" fmla="*/ 171545 w 751062"/>
                      <a:gd name="connsiteY536" fmla="*/ 359425 h 723778"/>
                      <a:gd name="connsiteX537" fmla="*/ 122761 w 751062"/>
                      <a:gd name="connsiteY537" fmla="*/ 302992 h 723778"/>
                      <a:gd name="connsiteX538" fmla="*/ 122204 w 751062"/>
                      <a:gd name="connsiteY538" fmla="*/ 289937 h 723778"/>
                      <a:gd name="connsiteX539" fmla="*/ 188962 w 751062"/>
                      <a:gd name="connsiteY539" fmla="*/ 361632 h 723778"/>
                      <a:gd name="connsiteX540" fmla="*/ 181667 w 751062"/>
                      <a:gd name="connsiteY540" fmla="*/ 360099 h 723778"/>
                      <a:gd name="connsiteX541" fmla="*/ 121730 w 751062"/>
                      <a:gd name="connsiteY541" fmla="*/ 464254 h 723778"/>
                      <a:gd name="connsiteX542" fmla="*/ 120208 w 751062"/>
                      <a:gd name="connsiteY542" fmla="*/ 458115 h 723778"/>
                      <a:gd name="connsiteX543" fmla="*/ 122952 w 751062"/>
                      <a:gd name="connsiteY543" fmla="*/ 453126 h 723778"/>
                      <a:gd name="connsiteX544" fmla="*/ 126736 w 751062"/>
                      <a:gd name="connsiteY544" fmla="*/ 446208 h 723778"/>
                      <a:gd name="connsiteX545" fmla="*/ 138171 w 751062"/>
                      <a:gd name="connsiteY545" fmla="*/ 474870 h 723778"/>
                      <a:gd name="connsiteX546" fmla="*/ 130419 w 751062"/>
                      <a:gd name="connsiteY546" fmla="*/ 478496 h 723778"/>
                      <a:gd name="connsiteX547" fmla="*/ 121162 w 751062"/>
                      <a:gd name="connsiteY547" fmla="*/ 470050 h 723778"/>
                      <a:gd name="connsiteX548" fmla="*/ 121730 w 751062"/>
                      <a:gd name="connsiteY548" fmla="*/ 464254 h 723778"/>
                      <a:gd name="connsiteX549" fmla="*/ 125648 w 751062"/>
                      <a:gd name="connsiteY549" fmla="*/ 342804 h 723778"/>
                      <a:gd name="connsiteX550" fmla="*/ 123698 w 751062"/>
                      <a:gd name="connsiteY550" fmla="*/ 315924 h 723778"/>
                      <a:gd name="connsiteX551" fmla="*/ 158927 w 751062"/>
                      <a:gd name="connsiteY551" fmla="*/ 356407 h 723778"/>
                      <a:gd name="connsiteX552" fmla="*/ 126036 w 751062"/>
                      <a:gd name="connsiteY552" fmla="*/ 351259 h 723778"/>
                      <a:gd name="connsiteX553" fmla="*/ 125648 w 751062"/>
                      <a:gd name="connsiteY553" fmla="*/ 342804 h 723778"/>
                      <a:gd name="connsiteX554" fmla="*/ 139159 w 751062"/>
                      <a:gd name="connsiteY554" fmla="*/ 448364 h 723778"/>
                      <a:gd name="connsiteX555" fmla="*/ 129594 w 751062"/>
                      <a:gd name="connsiteY555" fmla="*/ 441973 h 723778"/>
                      <a:gd name="connsiteX556" fmla="*/ 131136 w 751062"/>
                      <a:gd name="connsiteY556" fmla="*/ 376372 h 723778"/>
                      <a:gd name="connsiteX557" fmla="*/ 142871 w 751062"/>
                      <a:gd name="connsiteY557" fmla="*/ 378770 h 723778"/>
                      <a:gd name="connsiteX558" fmla="*/ 140210 w 751062"/>
                      <a:gd name="connsiteY558" fmla="*/ 449948 h 723778"/>
                      <a:gd name="connsiteX559" fmla="*/ 139159 w 751062"/>
                      <a:gd name="connsiteY559" fmla="*/ 448364 h 723778"/>
                      <a:gd name="connsiteX560" fmla="*/ 141147 w 751062"/>
                      <a:gd name="connsiteY560" fmla="*/ 375409 h 723778"/>
                      <a:gd name="connsiteX561" fmla="*/ 130559 w 751062"/>
                      <a:gd name="connsiteY561" fmla="*/ 373608 h 723778"/>
                      <a:gd name="connsiteX562" fmla="*/ 129437 w 751062"/>
                      <a:gd name="connsiteY562" fmla="*/ 373005 h 723778"/>
                      <a:gd name="connsiteX563" fmla="*/ 127709 w 751062"/>
                      <a:gd name="connsiteY563" fmla="*/ 354834 h 723778"/>
                      <a:gd name="connsiteX564" fmla="*/ 158953 w 751062"/>
                      <a:gd name="connsiteY564" fmla="*/ 359742 h 723778"/>
                      <a:gd name="connsiteX565" fmla="*/ 160520 w 751062"/>
                      <a:gd name="connsiteY565" fmla="*/ 359222 h 723778"/>
                      <a:gd name="connsiteX566" fmla="*/ 170925 w 751062"/>
                      <a:gd name="connsiteY566" fmla="*/ 380926 h 723778"/>
                      <a:gd name="connsiteX567" fmla="*/ 141147 w 751062"/>
                      <a:gd name="connsiteY567" fmla="*/ 375409 h 723778"/>
                      <a:gd name="connsiteX568" fmla="*/ 110349 w 751062"/>
                      <a:gd name="connsiteY568" fmla="*/ 458243 h 723778"/>
                      <a:gd name="connsiteX569" fmla="*/ 108796 w 751062"/>
                      <a:gd name="connsiteY569" fmla="*/ 455156 h 723778"/>
                      <a:gd name="connsiteX570" fmla="*/ 117170 w 751062"/>
                      <a:gd name="connsiteY570" fmla="*/ 459731 h 723778"/>
                      <a:gd name="connsiteX571" fmla="*/ 111631 w 751062"/>
                      <a:gd name="connsiteY571" fmla="*/ 472731 h 723778"/>
                      <a:gd name="connsiteX572" fmla="*/ 110349 w 751062"/>
                      <a:gd name="connsiteY572" fmla="*/ 458243 h 723778"/>
                      <a:gd name="connsiteX573" fmla="*/ 96960 w 751062"/>
                      <a:gd name="connsiteY573" fmla="*/ 478245 h 723778"/>
                      <a:gd name="connsiteX574" fmla="*/ 93794 w 751062"/>
                      <a:gd name="connsiteY574" fmla="*/ 455005 h 723778"/>
                      <a:gd name="connsiteX575" fmla="*/ 102197 w 751062"/>
                      <a:gd name="connsiteY575" fmla="*/ 451496 h 723778"/>
                      <a:gd name="connsiteX576" fmla="*/ 109472 w 751062"/>
                      <a:gd name="connsiteY576" fmla="*/ 466130 h 723778"/>
                      <a:gd name="connsiteX577" fmla="*/ 103656 w 751062"/>
                      <a:gd name="connsiteY577" fmla="*/ 481220 h 723778"/>
                      <a:gd name="connsiteX578" fmla="*/ 96323 w 751062"/>
                      <a:gd name="connsiteY578" fmla="*/ 478185 h 723778"/>
                      <a:gd name="connsiteX579" fmla="*/ 96960 w 751062"/>
                      <a:gd name="connsiteY579" fmla="*/ 478245 h 723778"/>
                      <a:gd name="connsiteX580" fmla="*/ 92497 w 751062"/>
                      <a:gd name="connsiteY580" fmla="*/ 466001 h 723778"/>
                      <a:gd name="connsiteX581" fmla="*/ 93968 w 751062"/>
                      <a:gd name="connsiteY581" fmla="*/ 458340 h 723778"/>
                      <a:gd name="connsiteX582" fmla="*/ 99810 w 751062"/>
                      <a:gd name="connsiteY582" fmla="*/ 465085 h 723778"/>
                      <a:gd name="connsiteX583" fmla="*/ 96392 w 751062"/>
                      <a:gd name="connsiteY583" fmla="*/ 473962 h 723778"/>
                      <a:gd name="connsiteX584" fmla="*/ 92497 w 751062"/>
                      <a:gd name="connsiteY584" fmla="*/ 466001 h 723778"/>
                      <a:gd name="connsiteX585" fmla="*/ 197674 w 751062"/>
                      <a:gd name="connsiteY585" fmla="*/ 624473 h 723778"/>
                      <a:gd name="connsiteX586" fmla="*/ 79725 w 751062"/>
                      <a:gd name="connsiteY586" fmla="*/ 634604 h 723778"/>
                      <a:gd name="connsiteX587" fmla="*/ 110095 w 751062"/>
                      <a:gd name="connsiteY587" fmla="*/ 642150 h 723778"/>
                      <a:gd name="connsiteX588" fmla="*/ 196212 w 751062"/>
                      <a:gd name="connsiteY588" fmla="*/ 604563 h 723778"/>
                      <a:gd name="connsiteX589" fmla="*/ 136872 w 751062"/>
                      <a:gd name="connsiteY589" fmla="*/ 292516 h 723778"/>
                      <a:gd name="connsiteX590" fmla="*/ 53539 w 751062"/>
                      <a:gd name="connsiteY590" fmla="*/ 305725 h 723778"/>
                      <a:gd name="connsiteX591" fmla="*/ 53573 w 751062"/>
                      <a:gd name="connsiteY591" fmla="*/ 305756 h 723778"/>
                      <a:gd name="connsiteX592" fmla="*/ 27641 w 751062"/>
                      <a:gd name="connsiteY592" fmla="*/ 334606 h 723778"/>
                      <a:gd name="connsiteX593" fmla="*/ 179860 w 751062"/>
                      <a:gd name="connsiteY593" fmla="*/ 316358 h 723778"/>
                      <a:gd name="connsiteX594" fmla="*/ 197674 w 751062"/>
                      <a:gd name="connsiteY594" fmla="*/ 624473 h 723778"/>
                      <a:gd name="connsiteX595" fmla="*/ 308821 w 751062"/>
                      <a:gd name="connsiteY595" fmla="*/ 446450 h 723778"/>
                      <a:gd name="connsiteX596" fmla="*/ 311368 w 751062"/>
                      <a:gd name="connsiteY596" fmla="*/ 544792 h 723778"/>
                      <a:gd name="connsiteX597" fmla="*/ 292743 w 751062"/>
                      <a:gd name="connsiteY597" fmla="*/ 552147 h 723778"/>
                      <a:gd name="connsiteX598" fmla="*/ 290873 w 751062"/>
                      <a:gd name="connsiteY598" fmla="*/ 554585 h 723778"/>
                      <a:gd name="connsiteX599" fmla="*/ 248948 w 751062"/>
                      <a:gd name="connsiteY599" fmla="*/ 588110 h 723778"/>
                      <a:gd name="connsiteX600" fmla="*/ 236627 w 751062"/>
                      <a:gd name="connsiteY600" fmla="*/ 608163 h 723778"/>
                      <a:gd name="connsiteX601" fmla="*/ 213179 w 751062"/>
                      <a:gd name="connsiteY601" fmla="*/ 605653 h 723778"/>
                      <a:gd name="connsiteX602" fmla="*/ 229017 w 751062"/>
                      <a:gd name="connsiteY602" fmla="*/ 417757 h 723778"/>
                      <a:gd name="connsiteX603" fmla="*/ 286019 w 751062"/>
                      <a:gd name="connsiteY603" fmla="*/ 423739 h 723778"/>
                      <a:gd name="connsiteX604" fmla="*/ 289434 w 751062"/>
                      <a:gd name="connsiteY604" fmla="*/ 424361 h 723778"/>
                      <a:gd name="connsiteX605" fmla="*/ 308807 w 751062"/>
                      <a:gd name="connsiteY605" fmla="*/ 425992 h 723778"/>
                      <a:gd name="connsiteX606" fmla="*/ 308821 w 751062"/>
                      <a:gd name="connsiteY606" fmla="*/ 446450 h 723778"/>
                      <a:gd name="connsiteX607" fmla="*/ 285145 w 751062"/>
                      <a:gd name="connsiteY607" fmla="*/ 410847 h 723778"/>
                      <a:gd name="connsiteX608" fmla="*/ 283791 w 751062"/>
                      <a:gd name="connsiteY608" fmla="*/ 420430 h 723778"/>
                      <a:gd name="connsiteX609" fmla="*/ 228346 w 751062"/>
                      <a:gd name="connsiteY609" fmla="*/ 414839 h 723778"/>
                      <a:gd name="connsiteX610" fmla="*/ 222604 w 751062"/>
                      <a:gd name="connsiteY610" fmla="*/ 393632 h 723778"/>
                      <a:gd name="connsiteX611" fmla="*/ 284482 w 751062"/>
                      <a:gd name="connsiteY611" fmla="*/ 402424 h 723778"/>
                      <a:gd name="connsiteX612" fmla="*/ 286610 w 751062"/>
                      <a:gd name="connsiteY612" fmla="*/ 409642 h 723778"/>
                      <a:gd name="connsiteX613" fmla="*/ 285145 w 751062"/>
                      <a:gd name="connsiteY613" fmla="*/ 410847 h 723778"/>
                      <a:gd name="connsiteX614" fmla="*/ 236570 w 751062"/>
                      <a:gd name="connsiteY614" fmla="*/ 630626 h 723778"/>
                      <a:gd name="connsiteX615" fmla="*/ 201946 w 751062"/>
                      <a:gd name="connsiteY615" fmla="*/ 625036 h 723778"/>
                      <a:gd name="connsiteX616" fmla="*/ 211243 w 751062"/>
                      <a:gd name="connsiteY616" fmla="*/ 609131 h 723778"/>
                      <a:gd name="connsiteX617" fmla="*/ 231010 w 751062"/>
                      <a:gd name="connsiteY617" fmla="*/ 612780 h 723778"/>
                      <a:gd name="connsiteX618" fmla="*/ 243134 w 751062"/>
                      <a:gd name="connsiteY618" fmla="*/ 609605 h 723778"/>
                      <a:gd name="connsiteX619" fmla="*/ 264366 w 751062"/>
                      <a:gd name="connsiteY619" fmla="*/ 564311 h 723778"/>
                      <a:gd name="connsiteX620" fmla="*/ 290858 w 751062"/>
                      <a:gd name="connsiteY620" fmla="*/ 559217 h 723778"/>
                      <a:gd name="connsiteX621" fmla="*/ 290901 w 751062"/>
                      <a:gd name="connsiteY621" fmla="*/ 562144 h 723778"/>
                      <a:gd name="connsiteX622" fmla="*/ 292769 w 751062"/>
                      <a:gd name="connsiteY622" fmla="*/ 564371 h 723778"/>
                      <a:gd name="connsiteX623" fmla="*/ 292109 w 751062"/>
                      <a:gd name="connsiteY623" fmla="*/ 573225 h 723778"/>
                      <a:gd name="connsiteX624" fmla="*/ 261017 w 751062"/>
                      <a:gd name="connsiteY624" fmla="*/ 602484 h 723778"/>
                      <a:gd name="connsiteX625" fmla="*/ 253036 w 751062"/>
                      <a:gd name="connsiteY625" fmla="*/ 622417 h 723778"/>
                      <a:gd name="connsiteX626" fmla="*/ 242623 w 751062"/>
                      <a:gd name="connsiteY626" fmla="*/ 629664 h 723778"/>
                      <a:gd name="connsiteX627" fmla="*/ 236570 w 751062"/>
                      <a:gd name="connsiteY627" fmla="*/ 630626 h 723778"/>
                      <a:gd name="connsiteX628" fmla="*/ 296649 w 751062"/>
                      <a:gd name="connsiteY628" fmla="*/ 591539 h 723778"/>
                      <a:gd name="connsiteX629" fmla="*/ 292694 w 751062"/>
                      <a:gd name="connsiteY629" fmla="*/ 600891 h 723778"/>
                      <a:gd name="connsiteX630" fmla="*/ 284988 w 751062"/>
                      <a:gd name="connsiteY630" fmla="*/ 618300 h 723778"/>
                      <a:gd name="connsiteX631" fmla="*/ 256706 w 751062"/>
                      <a:gd name="connsiteY631" fmla="*/ 621329 h 723778"/>
                      <a:gd name="connsiteX632" fmla="*/ 271259 w 751062"/>
                      <a:gd name="connsiteY632" fmla="*/ 587276 h 723778"/>
                      <a:gd name="connsiteX633" fmla="*/ 292152 w 751062"/>
                      <a:gd name="connsiteY633" fmla="*/ 576843 h 723778"/>
                      <a:gd name="connsiteX634" fmla="*/ 296649 w 751062"/>
                      <a:gd name="connsiteY634" fmla="*/ 591539 h 723778"/>
                      <a:gd name="connsiteX635" fmla="*/ 325397 w 751062"/>
                      <a:gd name="connsiteY635" fmla="*/ 670667 h 723778"/>
                      <a:gd name="connsiteX636" fmla="*/ 227187 w 751062"/>
                      <a:gd name="connsiteY636" fmla="*/ 670664 h 723778"/>
                      <a:gd name="connsiteX637" fmla="*/ 283409 w 751062"/>
                      <a:gd name="connsiteY637" fmla="*/ 622080 h 723778"/>
                      <a:gd name="connsiteX638" fmla="*/ 278992 w 751062"/>
                      <a:gd name="connsiteY638" fmla="*/ 632731 h 723778"/>
                      <a:gd name="connsiteX639" fmla="*/ 276293 w 751062"/>
                      <a:gd name="connsiteY639" fmla="*/ 708700 h 723778"/>
                      <a:gd name="connsiteX640" fmla="*/ 301377 w 751062"/>
                      <a:gd name="connsiteY640" fmla="*/ 642088 h 723778"/>
                      <a:gd name="connsiteX641" fmla="*/ 305789 w 751062"/>
                      <a:gd name="connsiteY641" fmla="*/ 631437 h 723778"/>
                      <a:gd name="connsiteX642" fmla="*/ 325397 w 751062"/>
                      <a:gd name="connsiteY642" fmla="*/ 670667 h 723778"/>
                      <a:gd name="connsiteX643" fmla="*/ 260486 w 751062"/>
                      <a:gd name="connsiteY643" fmla="*/ 683182 h 723778"/>
                      <a:gd name="connsiteX644" fmla="*/ 264509 w 751062"/>
                      <a:gd name="connsiteY644" fmla="*/ 684056 h 723778"/>
                      <a:gd name="connsiteX645" fmla="*/ 257242 w 751062"/>
                      <a:gd name="connsiteY645" fmla="*/ 691020 h 723778"/>
                      <a:gd name="connsiteX646" fmla="*/ 247631 w 751062"/>
                      <a:gd name="connsiteY646" fmla="*/ 672186 h 723778"/>
                      <a:gd name="connsiteX647" fmla="*/ 249964 w 751062"/>
                      <a:gd name="connsiteY647" fmla="*/ 668939 h 723778"/>
                      <a:gd name="connsiteX648" fmla="*/ 262665 w 751062"/>
                      <a:gd name="connsiteY648" fmla="*/ 672263 h 723778"/>
                      <a:gd name="connsiteX649" fmla="*/ 259161 w 751062"/>
                      <a:gd name="connsiteY649" fmla="*/ 680449 h 723778"/>
                      <a:gd name="connsiteX650" fmla="*/ 260486 w 751062"/>
                      <a:gd name="connsiteY650" fmla="*/ 683182 h 723778"/>
                      <a:gd name="connsiteX651" fmla="*/ 251752 w 751062"/>
                      <a:gd name="connsiteY651" fmla="*/ 661338 h 723778"/>
                      <a:gd name="connsiteX652" fmla="*/ 249741 w 751062"/>
                      <a:gd name="connsiteY652" fmla="*/ 657895 h 723778"/>
                      <a:gd name="connsiteX653" fmla="*/ 265529 w 751062"/>
                      <a:gd name="connsiteY653" fmla="*/ 643829 h 723778"/>
                      <a:gd name="connsiteX654" fmla="*/ 269261 w 751062"/>
                      <a:gd name="connsiteY654" fmla="*/ 645266 h 723778"/>
                      <a:gd name="connsiteX655" fmla="*/ 269261 w 751062"/>
                      <a:gd name="connsiteY655" fmla="*/ 656419 h 723778"/>
                      <a:gd name="connsiteX656" fmla="*/ 266000 w 751062"/>
                      <a:gd name="connsiteY656" fmla="*/ 664319 h 723778"/>
                      <a:gd name="connsiteX657" fmla="*/ 251752 w 751062"/>
                      <a:gd name="connsiteY657" fmla="*/ 661338 h 723778"/>
                      <a:gd name="connsiteX658" fmla="*/ 292069 w 751062"/>
                      <a:gd name="connsiteY658" fmla="*/ 691271 h 723778"/>
                      <a:gd name="connsiteX659" fmla="*/ 291447 w 751062"/>
                      <a:gd name="connsiteY659" fmla="*/ 695209 h 723778"/>
                      <a:gd name="connsiteX660" fmla="*/ 270323 w 751062"/>
                      <a:gd name="connsiteY660" fmla="*/ 696125 h 723778"/>
                      <a:gd name="connsiteX661" fmla="*/ 268338 w 751062"/>
                      <a:gd name="connsiteY661" fmla="*/ 692653 h 723778"/>
                      <a:gd name="connsiteX662" fmla="*/ 275220 w 751062"/>
                      <a:gd name="connsiteY662" fmla="*/ 684221 h 723778"/>
                      <a:gd name="connsiteX663" fmla="*/ 285028 w 751062"/>
                      <a:gd name="connsiteY663" fmla="*/ 681906 h 723778"/>
                      <a:gd name="connsiteX664" fmla="*/ 292069 w 751062"/>
                      <a:gd name="connsiteY664" fmla="*/ 691271 h 723778"/>
                      <a:gd name="connsiteX665" fmla="*/ 287857 w 751062"/>
                      <a:gd name="connsiteY665" fmla="*/ 674684 h 723778"/>
                      <a:gd name="connsiteX666" fmla="*/ 290122 w 751062"/>
                      <a:gd name="connsiteY666" fmla="*/ 669139 h 723778"/>
                      <a:gd name="connsiteX667" fmla="*/ 301041 w 751062"/>
                      <a:gd name="connsiteY667" fmla="*/ 663157 h 723778"/>
                      <a:gd name="connsiteX668" fmla="*/ 304841 w 751062"/>
                      <a:gd name="connsiteY668" fmla="*/ 664362 h 723778"/>
                      <a:gd name="connsiteX669" fmla="*/ 302577 w 751062"/>
                      <a:gd name="connsiteY669" fmla="*/ 685383 h 723778"/>
                      <a:gd name="connsiteX670" fmla="*/ 298848 w 751062"/>
                      <a:gd name="connsiteY670" fmla="*/ 686825 h 723778"/>
                      <a:gd name="connsiteX671" fmla="*/ 287857 w 751062"/>
                      <a:gd name="connsiteY671" fmla="*/ 674684 h 723778"/>
                      <a:gd name="connsiteX672" fmla="*/ 312436 w 751062"/>
                      <a:gd name="connsiteY672" fmla="*/ 606082 h 723778"/>
                      <a:gd name="connsiteX673" fmla="*/ 282349 w 751062"/>
                      <a:gd name="connsiteY673" fmla="*/ 679601 h 723778"/>
                      <a:gd name="connsiteX674" fmla="*/ 262962 w 751062"/>
                      <a:gd name="connsiteY674" fmla="*/ 680972 h 723778"/>
                      <a:gd name="connsiteX675" fmla="*/ 294545 w 751062"/>
                      <a:gd name="connsiteY675" fmla="*/ 602695 h 723778"/>
                      <a:gd name="connsiteX676" fmla="*/ 312930 w 751062"/>
                      <a:gd name="connsiteY676" fmla="*/ 605191 h 723778"/>
                      <a:gd name="connsiteX677" fmla="*/ 312436 w 751062"/>
                      <a:gd name="connsiteY677" fmla="*/ 606082 h 723778"/>
                      <a:gd name="connsiteX678" fmla="*/ 314558 w 751062"/>
                      <a:gd name="connsiteY678" fmla="*/ 596368 h 723778"/>
                      <a:gd name="connsiteX679" fmla="*/ 313872 w 751062"/>
                      <a:gd name="connsiteY679" fmla="*/ 601316 h 723778"/>
                      <a:gd name="connsiteX680" fmla="*/ 296703 w 751062"/>
                      <a:gd name="connsiteY680" fmla="*/ 599189 h 723778"/>
                      <a:gd name="connsiteX681" fmla="*/ 299067 w 751062"/>
                      <a:gd name="connsiteY681" fmla="*/ 592150 h 723778"/>
                      <a:gd name="connsiteX682" fmla="*/ 315380 w 751062"/>
                      <a:gd name="connsiteY682" fmla="*/ 592684 h 723778"/>
                      <a:gd name="connsiteX683" fmla="*/ 314558 w 751062"/>
                      <a:gd name="connsiteY683" fmla="*/ 596368 h 723778"/>
                      <a:gd name="connsiteX684" fmla="*/ 316939 w 751062"/>
                      <a:gd name="connsiteY684" fmla="*/ 571506 h 723778"/>
                      <a:gd name="connsiteX685" fmla="*/ 316357 w 751062"/>
                      <a:gd name="connsiteY685" fmla="*/ 588678 h 723778"/>
                      <a:gd name="connsiteX686" fmla="*/ 300027 w 751062"/>
                      <a:gd name="connsiteY686" fmla="*/ 588778 h 723778"/>
                      <a:gd name="connsiteX687" fmla="*/ 295961 w 751062"/>
                      <a:gd name="connsiteY687" fmla="*/ 583262 h 723778"/>
                      <a:gd name="connsiteX688" fmla="*/ 294376 w 751062"/>
                      <a:gd name="connsiteY688" fmla="*/ 564745 h 723778"/>
                      <a:gd name="connsiteX689" fmla="*/ 317159 w 751062"/>
                      <a:gd name="connsiteY689" fmla="*/ 565087 h 723778"/>
                      <a:gd name="connsiteX690" fmla="*/ 316939 w 751062"/>
                      <a:gd name="connsiteY690" fmla="*/ 571506 h 723778"/>
                      <a:gd name="connsiteX691" fmla="*/ 318193 w 751062"/>
                      <a:gd name="connsiteY691" fmla="*/ 561090 h 723778"/>
                      <a:gd name="connsiteX692" fmla="*/ 293836 w 751062"/>
                      <a:gd name="connsiteY692" fmla="*/ 561924 h 723778"/>
                      <a:gd name="connsiteX693" fmla="*/ 294527 w 751062"/>
                      <a:gd name="connsiteY693" fmla="*/ 554474 h 723778"/>
                      <a:gd name="connsiteX694" fmla="*/ 318935 w 751062"/>
                      <a:gd name="connsiteY694" fmla="*/ 556273 h 723778"/>
                      <a:gd name="connsiteX695" fmla="*/ 318193 w 751062"/>
                      <a:gd name="connsiteY695" fmla="*/ 561090 h 723778"/>
                      <a:gd name="connsiteX696" fmla="*/ 386804 w 751062"/>
                      <a:gd name="connsiteY696" fmla="*/ 634253 h 723778"/>
                      <a:gd name="connsiteX697" fmla="*/ 383237 w 751062"/>
                      <a:gd name="connsiteY697" fmla="*/ 597090 h 723778"/>
                      <a:gd name="connsiteX698" fmla="*/ 389508 w 751062"/>
                      <a:gd name="connsiteY698" fmla="*/ 598281 h 723778"/>
                      <a:gd name="connsiteX699" fmla="*/ 397868 w 751062"/>
                      <a:gd name="connsiteY699" fmla="*/ 643056 h 723778"/>
                      <a:gd name="connsiteX700" fmla="*/ 387678 w 751062"/>
                      <a:gd name="connsiteY700" fmla="*/ 639843 h 723778"/>
                      <a:gd name="connsiteX701" fmla="*/ 386804 w 751062"/>
                      <a:gd name="connsiteY701" fmla="*/ 634253 h 723778"/>
                      <a:gd name="connsiteX702" fmla="*/ 390322 w 751062"/>
                      <a:gd name="connsiteY702" fmla="*/ 651953 h 723778"/>
                      <a:gd name="connsiteX703" fmla="*/ 388226 w 751062"/>
                      <a:gd name="connsiteY703" fmla="*/ 644072 h 723778"/>
                      <a:gd name="connsiteX704" fmla="*/ 398688 w 751062"/>
                      <a:gd name="connsiteY704" fmla="*/ 647501 h 723778"/>
                      <a:gd name="connsiteX705" fmla="*/ 400664 w 751062"/>
                      <a:gd name="connsiteY705" fmla="*/ 658383 h 723778"/>
                      <a:gd name="connsiteX706" fmla="*/ 390322 w 751062"/>
                      <a:gd name="connsiteY706" fmla="*/ 651953 h 723778"/>
                      <a:gd name="connsiteX707" fmla="*/ 414524 w 751062"/>
                      <a:gd name="connsiteY707" fmla="*/ 684510 h 723778"/>
                      <a:gd name="connsiteX708" fmla="*/ 413627 w 751062"/>
                      <a:gd name="connsiteY708" fmla="*/ 684572 h 723778"/>
                      <a:gd name="connsiteX709" fmla="*/ 412528 w 751062"/>
                      <a:gd name="connsiteY709" fmla="*/ 680586 h 723778"/>
                      <a:gd name="connsiteX710" fmla="*/ 416188 w 751062"/>
                      <a:gd name="connsiteY710" fmla="*/ 680475 h 723778"/>
                      <a:gd name="connsiteX711" fmla="*/ 416674 w 751062"/>
                      <a:gd name="connsiteY711" fmla="*/ 682579 h 723778"/>
                      <a:gd name="connsiteX712" fmla="*/ 414524 w 751062"/>
                      <a:gd name="connsiteY712" fmla="*/ 684510 h 723778"/>
                      <a:gd name="connsiteX713" fmla="*/ 408573 w 751062"/>
                      <a:gd name="connsiteY713" fmla="*/ 677603 h 723778"/>
                      <a:gd name="connsiteX714" fmla="*/ 380294 w 751062"/>
                      <a:gd name="connsiteY714" fmla="*/ 525464 h 723778"/>
                      <a:gd name="connsiteX715" fmla="*/ 366191 w 751062"/>
                      <a:gd name="connsiteY715" fmla="*/ 459548 h 723778"/>
                      <a:gd name="connsiteX716" fmla="*/ 328229 w 751062"/>
                      <a:gd name="connsiteY716" fmla="*/ 424627 h 723778"/>
                      <a:gd name="connsiteX717" fmla="*/ 326824 w 751062"/>
                      <a:gd name="connsiteY717" fmla="*/ 424810 h 723778"/>
                      <a:gd name="connsiteX718" fmla="*/ 326459 w 751062"/>
                      <a:gd name="connsiteY718" fmla="*/ 428153 h 723778"/>
                      <a:gd name="connsiteX719" fmla="*/ 328912 w 751062"/>
                      <a:gd name="connsiteY719" fmla="*/ 562241 h 723778"/>
                      <a:gd name="connsiteX720" fmla="*/ 330105 w 751062"/>
                      <a:gd name="connsiteY720" fmla="*/ 570007 h 723778"/>
                      <a:gd name="connsiteX721" fmla="*/ 332461 w 751062"/>
                      <a:gd name="connsiteY721" fmla="*/ 568574 h 723778"/>
                      <a:gd name="connsiteX722" fmla="*/ 357788 w 751062"/>
                      <a:gd name="connsiteY722" fmla="*/ 574750 h 723778"/>
                      <a:gd name="connsiteX723" fmla="*/ 385830 w 751062"/>
                      <a:gd name="connsiteY723" fmla="*/ 578987 h 723778"/>
                      <a:gd name="connsiteX724" fmla="*/ 388871 w 751062"/>
                      <a:gd name="connsiteY724" fmla="*/ 594957 h 723778"/>
                      <a:gd name="connsiteX725" fmla="*/ 319814 w 751062"/>
                      <a:gd name="connsiteY725" fmla="*/ 579633 h 723778"/>
                      <a:gd name="connsiteX726" fmla="*/ 319914 w 751062"/>
                      <a:gd name="connsiteY726" fmla="*/ 564619 h 723778"/>
                      <a:gd name="connsiteX727" fmla="*/ 322370 w 751062"/>
                      <a:gd name="connsiteY727" fmla="*/ 561264 h 723778"/>
                      <a:gd name="connsiteX728" fmla="*/ 322019 w 751062"/>
                      <a:gd name="connsiteY728" fmla="*/ 556142 h 723778"/>
                      <a:gd name="connsiteX729" fmla="*/ 314943 w 751062"/>
                      <a:gd name="connsiteY729" fmla="*/ 546676 h 723778"/>
                      <a:gd name="connsiteX730" fmla="*/ 312182 w 751062"/>
                      <a:gd name="connsiteY730" fmla="*/ 436465 h 723778"/>
                      <a:gd name="connsiteX731" fmla="*/ 309786 w 751062"/>
                      <a:gd name="connsiteY731" fmla="*/ 422531 h 723778"/>
                      <a:gd name="connsiteX732" fmla="*/ 288611 w 751062"/>
                      <a:gd name="connsiteY732" fmla="*/ 421469 h 723778"/>
                      <a:gd name="connsiteX733" fmla="*/ 287817 w 751062"/>
                      <a:gd name="connsiteY733" fmla="*/ 411173 h 723778"/>
                      <a:gd name="connsiteX734" fmla="*/ 289251 w 751062"/>
                      <a:gd name="connsiteY734" fmla="*/ 410279 h 723778"/>
                      <a:gd name="connsiteX735" fmla="*/ 289902 w 751062"/>
                      <a:gd name="connsiteY735" fmla="*/ 409899 h 723778"/>
                      <a:gd name="connsiteX736" fmla="*/ 305906 w 751062"/>
                      <a:gd name="connsiteY736" fmla="*/ 412175 h 723778"/>
                      <a:gd name="connsiteX737" fmla="*/ 311602 w 751062"/>
                      <a:gd name="connsiteY737" fmla="*/ 410656 h 723778"/>
                      <a:gd name="connsiteX738" fmla="*/ 311428 w 751062"/>
                      <a:gd name="connsiteY738" fmla="*/ 403969 h 723778"/>
                      <a:gd name="connsiteX739" fmla="*/ 293008 w 751062"/>
                      <a:gd name="connsiteY739" fmla="*/ 399457 h 723778"/>
                      <a:gd name="connsiteX740" fmla="*/ 221827 w 751062"/>
                      <a:gd name="connsiteY740" fmla="*/ 391177 h 723778"/>
                      <a:gd name="connsiteX741" fmla="*/ 213798 w 751062"/>
                      <a:gd name="connsiteY741" fmla="*/ 368911 h 723778"/>
                      <a:gd name="connsiteX742" fmla="*/ 305920 w 751062"/>
                      <a:gd name="connsiteY742" fmla="*/ 384292 h 723778"/>
                      <a:gd name="connsiteX743" fmla="*/ 308170 w 751062"/>
                      <a:gd name="connsiteY743" fmla="*/ 382319 h 723778"/>
                      <a:gd name="connsiteX744" fmla="*/ 310209 w 751062"/>
                      <a:gd name="connsiteY744" fmla="*/ 356544 h 723778"/>
                      <a:gd name="connsiteX745" fmla="*/ 310192 w 751062"/>
                      <a:gd name="connsiteY745" fmla="*/ 333007 h 723778"/>
                      <a:gd name="connsiteX746" fmla="*/ 310306 w 751062"/>
                      <a:gd name="connsiteY746" fmla="*/ 266192 h 723778"/>
                      <a:gd name="connsiteX747" fmla="*/ 322339 w 751062"/>
                      <a:gd name="connsiteY747" fmla="*/ 266626 h 723778"/>
                      <a:gd name="connsiteX748" fmla="*/ 321830 w 751062"/>
                      <a:gd name="connsiteY748" fmla="*/ 281842 h 723778"/>
                      <a:gd name="connsiteX749" fmla="*/ 324826 w 751062"/>
                      <a:gd name="connsiteY749" fmla="*/ 411724 h 723778"/>
                      <a:gd name="connsiteX750" fmla="*/ 326390 w 751062"/>
                      <a:gd name="connsiteY750" fmla="*/ 414388 h 723778"/>
                      <a:gd name="connsiteX751" fmla="*/ 357485 w 751062"/>
                      <a:gd name="connsiteY751" fmla="*/ 424456 h 723778"/>
                      <a:gd name="connsiteX752" fmla="*/ 374243 w 751062"/>
                      <a:gd name="connsiteY752" fmla="*/ 454203 h 723778"/>
                      <a:gd name="connsiteX753" fmla="*/ 416816 w 751062"/>
                      <a:gd name="connsiteY753" fmla="*/ 676586 h 723778"/>
                      <a:gd name="connsiteX754" fmla="*/ 408573 w 751062"/>
                      <a:gd name="connsiteY754" fmla="*/ 677603 h 723778"/>
                      <a:gd name="connsiteX755" fmla="*/ 370097 w 751062"/>
                      <a:gd name="connsiteY755" fmla="*/ 514613 h 723778"/>
                      <a:gd name="connsiteX756" fmla="*/ 360289 w 751062"/>
                      <a:gd name="connsiteY756" fmla="*/ 486611 h 723778"/>
                      <a:gd name="connsiteX757" fmla="*/ 350332 w 751062"/>
                      <a:gd name="connsiteY757" fmla="*/ 440283 h 723778"/>
                      <a:gd name="connsiteX758" fmla="*/ 361508 w 751062"/>
                      <a:gd name="connsiteY758" fmla="*/ 460025 h 723778"/>
                      <a:gd name="connsiteX759" fmla="*/ 381541 w 751062"/>
                      <a:gd name="connsiteY759" fmla="*/ 556656 h 723778"/>
                      <a:gd name="connsiteX760" fmla="*/ 368869 w 751062"/>
                      <a:gd name="connsiteY760" fmla="*/ 531891 h 723778"/>
                      <a:gd name="connsiteX761" fmla="*/ 370583 w 751062"/>
                      <a:gd name="connsiteY761" fmla="*/ 515921 h 723778"/>
                      <a:gd name="connsiteX762" fmla="*/ 370097 w 751062"/>
                      <a:gd name="connsiteY762" fmla="*/ 514613 h 723778"/>
                      <a:gd name="connsiteX763" fmla="*/ 354139 w 751062"/>
                      <a:gd name="connsiteY763" fmla="*/ 483878 h 723778"/>
                      <a:gd name="connsiteX764" fmla="*/ 368273 w 751062"/>
                      <a:gd name="connsiteY764" fmla="*/ 515025 h 723778"/>
                      <a:gd name="connsiteX765" fmla="*/ 365688 w 751062"/>
                      <a:gd name="connsiteY765" fmla="*/ 547484 h 723778"/>
                      <a:gd name="connsiteX766" fmla="*/ 382980 w 751062"/>
                      <a:gd name="connsiteY766" fmla="*/ 564111 h 723778"/>
                      <a:gd name="connsiteX767" fmla="*/ 385265 w 751062"/>
                      <a:gd name="connsiteY767" fmla="*/ 576003 h 723778"/>
                      <a:gd name="connsiteX768" fmla="*/ 344485 w 751062"/>
                      <a:gd name="connsiteY768" fmla="*/ 568194 h 723778"/>
                      <a:gd name="connsiteX769" fmla="*/ 332649 w 751062"/>
                      <a:gd name="connsiteY769" fmla="*/ 566047 h 723778"/>
                      <a:gd name="connsiteX770" fmla="*/ 328620 w 751062"/>
                      <a:gd name="connsiteY770" fmla="*/ 428296 h 723778"/>
                      <a:gd name="connsiteX771" fmla="*/ 344405 w 751062"/>
                      <a:gd name="connsiteY771" fmla="*/ 434467 h 723778"/>
                      <a:gd name="connsiteX772" fmla="*/ 354139 w 751062"/>
                      <a:gd name="connsiteY772" fmla="*/ 483878 h 723778"/>
                      <a:gd name="connsiteX773" fmla="*/ 286912 w 751062"/>
                      <a:gd name="connsiteY773" fmla="*/ 402801 h 723778"/>
                      <a:gd name="connsiteX774" fmla="*/ 308216 w 751062"/>
                      <a:gd name="connsiteY774" fmla="*/ 405927 h 723778"/>
                      <a:gd name="connsiteX775" fmla="*/ 308604 w 751062"/>
                      <a:gd name="connsiteY775" fmla="*/ 409619 h 723778"/>
                      <a:gd name="connsiteX776" fmla="*/ 288945 w 751062"/>
                      <a:gd name="connsiteY776" fmla="*/ 408400 h 723778"/>
                      <a:gd name="connsiteX777" fmla="*/ 286912 w 751062"/>
                      <a:gd name="connsiteY777" fmla="*/ 402801 h 723778"/>
                      <a:gd name="connsiteX778" fmla="*/ 440975 w 751062"/>
                      <a:gd name="connsiteY778" fmla="*/ 667686 h 723778"/>
                      <a:gd name="connsiteX779" fmla="*/ 430728 w 751062"/>
                      <a:gd name="connsiteY779" fmla="*/ 669919 h 723778"/>
                      <a:gd name="connsiteX780" fmla="*/ 419820 w 751062"/>
                      <a:gd name="connsiteY780" fmla="*/ 672574 h 723778"/>
                      <a:gd name="connsiteX781" fmla="*/ 419169 w 751062"/>
                      <a:gd name="connsiteY781" fmla="*/ 668608 h 723778"/>
                      <a:gd name="connsiteX782" fmla="*/ 419483 w 751062"/>
                      <a:gd name="connsiteY782" fmla="*/ 663606 h 723778"/>
                      <a:gd name="connsiteX783" fmla="*/ 416308 w 751062"/>
                      <a:gd name="connsiteY783" fmla="*/ 644686 h 723778"/>
                      <a:gd name="connsiteX784" fmla="*/ 449450 w 751062"/>
                      <a:gd name="connsiteY784" fmla="*/ 640634 h 723778"/>
                      <a:gd name="connsiteX785" fmla="*/ 445929 w 751062"/>
                      <a:gd name="connsiteY785" fmla="*/ 657655 h 723778"/>
                      <a:gd name="connsiteX786" fmla="*/ 448388 w 751062"/>
                      <a:gd name="connsiteY786" fmla="*/ 666295 h 723778"/>
                      <a:gd name="connsiteX787" fmla="*/ 440975 w 751062"/>
                      <a:gd name="connsiteY787" fmla="*/ 667686 h 723778"/>
                      <a:gd name="connsiteX788" fmla="*/ 450923 w 751062"/>
                      <a:gd name="connsiteY788" fmla="*/ 665730 h 723778"/>
                      <a:gd name="connsiteX789" fmla="*/ 450138 w 751062"/>
                      <a:gd name="connsiteY789" fmla="*/ 665916 h 723778"/>
                      <a:gd name="connsiteX790" fmla="*/ 448633 w 751062"/>
                      <a:gd name="connsiteY790" fmla="*/ 658123 h 723778"/>
                      <a:gd name="connsiteX791" fmla="*/ 457891 w 751062"/>
                      <a:gd name="connsiteY791" fmla="*/ 657350 h 723778"/>
                      <a:gd name="connsiteX792" fmla="*/ 458779 w 751062"/>
                      <a:gd name="connsiteY792" fmla="*/ 662849 h 723778"/>
                      <a:gd name="connsiteX793" fmla="*/ 450923 w 751062"/>
                      <a:gd name="connsiteY793" fmla="*/ 665730 h 723778"/>
                      <a:gd name="connsiteX794" fmla="*/ 485288 w 751062"/>
                      <a:gd name="connsiteY794" fmla="*/ 657387 h 723778"/>
                      <a:gd name="connsiteX795" fmla="*/ 462022 w 751062"/>
                      <a:gd name="connsiteY795" fmla="*/ 659797 h 723778"/>
                      <a:gd name="connsiteX796" fmla="*/ 460709 w 751062"/>
                      <a:gd name="connsiteY796" fmla="*/ 656753 h 723778"/>
                      <a:gd name="connsiteX797" fmla="*/ 473201 w 751062"/>
                      <a:gd name="connsiteY797" fmla="*/ 654808 h 723778"/>
                      <a:gd name="connsiteX798" fmla="*/ 478361 w 751062"/>
                      <a:gd name="connsiteY798" fmla="*/ 646045 h 723778"/>
                      <a:gd name="connsiteX799" fmla="*/ 507756 w 751062"/>
                      <a:gd name="connsiteY799" fmla="*/ 635829 h 723778"/>
                      <a:gd name="connsiteX800" fmla="*/ 535696 w 751062"/>
                      <a:gd name="connsiteY800" fmla="*/ 633019 h 723778"/>
                      <a:gd name="connsiteX801" fmla="*/ 563824 w 751062"/>
                      <a:gd name="connsiteY801" fmla="*/ 630129 h 723778"/>
                      <a:gd name="connsiteX802" fmla="*/ 564272 w 751062"/>
                      <a:gd name="connsiteY802" fmla="*/ 630141 h 723778"/>
                      <a:gd name="connsiteX803" fmla="*/ 564278 w 751062"/>
                      <a:gd name="connsiteY803" fmla="*/ 630144 h 723778"/>
                      <a:gd name="connsiteX804" fmla="*/ 569538 w 751062"/>
                      <a:gd name="connsiteY804" fmla="*/ 630626 h 723778"/>
                      <a:gd name="connsiteX805" fmla="*/ 485288 w 751062"/>
                      <a:gd name="connsiteY805" fmla="*/ 657387 h 723778"/>
                      <a:gd name="connsiteX806" fmla="*/ 573752 w 751062"/>
                      <a:gd name="connsiteY806" fmla="*/ 667380 h 723778"/>
                      <a:gd name="connsiteX807" fmla="*/ 507713 w 751062"/>
                      <a:gd name="connsiteY807" fmla="*/ 671612 h 723778"/>
                      <a:gd name="connsiteX808" fmla="*/ 507091 w 751062"/>
                      <a:gd name="connsiteY808" fmla="*/ 656613 h 723778"/>
                      <a:gd name="connsiteX809" fmla="*/ 576604 w 751062"/>
                      <a:gd name="connsiteY809" fmla="*/ 629661 h 723778"/>
                      <a:gd name="connsiteX810" fmla="*/ 564878 w 751062"/>
                      <a:gd name="connsiteY810" fmla="*/ 625224 h 723778"/>
                      <a:gd name="connsiteX811" fmla="*/ 551640 w 751062"/>
                      <a:gd name="connsiteY811" fmla="*/ 625512 h 723778"/>
                      <a:gd name="connsiteX812" fmla="*/ 493405 w 751062"/>
                      <a:gd name="connsiteY812" fmla="*/ 635897 h 723778"/>
                      <a:gd name="connsiteX813" fmla="*/ 490921 w 751062"/>
                      <a:gd name="connsiteY813" fmla="*/ 627991 h 723778"/>
                      <a:gd name="connsiteX814" fmla="*/ 483312 w 751062"/>
                      <a:gd name="connsiteY814" fmla="*/ 612769 h 723778"/>
                      <a:gd name="connsiteX815" fmla="*/ 465229 w 751062"/>
                      <a:gd name="connsiteY815" fmla="*/ 603852 h 723778"/>
                      <a:gd name="connsiteX816" fmla="*/ 451666 w 751062"/>
                      <a:gd name="connsiteY816" fmla="*/ 586234 h 723778"/>
                      <a:gd name="connsiteX817" fmla="*/ 439785 w 751062"/>
                      <a:gd name="connsiteY817" fmla="*/ 568548 h 723778"/>
                      <a:gd name="connsiteX818" fmla="*/ 438546 w 751062"/>
                      <a:gd name="connsiteY818" fmla="*/ 554585 h 723778"/>
                      <a:gd name="connsiteX819" fmla="*/ 448616 w 751062"/>
                      <a:gd name="connsiteY819" fmla="*/ 535352 h 723778"/>
                      <a:gd name="connsiteX820" fmla="*/ 442095 w 751062"/>
                      <a:gd name="connsiteY820" fmla="*/ 521643 h 723778"/>
                      <a:gd name="connsiteX821" fmla="*/ 438406 w 751062"/>
                      <a:gd name="connsiteY821" fmla="*/ 491910 h 723778"/>
                      <a:gd name="connsiteX822" fmla="*/ 440013 w 751062"/>
                      <a:gd name="connsiteY822" fmla="*/ 378987 h 723778"/>
                      <a:gd name="connsiteX823" fmla="*/ 482232 w 751062"/>
                      <a:gd name="connsiteY823" fmla="*/ 374393 h 723778"/>
                      <a:gd name="connsiteX824" fmla="*/ 491901 w 751062"/>
                      <a:gd name="connsiteY824" fmla="*/ 373676 h 723778"/>
                      <a:gd name="connsiteX825" fmla="*/ 514167 w 751062"/>
                      <a:gd name="connsiteY825" fmla="*/ 382108 h 723778"/>
                      <a:gd name="connsiteX826" fmla="*/ 513130 w 751062"/>
                      <a:gd name="connsiteY826" fmla="*/ 505599 h 723778"/>
                      <a:gd name="connsiteX827" fmla="*/ 512759 w 751062"/>
                      <a:gd name="connsiteY827" fmla="*/ 536728 h 723778"/>
                      <a:gd name="connsiteX828" fmla="*/ 516162 w 751062"/>
                      <a:gd name="connsiteY828" fmla="*/ 546219 h 723778"/>
                      <a:gd name="connsiteX829" fmla="*/ 518567 w 751062"/>
                      <a:gd name="connsiteY829" fmla="*/ 568631 h 723778"/>
                      <a:gd name="connsiteX830" fmla="*/ 522556 w 751062"/>
                      <a:gd name="connsiteY830" fmla="*/ 586060 h 723778"/>
                      <a:gd name="connsiteX831" fmla="*/ 519412 w 751062"/>
                      <a:gd name="connsiteY831" fmla="*/ 601125 h 723778"/>
                      <a:gd name="connsiteX832" fmla="*/ 502394 w 751062"/>
                      <a:gd name="connsiteY832" fmla="*/ 600280 h 723778"/>
                      <a:gd name="connsiteX833" fmla="*/ 507397 w 751062"/>
                      <a:gd name="connsiteY833" fmla="*/ 626435 h 723778"/>
                      <a:gd name="connsiteX834" fmla="*/ 512399 w 751062"/>
                      <a:gd name="connsiteY834" fmla="*/ 627788 h 723778"/>
                      <a:gd name="connsiteX835" fmla="*/ 513259 w 751062"/>
                      <a:gd name="connsiteY835" fmla="*/ 616161 h 723778"/>
                      <a:gd name="connsiteX836" fmla="*/ 507999 w 751062"/>
                      <a:gd name="connsiteY836" fmla="*/ 606042 h 723778"/>
                      <a:gd name="connsiteX837" fmla="*/ 510252 w 751062"/>
                      <a:gd name="connsiteY837" fmla="*/ 601933 h 723778"/>
                      <a:gd name="connsiteX838" fmla="*/ 519732 w 751062"/>
                      <a:gd name="connsiteY838" fmla="*/ 611141 h 723778"/>
                      <a:gd name="connsiteX839" fmla="*/ 563147 w 751062"/>
                      <a:gd name="connsiteY839" fmla="*/ 592607 h 723778"/>
                      <a:gd name="connsiteX840" fmla="*/ 573389 w 751062"/>
                      <a:gd name="connsiteY840" fmla="*/ 585732 h 723778"/>
                      <a:gd name="connsiteX841" fmla="*/ 584040 w 751062"/>
                      <a:gd name="connsiteY841" fmla="*/ 583079 h 723778"/>
                      <a:gd name="connsiteX842" fmla="*/ 585436 w 751062"/>
                      <a:gd name="connsiteY842" fmla="*/ 576383 h 723778"/>
                      <a:gd name="connsiteX843" fmla="*/ 589388 w 751062"/>
                      <a:gd name="connsiteY843" fmla="*/ 569582 h 723778"/>
                      <a:gd name="connsiteX844" fmla="*/ 600495 w 751062"/>
                      <a:gd name="connsiteY844" fmla="*/ 591879 h 723778"/>
                      <a:gd name="connsiteX845" fmla="*/ 589197 w 751062"/>
                      <a:gd name="connsiteY845" fmla="*/ 598663 h 723778"/>
                      <a:gd name="connsiteX846" fmla="*/ 592240 w 751062"/>
                      <a:gd name="connsiteY846" fmla="*/ 601014 h 723778"/>
                      <a:gd name="connsiteX847" fmla="*/ 603847 w 751062"/>
                      <a:gd name="connsiteY847" fmla="*/ 595777 h 723778"/>
                      <a:gd name="connsiteX848" fmla="*/ 607522 w 751062"/>
                      <a:gd name="connsiteY848" fmla="*/ 599323 h 723778"/>
                      <a:gd name="connsiteX849" fmla="*/ 601006 w 751062"/>
                      <a:gd name="connsiteY849" fmla="*/ 605816 h 723778"/>
                      <a:gd name="connsiteX850" fmla="*/ 603582 w 751062"/>
                      <a:gd name="connsiteY850" fmla="*/ 607803 h 723778"/>
                      <a:gd name="connsiteX851" fmla="*/ 611937 w 751062"/>
                      <a:gd name="connsiteY851" fmla="*/ 602864 h 723778"/>
                      <a:gd name="connsiteX852" fmla="*/ 618444 w 751062"/>
                      <a:gd name="connsiteY852" fmla="*/ 607058 h 723778"/>
                      <a:gd name="connsiteX853" fmla="*/ 610880 w 751062"/>
                      <a:gd name="connsiteY853" fmla="*/ 612092 h 723778"/>
                      <a:gd name="connsiteX854" fmla="*/ 613364 w 751062"/>
                      <a:gd name="connsiteY854" fmla="*/ 615313 h 723778"/>
                      <a:gd name="connsiteX855" fmla="*/ 623552 w 751062"/>
                      <a:gd name="connsiteY855" fmla="*/ 609714 h 723778"/>
                      <a:gd name="connsiteX856" fmla="*/ 684348 w 751062"/>
                      <a:gd name="connsiteY856" fmla="*/ 617003 h 723778"/>
                      <a:gd name="connsiteX857" fmla="*/ 594707 w 751062"/>
                      <a:gd name="connsiteY857" fmla="*/ 647213 h 723778"/>
                      <a:gd name="connsiteX858" fmla="*/ 524343 w 751062"/>
                      <a:gd name="connsiteY858" fmla="*/ 652327 h 723778"/>
                      <a:gd name="connsiteX859" fmla="*/ 524586 w 751062"/>
                      <a:gd name="connsiteY859" fmla="*/ 654120 h 723778"/>
                      <a:gd name="connsiteX860" fmla="*/ 592018 w 751062"/>
                      <a:gd name="connsiteY860" fmla="*/ 650836 h 723778"/>
                      <a:gd name="connsiteX861" fmla="*/ 624046 w 751062"/>
                      <a:gd name="connsiteY861" fmla="*/ 644358 h 723778"/>
                      <a:gd name="connsiteX862" fmla="*/ 688189 w 751062"/>
                      <a:gd name="connsiteY862" fmla="*/ 619579 h 723778"/>
                      <a:gd name="connsiteX863" fmla="*/ 689479 w 751062"/>
                      <a:gd name="connsiteY863" fmla="*/ 621372 h 723778"/>
                      <a:gd name="connsiteX864" fmla="*/ 657993 w 751062"/>
                      <a:gd name="connsiteY864" fmla="*/ 639975 h 723778"/>
                      <a:gd name="connsiteX865" fmla="*/ 573752 w 751062"/>
                      <a:gd name="connsiteY865" fmla="*/ 667380 h 723778"/>
                      <a:gd name="connsiteX866" fmla="*/ 732095 w 751062"/>
                      <a:gd name="connsiteY866" fmla="*/ 645580 h 723778"/>
                      <a:gd name="connsiteX867" fmla="*/ 736807 w 751062"/>
                      <a:gd name="connsiteY867" fmla="*/ 645791 h 723778"/>
                      <a:gd name="connsiteX868" fmla="*/ 586244 w 751062"/>
                      <a:gd name="connsiteY868" fmla="*/ 673708 h 723778"/>
                      <a:gd name="connsiteX869" fmla="*/ 586892 w 751062"/>
                      <a:gd name="connsiteY869" fmla="*/ 671141 h 723778"/>
                      <a:gd name="connsiteX870" fmla="*/ 643762 w 751062"/>
                      <a:gd name="connsiteY870" fmla="*/ 654112 h 723778"/>
                      <a:gd name="connsiteX871" fmla="*/ 644916 w 751062"/>
                      <a:gd name="connsiteY871" fmla="*/ 655060 h 723778"/>
                      <a:gd name="connsiteX872" fmla="*/ 654935 w 751062"/>
                      <a:gd name="connsiteY872" fmla="*/ 653746 h 723778"/>
                      <a:gd name="connsiteX873" fmla="*/ 683711 w 751062"/>
                      <a:gd name="connsiteY873" fmla="*/ 651673 h 723778"/>
                      <a:gd name="connsiteX874" fmla="*/ 732095 w 751062"/>
                      <a:gd name="connsiteY874" fmla="*/ 645580 h 723778"/>
                      <a:gd name="connsiteX875" fmla="*/ 737920 w 751062"/>
                      <a:gd name="connsiteY875" fmla="*/ 636874 h 723778"/>
                      <a:gd name="connsiteX876" fmla="*/ 729737 w 751062"/>
                      <a:gd name="connsiteY876" fmla="*/ 636885 h 723778"/>
                      <a:gd name="connsiteX877" fmla="*/ 726305 w 751062"/>
                      <a:gd name="connsiteY877" fmla="*/ 641859 h 723778"/>
                      <a:gd name="connsiteX878" fmla="*/ 685585 w 751062"/>
                      <a:gd name="connsiteY878" fmla="*/ 647424 h 723778"/>
                      <a:gd name="connsiteX879" fmla="*/ 651589 w 751062"/>
                      <a:gd name="connsiteY879" fmla="*/ 651242 h 723778"/>
                      <a:gd name="connsiteX880" fmla="*/ 700361 w 751062"/>
                      <a:gd name="connsiteY880" fmla="*/ 626752 h 723778"/>
                      <a:gd name="connsiteX881" fmla="*/ 719249 w 751062"/>
                      <a:gd name="connsiteY881" fmla="*/ 625715 h 723778"/>
                      <a:gd name="connsiteX882" fmla="*/ 721345 w 751062"/>
                      <a:gd name="connsiteY882" fmla="*/ 640826 h 723778"/>
                      <a:gd name="connsiteX883" fmla="*/ 721602 w 751062"/>
                      <a:gd name="connsiteY883" fmla="*/ 639344 h 723778"/>
                      <a:gd name="connsiteX884" fmla="*/ 724637 w 751062"/>
                      <a:gd name="connsiteY884" fmla="*/ 624590 h 723778"/>
                      <a:gd name="connsiteX885" fmla="*/ 725280 w 751062"/>
                      <a:gd name="connsiteY885" fmla="*/ 624127 h 723778"/>
                      <a:gd name="connsiteX886" fmla="*/ 726973 w 751062"/>
                      <a:gd name="connsiteY886" fmla="*/ 626121 h 723778"/>
                      <a:gd name="connsiteX887" fmla="*/ 727998 w 751062"/>
                      <a:gd name="connsiteY887" fmla="*/ 627645 h 723778"/>
                      <a:gd name="connsiteX888" fmla="*/ 741218 w 751062"/>
                      <a:gd name="connsiteY888" fmla="*/ 627457 h 723778"/>
                      <a:gd name="connsiteX889" fmla="*/ 741284 w 751062"/>
                      <a:gd name="connsiteY889" fmla="*/ 636802 h 723778"/>
                      <a:gd name="connsiteX890" fmla="*/ 737920 w 751062"/>
                      <a:gd name="connsiteY890" fmla="*/ 636874 h 723778"/>
                      <a:gd name="connsiteX891" fmla="*/ 745156 w 751062"/>
                      <a:gd name="connsiteY891" fmla="*/ 636854 h 723778"/>
                      <a:gd name="connsiteX892" fmla="*/ 743868 w 751062"/>
                      <a:gd name="connsiteY892" fmla="*/ 627902 h 723778"/>
                      <a:gd name="connsiteX893" fmla="*/ 746421 w 751062"/>
                      <a:gd name="connsiteY893" fmla="*/ 628262 h 723778"/>
                      <a:gd name="connsiteX894" fmla="*/ 745156 w 751062"/>
                      <a:gd name="connsiteY894" fmla="*/ 636854 h 72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Lst>
                    <a:rect l="l" t="t" r="r" b="b"/>
                    <a:pathLst>
                      <a:path w="751062" h="723778">
                        <a:moveTo>
                          <a:pt x="748257" y="625144"/>
                        </a:moveTo>
                        <a:cubicBezTo>
                          <a:pt x="747877" y="624970"/>
                          <a:pt x="747469" y="624950"/>
                          <a:pt x="747120" y="625078"/>
                        </a:cubicBezTo>
                        <a:cubicBezTo>
                          <a:pt x="746372" y="624661"/>
                          <a:pt x="745427" y="624510"/>
                          <a:pt x="744528" y="624544"/>
                        </a:cubicBezTo>
                        <a:cubicBezTo>
                          <a:pt x="744102" y="624230"/>
                          <a:pt x="743534" y="624122"/>
                          <a:pt x="743103" y="624444"/>
                        </a:cubicBezTo>
                        <a:cubicBezTo>
                          <a:pt x="739008" y="623345"/>
                          <a:pt x="734411" y="624693"/>
                          <a:pt x="730288" y="625070"/>
                        </a:cubicBezTo>
                        <a:cubicBezTo>
                          <a:pt x="729914" y="622320"/>
                          <a:pt x="725996" y="619742"/>
                          <a:pt x="723649" y="621843"/>
                        </a:cubicBezTo>
                        <a:cubicBezTo>
                          <a:pt x="715180" y="621178"/>
                          <a:pt x="706617" y="622905"/>
                          <a:pt x="698145" y="623485"/>
                        </a:cubicBezTo>
                        <a:cubicBezTo>
                          <a:pt x="697700" y="616706"/>
                          <a:pt x="692263" y="611250"/>
                          <a:pt x="685850" y="609137"/>
                        </a:cubicBezTo>
                        <a:cubicBezTo>
                          <a:pt x="670174" y="543076"/>
                          <a:pt x="653496" y="477260"/>
                          <a:pt x="637204" y="411350"/>
                        </a:cubicBezTo>
                        <a:cubicBezTo>
                          <a:pt x="635250" y="403526"/>
                          <a:pt x="633429" y="395200"/>
                          <a:pt x="628575" y="388570"/>
                        </a:cubicBezTo>
                        <a:cubicBezTo>
                          <a:pt x="623723" y="382188"/>
                          <a:pt x="616685" y="377385"/>
                          <a:pt x="608918" y="375355"/>
                        </a:cubicBezTo>
                        <a:cubicBezTo>
                          <a:pt x="613359" y="351773"/>
                          <a:pt x="610306" y="326249"/>
                          <a:pt x="596909" y="306844"/>
                        </a:cubicBezTo>
                        <a:cubicBezTo>
                          <a:pt x="594959" y="304023"/>
                          <a:pt x="590793" y="298789"/>
                          <a:pt x="590793" y="298789"/>
                        </a:cubicBezTo>
                        <a:cubicBezTo>
                          <a:pt x="588034" y="295914"/>
                          <a:pt x="584979" y="293241"/>
                          <a:pt x="581616" y="290808"/>
                        </a:cubicBezTo>
                        <a:cubicBezTo>
                          <a:pt x="582058" y="277028"/>
                          <a:pt x="580773" y="263083"/>
                          <a:pt x="579077" y="249394"/>
                        </a:cubicBezTo>
                        <a:cubicBezTo>
                          <a:pt x="578963" y="248706"/>
                          <a:pt x="578184" y="247904"/>
                          <a:pt x="577487" y="247804"/>
                        </a:cubicBezTo>
                        <a:cubicBezTo>
                          <a:pt x="575225" y="247475"/>
                          <a:pt x="572964" y="247150"/>
                          <a:pt x="570702" y="246824"/>
                        </a:cubicBezTo>
                        <a:cubicBezTo>
                          <a:pt x="568658" y="246530"/>
                          <a:pt x="565314" y="245302"/>
                          <a:pt x="563458" y="246545"/>
                        </a:cubicBezTo>
                        <a:cubicBezTo>
                          <a:pt x="556634" y="220898"/>
                          <a:pt x="473198" y="216321"/>
                          <a:pt x="445376" y="212891"/>
                        </a:cubicBezTo>
                        <a:lnTo>
                          <a:pt x="430285" y="181799"/>
                        </a:lnTo>
                        <a:cubicBezTo>
                          <a:pt x="428301" y="173842"/>
                          <a:pt x="423344" y="166563"/>
                          <a:pt x="419971" y="159057"/>
                        </a:cubicBezTo>
                        <a:cubicBezTo>
                          <a:pt x="410318" y="139455"/>
                          <a:pt x="400341" y="120007"/>
                          <a:pt x="390901" y="100302"/>
                        </a:cubicBezTo>
                        <a:cubicBezTo>
                          <a:pt x="390901" y="100302"/>
                          <a:pt x="384822" y="86516"/>
                          <a:pt x="381727" y="79872"/>
                        </a:cubicBezTo>
                        <a:cubicBezTo>
                          <a:pt x="374340" y="64016"/>
                          <a:pt x="364712" y="49797"/>
                          <a:pt x="349107" y="42190"/>
                        </a:cubicBezTo>
                        <a:cubicBezTo>
                          <a:pt x="339819" y="38258"/>
                          <a:pt x="328666" y="36351"/>
                          <a:pt x="319001" y="40094"/>
                        </a:cubicBezTo>
                        <a:cubicBezTo>
                          <a:pt x="317390" y="36157"/>
                          <a:pt x="307731" y="21409"/>
                          <a:pt x="303025" y="26831"/>
                        </a:cubicBezTo>
                        <a:cubicBezTo>
                          <a:pt x="299013" y="28581"/>
                          <a:pt x="297905" y="34164"/>
                          <a:pt x="297020" y="38095"/>
                        </a:cubicBezTo>
                        <a:cubicBezTo>
                          <a:pt x="296332" y="42810"/>
                          <a:pt x="297291" y="47507"/>
                          <a:pt x="299670" y="51613"/>
                        </a:cubicBezTo>
                        <a:cubicBezTo>
                          <a:pt x="300335" y="52760"/>
                          <a:pt x="302271" y="52004"/>
                          <a:pt x="301851" y="50693"/>
                        </a:cubicBezTo>
                        <a:cubicBezTo>
                          <a:pt x="300624" y="46850"/>
                          <a:pt x="300418" y="42715"/>
                          <a:pt x="301212" y="38761"/>
                        </a:cubicBezTo>
                        <a:cubicBezTo>
                          <a:pt x="306994" y="50268"/>
                          <a:pt x="306560" y="63991"/>
                          <a:pt x="303533" y="76303"/>
                        </a:cubicBezTo>
                        <a:cubicBezTo>
                          <a:pt x="302203" y="79992"/>
                          <a:pt x="300461" y="84081"/>
                          <a:pt x="301086" y="88118"/>
                        </a:cubicBezTo>
                        <a:cubicBezTo>
                          <a:pt x="295787" y="80437"/>
                          <a:pt x="287709" y="75392"/>
                          <a:pt x="280234" y="70067"/>
                        </a:cubicBezTo>
                        <a:cubicBezTo>
                          <a:pt x="274223" y="65827"/>
                          <a:pt x="268104" y="61903"/>
                          <a:pt x="261802" y="58103"/>
                        </a:cubicBezTo>
                        <a:cubicBezTo>
                          <a:pt x="251797" y="52101"/>
                          <a:pt x="241624" y="45382"/>
                          <a:pt x="235270" y="35334"/>
                        </a:cubicBezTo>
                        <a:cubicBezTo>
                          <a:pt x="238848" y="25660"/>
                          <a:pt x="238331" y="13671"/>
                          <a:pt x="237138" y="3469"/>
                        </a:cubicBezTo>
                        <a:cubicBezTo>
                          <a:pt x="237004" y="2224"/>
                          <a:pt x="236413" y="1193"/>
                          <a:pt x="235542" y="333"/>
                        </a:cubicBezTo>
                        <a:cubicBezTo>
                          <a:pt x="234500" y="-797"/>
                          <a:pt x="233920" y="1247"/>
                          <a:pt x="233620" y="2027"/>
                        </a:cubicBezTo>
                        <a:cubicBezTo>
                          <a:pt x="233300" y="6795"/>
                          <a:pt x="233671" y="11606"/>
                          <a:pt x="233292" y="16386"/>
                        </a:cubicBezTo>
                        <a:cubicBezTo>
                          <a:pt x="221585" y="19915"/>
                          <a:pt x="216736" y="32473"/>
                          <a:pt x="215137" y="43572"/>
                        </a:cubicBezTo>
                        <a:cubicBezTo>
                          <a:pt x="196763" y="51299"/>
                          <a:pt x="181878" y="65738"/>
                          <a:pt x="169152" y="80771"/>
                        </a:cubicBezTo>
                        <a:cubicBezTo>
                          <a:pt x="158670" y="79698"/>
                          <a:pt x="148371" y="78644"/>
                          <a:pt x="137929" y="77439"/>
                        </a:cubicBezTo>
                        <a:cubicBezTo>
                          <a:pt x="135410" y="77162"/>
                          <a:pt x="131681" y="76326"/>
                          <a:pt x="129126" y="77414"/>
                        </a:cubicBezTo>
                        <a:cubicBezTo>
                          <a:pt x="125003" y="69170"/>
                          <a:pt x="117976" y="60370"/>
                          <a:pt x="108293" y="58979"/>
                        </a:cubicBezTo>
                        <a:cubicBezTo>
                          <a:pt x="107776" y="53491"/>
                          <a:pt x="92186" y="54360"/>
                          <a:pt x="87766" y="54003"/>
                        </a:cubicBezTo>
                        <a:cubicBezTo>
                          <a:pt x="81878" y="54368"/>
                          <a:pt x="73078" y="53277"/>
                          <a:pt x="68235" y="56898"/>
                        </a:cubicBezTo>
                        <a:cubicBezTo>
                          <a:pt x="59838" y="59765"/>
                          <a:pt x="57060" y="71574"/>
                          <a:pt x="64943" y="76700"/>
                        </a:cubicBezTo>
                        <a:cubicBezTo>
                          <a:pt x="70371" y="79549"/>
                          <a:pt x="76913" y="77950"/>
                          <a:pt x="82803" y="78864"/>
                        </a:cubicBezTo>
                        <a:cubicBezTo>
                          <a:pt x="89653" y="78958"/>
                          <a:pt x="96452" y="81234"/>
                          <a:pt x="103228" y="81166"/>
                        </a:cubicBezTo>
                        <a:cubicBezTo>
                          <a:pt x="111448" y="86528"/>
                          <a:pt x="111000" y="97921"/>
                          <a:pt x="111977" y="106644"/>
                        </a:cubicBezTo>
                        <a:cubicBezTo>
                          <a:pt x="116371" y="158380"/>
                          <a:pt x="117941" y="210330"/>
                          <a:pt x="121810" y="262089"/>
                        </a:cubicBezTo>
                        <a:cubicBezTo>
                          <a:pt x="121896" y="262920"/>
                          <a:pt x="122170" y="263751"/>
                          <a:pt x="122453" y="264530"/>
                        </a:cubicBezTo>
                        <a:cubicBezTo>
                          <a:pt x="123167" y="266946"/>
                          <a:pt x="127107" y="266863"/>
                          <a:pt x="127264" y="264233"/>
                        </a:cubicBezTo>
                        <a:cubicBezTo>
                          <a:pt x="128104" y="262021"/>
                          <a:pt x="127638" y="258586"/>
                          <a:pt x="127618" y="256747"/>
                        </a:cubicBezTo>
                        <a:cubicBezTo>
                          <a:pt x="125605" y="220852"/>
                          <a:pt x="123147" y="184958"/>
                          <a:pt x="120671" y="149083"/>
                        </a:cubicBezTo>
                        <a:cubicBezTo>
                          <a:pt x="119343" y="131377"/>
                          <a:pt x="118247" y="113639"/>
                          <a:pt x="116180" y="96002"/>
                        </a:cubicBezTo>
                        <a:cubicBezTo>
                          <a:pt x="115326" y="88527"/>
                          <a:pt x="112034" y="80120"/>
                          <a:pt x="104950" y="76600"/>
                        </a:cubicBezTo>
                        <a:cubicBezTo>
                          <a:pt x="100218" y="71477"/>
                          <a:pt x="102308" y="67854"/>
                          <a:pt x="106529" y="63377"/>
                        </a:cubicBezTo>
                        <a:cubicBezTo>
                          <a:pt x="128826" y="69950"/>
                          <a:pt x="130134" y="98266"/>
                          <a:pt x="131087" y="117691"/>
                        </a:cubicBezTo>
                        <a:cubicBezTo>
                          <a:pt x="132101" y="138561"/>
                          <a:pt x="133189" y="159425"/>
                          <a:pt x="133971" y="180306"/>
                        </a:cubicBezTo>
                        <a:cubicBezTo>
                          <a:pt x="132612" y="205659"/>
                          <a:pt x="132481" y="231100"/>
                          <a:pt x="132669" y="256467"/>
                        </a:cubicBezTo>
                        <a:cubicBezTo>
                          <a:pt x="131576" y="257469"/>
                          <a:pt x="131304" y="259231"/>
                          <a:pt x="131950" y="260753"/>
                        </a:cubicBezTo>
                        <a:cubicBezTo>
                          <a:pt x="132067" y="263545"/>
                          <a:pt x="131433" y="268282"/>
                          <a:pt x="132407" y="271637"/>
                        </a:cubicBezTo>
                        <a:cubicBezTo>
                          <a:pt x="129217" y="270255"/>
                          <a:pt x="126022" y="269085"/>
                          <a:pt x="122821" y="268134"/>
                        </a:cubicBezTo>
                        <a:cubicBezTo>
                          <a:pt x="122861" y="266341"/>
                          <a:pt x="122281" y="264844"/>
                          <a:pt x="121833" y="263183"/>
                        </a:cubicBezTo>
                        <a:cubicBezTo>
                          <a:pt x="121473" y="262426"/>
                          <a:pt x="120191" y="262426"/>
                          <a:pt x="119832" y="263183"/>
                        </a:cubicBezTo>
                        <a:cubicBezTo>
                          <a:pt x="119478" y="264490"/>
                          <a:pt x="119052" y="265707"/>
                          <a:pt x="118884" y="267077"/>
                        </a:cubicBezTo>
                        <a:cubicBezTo>
                          <a:pt x="85493" y="259379"/>
                          <a:pt x="60497" y="273028"/>
                          <a:pt x="38391" y="306230"/>
                        </a:cubicBezTo>
                        <a:cubicBezTo>
                          <a:pt x="-17462" y="388021"/>
                          <a:pt x="-12816" y="548484"/>
                          <a:pt x="55244" y="616010"/>
                        </a:cubicBezTo>
                        <a:lnTo>
                          <a:pt x="55121" y="616118"/>
                        </a:lnTo>
                        <a:cubicBezTo>
                          <a:pt x="99136" y="666989"/>
                          <a:pt x="157999" y="689072"/>
                          <a:pt x="200638" y="627174"/>
                        </a:cubicBezTo>
                        <a:cubicBezTo>
                          <a:pt x="213110" y="629930"/>
                          <a:pt x="226031" y="631868"/>
                          <a:pt x="238677" y="633256"/>
                        </a:cubicBezTo>
                        <a:cubicBezTo>
                          <a:pt x="205526" y="664279"/>
                          <a:pt x="230174" y="725335"/>
                          <a:pt x="276296" y="723748"/>
                        </a:cubicBezTo>
                        <a:cubicBezTo>
                          <a:pt x="327021" y="724770"/>
                          <a:pt x="348599" y="655933"/>
                          <a:pt x="307374" y="627671"/>
                        </a:cubicBezTo>
                        <a:cubicBezTo>
                          <a:pt x="310512" y="619116"/>
                          <a:pt x="315860" y="610759"/>
                          <a:pt x="317262" y="601839"/>
                        </a:cubicBezTo>
                        <a:cubicBezTo>
                          <a:pt x="317944" y="598144"/>
                          <a:pt x="320291" y="594035"/>
                          <a:pt x="319092" y="590286"/>
                        </a:cubicBezTo>
                        <a:cubicBezTo>
                          <a:pt x="320114" y="587876"/>
                          <a:pt x="319557" y="584904"/>
                          <a:pt x="319766" y="582311"/>
                        </a:cubicBezTo>
                        <a:cubicBezTo>
                          <a:pt x="338982" y="588281"/>
                          <a:pt x="358907" y="591631"/>
                          <a:pt x="378509" y="596082"/>
                        </a:cubicBezTo>
                        <a:cubicBezTo>
                          <a:pt x="372915" y="609134"/>
                          <a:pt x="379568" y="624681"/>
                          <a:pt x="381173" y="638079"/>
                        </a:cubicBezTo>
                        <a:cubicBezTo>
                          <a:pt x="382147" y="644817"/>
                          <a:pt x="381713" y="651899"/>
                          <a:pt x="386096" y="657567"/>
                        </a:cubicBezTo>
                        <a:cubicBezTo>
                          <a:pt x="389682" y="662204"/>
                          <a:pt x="395864" y="665624"/>
                          <a:pt x="401851" y="665087"/>
                        </a:cubicBezTo>
                        <a:cubicBezTo>
                          <a:pt x="402705" y="669528"/>
                          <a:pt x="403245" y="674050"/>
                          <a:pt x="404264" y="678456"/>
                        </a:cubicBezTo>
                        <a:cubicBezTo>
                          <a:pt x="404307" y="678636"/>
                          <a:pt x="404476" y="679424"/>
                          <a:pt x="404496" y="679487"/>
                        </a:cubicBezTo>
                        <a:cubicBezTo>
                          <a:pt x="405155" y="681774"/>
                          <a:pt x="407439" y="680952"/>
                          <a:pt x="409178" y="680803"/>
                        </a:cubicBezTo>
                        <a:cubicBezTo>
                          <a:pt x="409515" y="682616"/>
                          <a:pt x="409784" y="684804"/>
                          <a:pt x="410595" y="686468"/>
                        </a:cubicBezTo>
                        <a:cubicBezTo>
                          <a:pt x="412642" y="689629"/>
                          <a:pt x="417727" y="687999"/>
                          <a:pt x="419320" y="685212"/>
                        </a:cubicBezTo>
                        <a:cubicBezTo>
                          <a:pt x="421339" y="684458"/>
                          <a:pt x="419846" y="681880"/>
                          <a:pt x="419523" y="680332"/>
                        </a:cubicBezTo>
                        <a:cubicBezTo>
                          <a:pt x="421945" y="678996"/>
                          <a:pt x="420337" y="675458"/>
                          <a:pt x="420014" y="673345"/>
                        </a:cubicBezTo>
                        <a:cubicBezTo>
                          <a:pt x="426727" y="675270"/>
                          <a:pt x="435008" y="671803"/>
                          <a:pt x="441855" y="670875"/>
                        </a:cubicBezTo>
                        <a:cubicBezTo>
                          <a:pt x="448711" y="669011"/>
                          <a:pt x="456666" y="668268"/>
                          <a:pt x="462196" y="663580"/>
                        </a:cubicBezTo>
                        <a:cubicBezTo>
                          <a:pt x="471659" y="669151"/>
                          <a:pt x="490581" y="660096"/>
                          <a:pt x="501235" y="658178"/>
                        </a:cubicBezTo>
                        <a:cubicBezTo>
                          <a:pt x="491381" y="673482"/>
                          <a:pt x="500135" y="679901"/>
                          <a:pt x="515857" y="679621"/>
                        </a:cubicBezTo>
                        <a:cubicBezTo>
                          <a:pt x="538403" y="681709"/>
                          <a:pt x="561086" y="679964"/>
                          <a:pt x="582549" y="672434"/>
                        </a:cubicBezTo>
                        <a:cubicBezTo>
                          <a:pt x="577107" y="681126"/>
                          <a:pt x="593974" y="677328"/>
                          <a:pt x="598071" y="677043"/>
                        </a:cubicBezTo>
                        <a:cubicBezTo>
                          <a:pt x="603573" y="676340"/>
                          <a:pt x="609076" y="675638"/>
                          <a:pt x="614578" y="674936"/>
                        </a:cubicBezTo>
                        <a:cubicBezTo>
                          <a:pt x="646638" y="671555"/>
                          <a:pt x="678318" y="666287"/>
                          <a:pt x="709358" y="657475"/>
                        </a:cubicBezTo>
                        <a:cubicBezTo>
                          <a:pt x="720480" y="654803"/>
                          <a:pt x="731610" y="652096"/>
                          <a:pt x="742469" y="648481"/>
                        </a:cubicBezTo>
                        <a:cubicBezTo>
                          <a:pt x="744259" y="647884"/>
                          <a:pt x="744293" y="645745"/>
                          <a:pt x="743285" y="644749"/>
                        </a:cubicBezTo>
                        <a:cubicBezTo>
                          <a:pt x="743782" y="641925"/>
                          <a:pt x="732778" y="642613"/>
                          <a:pt x="730610" y="642102"/>
                        </a:cubicBezTo>
                        <a:cubicBezTo>
                          <a:pt x="730862" y="641482"/>
                          <a:pt x="730982" y="640823"/>
                          <a:pt x="731059" y="640157"/>
                        </a:cubicBezTo>
                        <a:cubicBezTo>
                          <a:pt x="735096" y="640132"/>
                          <a:pt x="742474" y="642208"/>
                          <a:pt x="745661" y="639812"/>
                        </a:cubicBezTo>
                        <a:cubicBezTo>
                          <a:pt x="751931" y="639541"/>
                          <a:pt x="752668" y="627977"/>
                          <a:pt x="748257" y="625144"/>
                        </a:cubicBezTo>
                        <a:close/>
                        <a:moveTo>
                          <a:pt x="96509" y="73656"/>
                        </a:moveTo>
                        <a:cubicBezTo>
                          <a:pt x="88740" y="72508"/>
                          <a:pt x="80910" y="71786"/>
                          <a:pt x="73058" y="71623"/>
                        </a:cubicBezTo>
                        <a:cubicBezTo>
                          <a:pt x="71465" y="71586"/>
                          <a:pt x="69323" y="71820"/>
                          <a:pt x="68081" y="70624"/>
                        </a:cubicBezTo>
                        <a:cubicBezTo>
                          <a:pt x="64681" y="66412"/>
                          <a:pt x="69340" y="62848"/>
                          <a:pt x="73098" y="61387"/>
                        </a:cubicBezTo>
                        <a:cubicBezTo>
                          <a:pt x="81707" y="61132"/>
                          <a:pt x="90050" y="61375"/>
                          <a:pt x="98576" y="62397"/>
                        </a:cubicBezTo>
                        <a:cubicBezTo>
                          <a:pt x="96035" y="65798"/>
                          <a:pt x="95373" y="69724"/>
                          <a:pt x="96509" y="73656"/>
                        </a:cubicBezTo>
                        <a:close/>
                        <a:moveTo>
                          <a:pt x="607379" y="388147"/>
                        </a:moveTo>
                        <a:cubicBezTo>
                          <a:pt x="607699" y="385212"/>
                          <a:pt x="608062" y="382268"/>
                          <a:pt x="608427" y="379318"/>
                        </a:cubicBezTo>
                        <a:cubicBezTo>
                          <a:pt x="623464" y="389635"/>
                          <a:pt x="626630" y="392162"/>
                          <a:pt x="630927" y="410622"/>
                        </a:cubicBezTo>
                        <a:cubicBezTo>
                          <a:pt x="647311" y="476126"/>
                          <a:pt x="662710" y="541868"/>
                          <a:pt x="678660" y="607478"/>
                        </a:cubicBezTo>
                        <a:cubicBezTo>
                          <a:pt x="676025" y="607135"/>
                          <a:pt x="673369" y="607115"/>
                          <a:pt x="670720" y="607295"/>
                        </a:cubicBezTo>
                        <a:cubicBezTo>
                          <a:pt x="651283" y="540654"/>
                          <a:pt x="642777" y="470744"/>
                          <a:pt x="617376" y="405836"/>
                        </a:cubicBezTo>
                        <a:cubicBezTo>
                          <a:pt x="615129" y="400736"/>
                          <a:pt x="611839" y="395425"/>
                          <a:pt x="606900" y="392630"/>
                        </a:cubicBezTo>
                        <a:cubicBezTo>
                          <a:pt x="607062" y="391137"/>
                          <a:pt x="607217" y="389640"/>
                          <a:pt x="607379" y="388147"/>
                        </a:cubicBezTo>
                        <a:close/>
                        <a:moveTo>
                          <a:pt x="617108" y="538895"/>
                        </a:moveTo>
                        <a:cubicBezTo>
                          <a:pt x="628315" y="540334"/>
                          <a:pt x="639616" y="542496"/>
                          <a:pt x="650852" y="543107"/>
                        </a:cubicBezTo>
                        <a:cubicBezTo>
                          <a:pt x="656103" y="564611"/>
                          <a:pt x="659001" y="586862"/>
                          <a:pt x="666588" y="607692"/>
                        </a:cubicBezTo>
                        <a:cubicBezTo>
                          <a:pt x="648108" y="611478"/>
                          <a:pt x="634445" y="608417"/>
                          <a:pt x="618649" y="598198"/>
                        </a:cubicBezTo>
                        <a:cubicBezTo>
                          <a:pt x="616534" y="587927"/>
                          <a:pt x="615000" y="577517"/>
                          <a:pt x="615429" y="566981"/>
                        </a:cubicBezTo>
                        <a:cubicBezTo>
                          <a:pt x="615437" y="557569"/>
                          <a:pt x="617690" y="548335"/>
                          <a:pt x="617108" y="538895"/>
                        </a:cubicBezTo>
                        <a:close/>
                        <a:moveTo>
                          <a:pt x="614098" y="407752"/>
                        </a:moveTo>
                        <a:cubicBezTo>
                          <a:pt x="630528" y="450120"/>
                          <a:pt x="640173" y="494752"/>
                          <a:pt x="649961" y="539024"/>
                        </a:cubicBezTo>
                        <a:cubicBezTo>
                          <a:pt x="636375" y="537416"/>
                          <a:pt x="622764" y="535500"/>
                          <a:pt x="609324" y="533927"/>
                        </a:cubicBezTo>
                        <a:cubicBezTo>
                          <a:pt x="612014" y="522537"/>
                          <a:pt x="600527" y="521515"/>
                          <a:pt x="599236" y="509908"/>
                        </a:cubicBezTo>
                        <a:cubicBezTo>
                          <a:pt x="601900" y="510228"/>
                          <a:pt x="604615" y="510399"/>
                          <a:pt x="607294" y="510356"/>
                        </a:cubicBezTo>
                        <a:cubicBezTo>
                          <a:pt x="606971" y="513388"/>
                          <a:pt x="607374" y="516698"/>
                          <a:pt x="607459" y="519764"/>
                        </a:cubicBezTo>
                        <a:cubicBezTo>
                          <a:pt x="604173" y="523973"/>
                          <a:pt x="640793" y="524681"/>
                          <a:pt x="644647" y="525735"/>
                        </a:cubicBezTo>
                        <a:cubicBezTo>
                          <a:pt x="647052" y="525712"/>
                          <a:pt x="647106" y="522052"/>
                          <a:pt x="644647" y="522012"/>
                        </a:cubicBezTo>
                        <a:cubicBezTo>
                          <a:pt x="633189" y="521027"/>
                          <a:pt x="621665" y="519419"/>
                          <a:pt x="610152" y="519290"/>
                        </a:cubicBezTo>
                        <a:cubicBezTo>
                          <a:pt x="610552" y="516281"/>
                          <a:pt x="611451" y="513012"/>
                          <a:pt x="610717" y="510025"/>
                        </a:cubicBezTo>
                        <a:cubicBezTo>
                          <a:pt x="611200" y="509594"/>
                          <a:pt x="611811" y="509405"/>
                          <a:pt x="611954" y="508669"/>
                        </a:cubicBezTo>
                        <a:cubicBezTo>
                          <a:pt x="611991" y="506616"/>
                          <a:pt x="612999" y="502161"/>
                          <a:pt x="610849" y="501116"/>
                        </a:cubicBezTo>
                        <a:cubicBezTo>
                          <a:pt x="610455" y="498104"/>
                          <a:pt x="608624" y="495314"/>
                          <a:pt x="607551" y="492519"/>
                        </a:cubicBezTo>
                        <a:cubicBezTo>
                          <a:pt x="606617" y="488593"/>
                          <a:pt x="602622" y="487610"/>
                          <a:pt x="599110" y="487059"/>
                        </a:cubicBezTo>
                        <a:cubicBezTo>
                          <a:pt x="600849" y="456881"/>
                          <a:pt x="603328" y="426746"/>
                          <a:pt x="606471" y="396682"/>
                        </a:cubicBezTo>
                        <a:cubicBezTo>
                          <a:pt x="609909" y="399588"/>
                          <a:pt x="612211" y="403460"/>
                          <a:pt x="614098" y="407752"/>
                        </a:cubicBezTo>
                        <a:close/>
                        <a:moveTo>
                          <a:pt x="602380" y="576372"/>
                        </a:moveTo>
                        <a:cubicBezTo>
                          <a:pt x="601857" y="566598"/>
                          <a:pt x="601446" y="556924"/>
                          <a:pt x="602083" y="547127"/>
                        </a:cubicBezTo>
                        <a:cubicBezTo>
                          <a:pt x="604610" y="544252"/>
                          <a:pt x="606717" y="541037"/>
                          <a:pt x="608179" y="537425"/>
                        </a:cubicBezTo>
                        <a:cubicBezTo>
                          <a:pt x="610052" y="537879"/>
                          <a:pt x="612002" y="538176"/>
                          <a:pt x="613924" y="538444"/>
                        </a:cubicBezTo>
                        <a:cubicBezTo>
                          <a:pt x="614052" y="548367"/>
                          <a:pt x="612051" y="558203"/>
                          <a:pt x="611865" y="568126"/>
                        </a:cubicBezTo>
                        <a:cubicBezTo>
                          <a:pt x="611677" y="577154"/>
                          <a:pt x="612753" y="586080"/>
                          <a:pt x="614355" y="594960"/>
                        </a:cubicBezTo>
                        <a:cubicBezTo>
                          <a:pt x="609332" y="590771"/>
                          <a:pt x="604901" y="585663"/>
                          <a:pt x="602334" y="579604"/>
                        </a:cubicBezTo>
                        <a:cubicBezTo>
                          <a:pt x="602611" y="578576"/>
                          <a:pt x="602431" y="577531"/>
                          <a:pt x="602380" y="576372"/>
                        </a:cubicBezTo>
                        <a:close/>
                        <a:moveTo>
                          <a:pt x="598833" y="507229"/>
                        </a:moveTo>
                        <a:cubicBezTo>
                          <a:pt x="598202" y="501479"/>
                          <a:pt x="598616" y="495680"/>
                          <a:pt x="598942" y="489923"/>
                        </a:cubicBezTo>
                        <a:cubicBezTo>
                          <a:pt x="602437" y="490357"/>
                          <a:pt x="604119" y="491585"/>
                          <a:pt x="604510" y="495123"/>
                        </a:cubicBezTo>
                        <a:cubicBezTo>
                          <a:pt x="605486" y="497681"/>
                          <a:pt x="605763" y="502301"/>
                          <a:pt x="608596" y="503398"/>
                        </a:cubicBezTo>
                        <a:cubicBezTo>
                          <a:pt x="608653" y="504523"/>
                          <a:pt x="608724" y="505668"/>
                          <a:pt x="608896" y="506787"/>
                        </a:cubicBezTo>
                        <a:cubicBezTo>
                          <a:pt x="605541" y="506910"/>
                          <a:pt x="602188" y="507092"/>
                          <a:pt x="598833" y="507229"/>
                        </a:cubicBezTo>
                        <a:close/>
                        <a:moveTo>
                          <a:pt x="579003" y="296887"/>
                        </a:moveTo>
                        <a:cubicBezTo>
                          <a:pt x="579003" y="296887"/>
                          <a:pt x="585199" y="302946"/>
                          <a:pt x="588243" y="306398"/>
                        </a:cubicBezTo>
                        <a:cubicBezTo>
                          <a:pt x="596692" y="315981"/>
                          <a:pt x="602483" y="327696"/>
                          <a:pt x="603919" y="341259"/>
                        </a:cubicBezTo>
                        <a:cubicBezTo>
                          <a:pt x="605418" y="353891"/>
                          <a:pt x="603145" y="366641"/>
                          <a:pt x="601654" y="379167"/>
                        </a:cubicBezTo>
                        <a:cubicBezTo>
                          <a:pt x="597183" y="418157"/>
                          <a:pt x="593088" y="457272"/>
                          <a:pt x="591081" y="496476"/>
                        </a:cubicBezTo>
                        <a:cubicBezTo>
                          <a:pt x="590599" y="506676"/>
                          <a:pt x="591332" y="517780"/>
                          <a:pt x="598562" y="525698"/>
                        </a:cubicBezTo>
                        <a:cubicBezTo>
                          <a:pt x="600013" y="527288"/>
                          <a:pt x="602180" y="528682"/>
                          <a:pt x="601929" y="531094"/>
                        </a:cubicBezTo>
                        <a:cubicBezTo>
                          <a:pt x="600292" y="544049"/>
                          <a:pt x="579420" y="549620"/>
                          <a:pt x="580411" y="555625"/>
                        </a:cubicBezTo>
                        <a:cubicBezTo>
                          <a:pt x="562585" y="560108"/>
                          <a:pt x="543782" y="558994"/>
                          <a:pt x="525694" y="556718"/>
                        </a:cubicBezTo>
                        <a:cubicBezTo>
                          <a:pt x="525477" y="546365"/>
                          <a:pt x="519346" y="537585"/>
                          <a:pt x="518472" y="527400"/>
                        </a:cubicBezTo>
                        <a:cubicBezTo>
                          <a:pt x="523112" y="479036"/>
                          <a:pt x="527453" y="430158"/>
                          <a:pt x="519343" y="381802"/>
                        </a:cubicBezTo>
                        <a:cubicBezTo>
                          <a:pt x="521719" y="379227"/>
                          <a:pt x="521485" y="375629"/>
                          <a:pt x="520685" y="372417"/>
                        </a:cubicBezTo>
                        <a:cubicBezTo>
                          <a:pt x="520037" y="367649"/>
                          <a:pt x="519812" y="362829"/>
                          <a:pt x="519903" y="358020"/>
                        </a:cubicBezTo>
                        <a:cubicBezTo>
                          <a:pt x="520000" y="353015"/>
                          <a:pt x="512256" y="353021"/>
                          <a:pt x="512131" y="358020"/>
                        </a:cubicBezTo>
                        <a:cubicBezTo>
                          <a:pt x="511997" y="363648"/>
                          <a:pt x="512333" y="368993"/>
                          <a:pt x="512956" y="374653"/>
                        </a:cubicBezTo>
                        <a:cubicBezTo>
                          <a:pt x="486915" y="368151"/>
                          <a:pt x="465020" y="345163"/>
                          <a:pt x="437084" y="346425"/>
                        </a:cubicBezTo>
                        <a:cubicBezTo>
                          <a:pt x="435131" y="333781"/>
                          <a:pt x="431324" y="320649"/>
                          <a:pt x="424980" y="309182"/>
                        </a:cubicBezTo>
                        <a:cubicBezTo>
                          <a:pt x="422958" y="305528"/>
                          <a:pt x="418664" y="298797"/>
                          <a:pt x="418664" y="298797"/>
                        </a:cubicBezTo>
                        <a:cubicBezTo>
                          <a:pt x="411066" y="289175"/>
                          <a:pt x="401129" y="281900"/>
                          <a:pt x="388477" y="279307"/>
                        </a:cubicBezTo>
                        <a:cubicBezTo>
                          <a:pt x="385196" y="278787"/>
                          <a:pt x="383906" y="283159"/>
                          <a:pt x="387095" y="284321"/>
                        </a:cubicBezTo>
                        <a:cubicBezTo>
                          <a:pt x="393405" y="286479"/>
                          <a:pt x="398856" y="289406"/>
                          <a:pt x="403568" y="292941"/>
                        </a:cubicBezTo>
                        <a:cubicBezTo>
                          <a:pt x="405221" y="294183"/>
                          <a:pt x="407719" y="296887"/>
                          <a:pt x="407719" y="296887"/>
                        </a:cubicBezTo>
                        <a:cubicBezTo>
                          <a:pt x="421185" y="309873"/>
                          <a:pt x="428546" y="329070"/>
                          <a:pt x="430525" y="347870"/>
                        </a:cubicBezTo>
                        <a:cubicBezTo>
                          <a:pt x="434765" y="381266"/>
                          <a:pt x="435065" y="415104"/>
                          <a:pt x="434362" y="448723"/>
                        </a:cubicBezTo>
                        <a:cubicBezTo>
                          <a:pt x="434440" y="469884"/>
                          <a:pt x="430117" y="491100"/>
                          <a:pt x="432792" y="512186"/>
                        </a:cubicBezTo>
                        <a:cubicBezTo>
                          <a:pt x="435148" y="533150"/>
                          <a:pt x="453293" y="534187"/>
                          <a:pt x="429388" y="551462"/>
                        </a:cubicBezTo>
                        <a:cubicBezTo>
                          <a:pt x="424557" y="555008"/>
                          <a:pt x="419001" y="557518"/>
                          <a:pt x="414215" y="561093"/>
                        </a:cubicBezTo>
                        <a:cubicBezTo>
                          <a:pt x="410931" y="561256"/>
                          <a:pt x="407645" y="561256"/>
                          <a:pt x="404358" y="561207"/>
                        </a:cubicBezTo>
                        <a:cubicBezTo>
                          <a:pt x="402994" y="561281"/>
                          <a:pt x="401743" y="561261"/>
                          <a:pt x="400584" y="560596"/>
                        </a:cubicBezTo>
                        <a:cubicBezTo>
                          <a:pt x="393697" y="525441"/>
                          <a:pt x="387261" y="490177"/>
                          <a:pt x="379308" y="455245"/>
                        </a:cubicBezTo>
                        <a:cubicBezTo>
                          <a:pt x="375325" y="438087"/>
                          <a:pt x="365577" y="420250"/>
                          <a:pt x="347771" y="414650"/>
                        </a:cubicBezTo>
                        <a:cubicBezTo>
                          <a:pt x="349182" y="403515"/>
                          <a:pt x="348731" y="391813"/>
                          <a:pt x="345755" y="380949"/>
                        </a:cubicBezTo>
                        <a:cubicBezTo>
                          <a:pt x="345119" y="374787"/>
                          <a:pt x="345530" y="368728"/>
                          <a:pt x="345093" y="362586"/>
                        </a:cubicBezTo>
                        <a:cubicBezTo>
                          <a:pt x="344956" y="360556"/>
                          <a:pt x="341655" y="359776"/>
                          <a:pt x="341287" y="362072"/>
                        </a:cubicBezTo>
                        <a:cubicBezTo>
                          <a:pt x="340387" y="367486"/>
                          <a:pt x="340490" y="372922"/>
                          <a:pt x="340419" y="378405"/>
                        </a:cubicBezTo>
                        <a:cubicBezTo>
                          <a:pt x="337272" y="376763"/>
                          <a:pt x="334006" y="374401"/>
                          <a:pt x="330368" y="374356"/>
                        </a:cubicBezTo>
                        <a:cubicBezTo>
                          <a:pt x="327844" y="374284"/>
                          <a:pt x="327110" y="378419"/>
                          <a:pt x="329643" y="378921"/>
                        </a:cubicBezTo>
                        <a:cubicBezTo>
                          <a:pt x="333069" y="381020"/>
                          <a:pt x="336444" y="383187"/>
                          <a:pt x="339922" y="385166"/>
                        </a:cubicBezTo>
                        <a:cubicBezTo>
                          <a:pt x="339973" y="386739"/>
                          <a:pt x="340253" y="388327"/>
                          <a:pt x="340424" y="389897"/>
                        </a:cubicBezTo>
                        <a:cubicBezTo>
                          <a:pt x="336201" y="390074"/>
                          <a:pt x="332144" y="392053"/>
                          <a:pt x="328044" y="393004"/>
                        </a:cubicBezTo>
                        <a:cubicBezTo>
                          <a:pt x="326776" y="356664"/>
                          <a:pt x="325611" y="320310"/>
                          <a:pt x="325445" y="283947"/>
                        </a:cubicBezTo>
                        <a:cubicBezTo>
                          <a:pt x="325445" y="283650"/>
                          <a:pt x="325217" y="268776"/>
                          <a:pt x="324868" y="266586"/>
                        </a:cubicBezTo>
                        <a:cubicBezTo>
                          <a:pt x="326359" y="266549"/>
                          <a:pt x="327772" y="266498"/>
                          <a:pt x="329177" y="266364"/>
                        </a:cubicBezTo>
                        <a:cubicBezTo>
                          <a:pt x="329177" y="266364"/>
                          <a:pt x="333272" y="266207"/>
                          <a:pt x="335368" y="265969"/>
                        </a:cubicBezTo>
                        <a:cubicBezTo>
                          <a:pt x="341527" y="269227"/>
                          <a:pt x="347243" y="273268"/>
                          <a:pt x="352463" y="277871"/>
                        </a:cubicBezTo>
                        <a:cubicBezTo>
                          <a:pt x="355346" y="280146"/>
                          <a:pt x="357117" y="280715"/>
                          <a:pt x="359038" y="279338"/>
                        </a:cubicBezTo>
                        <a:cubicBezTo>
                          <a:pt x="362388" y="276494"/>
                          <a:pt x="361257" y="271001"/>
                          <a:pt x="359432" y="267534"/>
                        </a:cubicBezTo>
                        <a:cubicBezTo>
                          <a:pt x="362099" y="270238"/>
                          <a:pt x="366556" y="272328"/>
                          <a:pt x="369620" y="268982"/>
                        </a:cubicBezTo>
                        <a:cubicBezTo>
                          <a:pt x="369934" y="268539"/>
                          <a:pt x="370146" y="268077"/>
                          <a:pt x="370283" y="267606"/>
                        </a:cubicBezTo>
                        <a:cubicBezTo>
                          <a:pt x="370557" y="267863"/>
                          <a:pt x="370862" y="268065"/>
                          <a:pt x="370979" y="268148"/>
                        </a:cubicBezTo>
                        <a:cubicBezTo>
                          <a:pt x="372567" y="269256"/>
                          <a:pt x="379982" y="267471"/>
                          <a:pt x="377081" y="260450"/>
                        </a:cubicBezTo>
                        <a:cubicBezTo>
                          <a:pt x="377769" y="259728"/>
                          <a:pt x="378175" y="258754"/>
                          <a:pt x="378489" y="257900"/>
                        </a:cubicBezTo>
                        <a:cubicBezTo>
                          <a:pt x="396332" y="267075"/>
                          <a:pt x="410352" y="259499"/>
                          <a:pt x="426416" y="251841"/>
                        </a:cubicBezTo>
                        <a:cubicBezTo>
                          <a:pt x="426793" y="251901"/>
                          <a:pt x="427176" y="251827"/>
                          <a:pt x="427521" y="251656"/>
                        </a:cubicBezTo>
                        <a:cubicBezTo>
                          <a:pt x="434628" y="254411"/>
                          <a:pt x="450035" y="258400"/>
                          <a:pt x="449227" y="258080"/>
                        </a:cubicBezTo>
                        <a:cubicBezTo>
                          <a:pt x="469989" y="261909"/>
                          <a:pt x="489836" y="266306"/>
                          <a:pt x="509826" y="272380"/>
                        </a:cubicBezTo>
                        <a:cubicBezTo>
                          <a:pt x="530388" y="277705"/>
                          <a:pt x="552163" y="280189"/>
                          <a:pt x="570708" y="291368"/>
                        </a:cubicBezTo>
                        <a:cubicBezTo>
                          <a:pt x="573692" y="293092"/>
                          <a:pt x="576453" y="294934"/>
                          <a:pt x="579003" y="296887"/>
                        </a:cubicBezTo>
                        <a:close/>
                        <a:moveTo>
                          <a:pt x="598351" y="569867"/>
                        </a:moveTo>
                        <a:cubicBezTo>
                          <a:pt x="597083" y="567126"/>
                          <a:pt x="594944" y="563374"/>
                          <a:pt x="592283" y="561584"/>
                        </a:cubicBezTo>
                        <a:cubicBezTo>
                          <a:pt x="593223" y="559397"/>
                          <a:pt x="593163" y="557001"/>
                          <a:pt x="593602" y="554691"/>
                        </a:cubicBezTo>
                        <a:cubicBezTo>
                          <a:pt x="595293" y="553472"/>
                          <a:pt x="596926" y="552173"/>
                          <a:pt x="598465" y="550782"/>
                        </a:cubicBezTo>
                        <a:cubicBezTo>
                          <a:pt x="598219" y="557141"/>
                          <a:pt x="598174" y="563506"/>
                          <a:pt x="598351" y="569867"/>
                        </a:cubicBezTo>
                        <a:close/>
                        <a:moveTo>
                          <a:pt x="588289" y="560659"/>
                        </a:moveTo>
                        <a:cubicBezTo>
                          <a:pt x="582658" y="562695"/>
                          <a:pt x="579654" y="570578"/>
                          <a:pt x="579348" y="576172"/>
                        </a:cubicBezTo>
                        <a:cubicBezTo>
                          <a:pt x="576008" y="576612"/>
                          <a:pt x="572944" y="577905"/>
                          <a:pt x="569992" y="579590"/>
                        </a:cubicBezTo>
                        <a:cubicBezTo>
                          <a:pt x="566868" y="579832"/>
                          <a:pt x="563573" y="581143"/>
                          <a:pt x="560666" y="581803"/>
                        </a:cubicBezTo>
                        <a:cubicBezTo>
                          <a:pt x="550133" y="584321"/>
                          <a:pt x="539174" y="584230"/>
                          <a:pt x="528489" y="583170"/>
                        </a:cubicBezTo>
                        <a:cubicBezTo>
                          <a:pt x="527889" y="580495"/>
                          <a:pt x="525371" y="578722"/>
                          <a:pt x="525731" y="575558"/>
                        </a:cubicBezTo>
                        <a:cubicBezTo>
                          <a:pt x="525745" y="570627"/>
                          <a:pt x="526142" y="565710"/>
                          <a:pt x="525925" y="560770"/>
                        </a:cubicBezTo>
                        <a:cubicBezTo>
                          <a:pt x="537009" y="563685"/>
                          <a:pt x="548591" y="564722"/>
                          <a:pt x="560046" y="564088"/>
                        </a:cubicBezTo>
                        <a:cubicBezTo>
                          <a:pt x="569732" y="563192"/>
                          <a:pt x="579585" y="563597"/>
                          <a:pt x="588309" y="558160"/>
                        </a:cubicBezTo>
                        <a:cubicBezTo>
                          <a:pt x="588223" y="558988"/>
                          <a:pt x="588171" y="559854"/>
                          <a:pt x="588289" y="560659"/>
                        </a:cubicBezTo>
                        <a:close/>
                        <a:moveTo>
                          <a:pt x="527887" y="586457"/>
                        </a:moveTo>
                        <a:cubicBezTo>
                          <a:pt x="538351" y="588847"/>
                          <a:pt x="549216" y="588344"/>
                          <a:pt x="559658" y="586431"/>
                        </a:cubicBezTo>
                        <a:cubicBezTo>
                          <a:pt x="553353" y="590603"/>
                          <a:pt x="547586" y="595534"/>
                          <a:pt x="541695" y="600260"/>
                        </a:cubicBezTo>
                        <a:cubicBezTo>
                          <a:pt x="537086" y="603855"/>
                          <a:pt x="530331" y="610093"/>
                          <a:pt x="524417" y="605965"/>
                        </a:cubicBezTo>
                        <a:cubicBezTo>
                          <a:pt x="528186" y="601876"/>
                          <a:pt x="528172" y="591845"/>
                          <a:pt x="527887" y="586457"/>
                        </a:cubicBezTo>
                        <a:close/>
                        <a:moveTo>
                          <a:pt x="451752" y="357586"/>
                        </a:moveTo>
                        <a:cubicBezTo>
                          <a:pt x="458096" y="356010"/>
                          <a:pt x="462222" y="358768"/>
                          <a:pt x="467779" y="361364"/>
                        </a:cubicBezTo>
                        <a:cubicBezTo>
                          <a:pt x="473355" y="364051"/>
                          <a:pt x="478803" y="366995"/>
                          <a:pt x="484297" y="369844"/>
                        </a:cubicBezTo>
                        <a:cubicBezTo>
                          <a:pt x="469266" y="369216"/>
                          <a:pt x="454042" y="370752"/>
                          <a:pt x="439862" y="375915"/>
                        </a:cubicBezTo>
                        <a:cubicBezTo>
                          <a:pt x="439579" y="370441"/>
                          <a:pt x="439231" y="364953"/>
                          <a:pt x="438714" y="359485"/>
                        </a:cubicBezTo>
                        <a:cubicBezTo>
                          <a:pt x="443037" y="358708"/>
                          <a:pt x="447389" y="358097"/>
                          <a:pt x="451752" y="357586"/>
                        </a:cubicBezTo>
                        <a:close/>
                        <a:moveTo>
                          <a:pt x="438488" y="357232"/>
                        </a:moveTo>
                        <a:cubicBezTo>
                          <a:pt x="438297" y="355382"/>
                          <a:pt x="438080" y="353535"/>
                          <a:pt x="437840" y="351693"/>
                        </a:cubicBezTo>
                        <a:cubicBezTo>
                          <a:pt x="442349" y="352667"/>
                          <a:pt x="446880" y="353449"/>
                          <a:pt x="451312" y="354748"/>
                        </a:cubicBezTo>
                        <a:cubicBezTo>
                          <a:pt x="446989" y="355336"/>
                          <a:pt x="442726" y="356204"/>
                          <a:pt x="438488" y="357232"/>
                        </a:cubicBezTo>
                        <a:close/>
                        <a:moveTo>
                          <a:pt x="469806" y="652932"/>
                        </a:moveTo>
                        <a:cubicBezTo>
                          <a:pt x="464221" y="653632"/>
                          <a:pt x="458587" y="654057"/>
                          <a:pt x="453139" y="655628"/>
                        </a:cubicBezTo>
                        <a:cubicBezTo>
                          <a:pt x="451580" y="655948"/>
                          <a:pt x="449841" y="655988"/>
                          <a:pt x="448285" y="656430"/>
                        </a:cubicBezTo>
                        <a:cubicBezTo>
                          <a:pt x="446620" y="651145"/>
                          <a:pt x="446238" y="643618"/>
                          <a:pt x="452968" y="642119"/>
                        </a:cubicBezTo>
                        <a:cubicBezTo>
                          <a:pt x="458187" y="642422"/>
                          <a:pt x="463393" y="642376"/>
                          <a:pt x="468638" y="642296"/>
                        </a:cubicBezTo>
                        <a:cubicBezTo>
                          <a:pt x="466174" y="645326"/>
                          <a:pt x="466973" y="650197"/>
                          <a:pt x="469806" y="652932"/>
                        </a:cubicBezTo>
                        <a:close/>
                        <a:moveTo>
                          <a:pt x="470460" y="642416"/>
                        </a:moveTo>
                        <a:cubicBezTo>
                          <a:pt x="472590" y="642319"/>
                          <a:pt x="474589" y="642382"/>
                          <a:pt x="475205" y="644912"/>
                        </a:cubicBezTo>
                        <a:cubicBezTo>
                          <a:pt x="475665" y="646548"/>
                          <a:pt x="475928" y="649906"/>
                          <a:pt x="474857" y="651388"/>
                        </a:cubicBezTo>
                        <a:cubicBezTo>
                          <a:pt x="472099" y="654654"/>
                          <a:pt x="467287" y="645668"/>
                          <a:pt x="470460" y="642416"/>
                        </a:cubicBezTo>
                        <a:close/>
                        <a:moveTo>
                          <a:pt x="472119" y="639703"/>
                        </a:moveTo>
                        <a:cubicBezTo>
                          <a:pt x="469292" y="638441"/>
                          <a:pt x="465637" y="639469"/>
                          <a:pt x="462565" y="639372"/>
                        </a:cubicBezTo>
                        <a:cubicBezTo>
                          <a:pt x="460754" y="639432"/>
                          <a:pt x="458950" y="639546"/>
                          <a:pt x="457145" y="639678"/>
                        </a:cubicBezTo>
                        <a:cubicBezTo>
                          <a:pt x="454147" y="634318"/>
                          <a:pt x="439845" y="640012"/>
                          <a:pt x="434240" y="639835"/>
                        </a:cubicBezTo>
                        <a:cubicBezTo>
                          <a:pt x="444191" y="636757"/>
                          <a:pt x="451726" y="628128"/>
                          <a:pt x="461957" y="625552"/>
                        </a:cubicBezTo>
                        <a:cubicBezTo>
                          <a:pt x="469912" y="623682"/>
                          <a:pt x="481567" y="624302"/>
                          <a:pt x="486513" y="631500"/>
                        </a:cubicBezTo>
                        <a:cubicBezTo>
                          <a:pt x="487466" y="634121"/>
                          <a:pt x="486281" y="636186"/>
                          <a:pt x="485490" y="638624"/>
                        </a:cubicBezTo>
                        <a:cubicBezTo>
                          <a:pt x="482669" y="639709"/>
                          <a:pt x="479908" y="640937"/>
                          <a:pt x="477218" y="642387"/>
                        </a:cubicBezTo>
                        <a:cubicBezTo>
                          <a:pt x="476199" y="640797"/>
                          <a:pt x="473998" y="639429"/>
                          <a:pt x="472119" y="639703"/>
                        </a:cubicBezTo>
                        <a:close/>
                        <a:moveTo>
                          <a:pt x="476876" y="619876"/>
                        </a:moveTo>
                        <a:cubicBezTo>
                          <a:pt x="455626" y="615287"/>
                          <a:pt x="446161" y="629481"/>
                          <a:pt x="429703" y="638050"/>
                        </a:cubicBezTo>
                        <a:cubicBezTo>
                          <a:pt x="428603" y="638527"/>
                          <a:pt x="428814" y="639772"/>
                          <a:pt x="429554" y="640406"/>
                        </a:cubicBezTo>
                        <a:cubicBezTo>
                          <a:pt x="425063" y="641197"/>
                          <a:pt x="420266" y="641248"/>
                          <a:pt x="415934" y="642633"/>
                        </a:cubicBezTo>
                        <a:cubicBezTo>
                          <a:pt x="411994" y="620850"/>
                          <a:pt x="407908" y="599095"/>
                          <a:pt x="403773" y="577348"/>
                        </a:cubicBezTo>
                        <a:cubicBezTo>
                          <a:pt x="414041" y="580055"/>
                          <a:pt x="425445" y="578142"/>
                          <a:pt x="433988" y="571575"/>
                        </a:cubicBezTo>
                        <a:cubicBezTo>
                          <a:pt x="434548" y="572597"/>
                          <a:pt x="435739" y="572960"/>
                          <a:pt x="436841" y="572740"/>
                        </a:cubicBezTo>
                        <a:cubicBezTo>
                          <a:pt x="439505" y="578248"/>
                          <a:pt x="442760" y="583165"/>
                          <a:pt x="446106" y="588210"/>
                        </a:cubicBezTo>
                        <a:cubicBezTo>
                          <a:pt x="452243" y="596502"/>
                          <a:pt x="457271" y="607030"/>
                          <a:pt x="466982" y="611615"/>
                        </a:cubicBezTo>
                        <a:cubicBezTo>
                          <a:pt x="472990" y="614068"/>
                          <a:pt x="480465" y="615436"/>
                          <a:pt x="483414" y="621975"/>
                        </a:cubicBezTo>
                        <a:cubicBezTo>
                          <a:pt x="481319" y="621015"/>
                          <a:pt x="479080" y="620338"/>
                          <a:pt x="476876" y="619876"/>
                        </a:cubicBezTo>
                        <a:close/>
                        <a:moveTo>
                          <a:pt x="403153" y="574096"/>
                        </a:moveTo>
                        <a:cubicBezTo>
                          <a:pt x="402628" y="571338"/>
                          <a:pt x="402100" y="568580"/>
                          <a:pt x="401574" y="565821"/>
                        </a:cubicBezTo>
                        <a:cubicBezTo>
                          <a:pt x="407762" y="566575"/>
                          <a:pt x="411819" y="565836"/>
                          <a:pt x="417484" y="566310"/>
                        </a:cubicBezTo>
                        <a:cubicBezTo>
                          <a:pt x="423746" y="564708"/>
                          <a:pt x="429137" y="561692"/>
                          <a:pt x="434322" y="557878"/>
                        </a:cubicBezTo>
                        <a:cubicBezTo>
                          <a:pt x="434437" y="560665"/>
                          <a:pt x="434400" y="563337"/>
                          <a:pt x="433857" y="566118"/>
                        </a:cubicBezTo>
                        <a:cubicBezTo>
                          <a:pt x="422656" y="573231"/>
                          <a:pt x="416922" y="575775"/>
                          <a:pt x="403153" y="574096"/>
                        </a:cubicBezTo>
                        <a:close/>
                        <a:moveTo>
                          <a:pt x="328540" y="407589"/>
                        </a:moveTo>
                        <a:cubicBezTo>
                          <a:pt x="328403" y="403620"/>
                          <a:pt x="328286" y="399651"/>
                          <a:pt x="328138" y="395682"/>
                        </a:cubicBezTo>
                        <a:cubicBezTo>
                          <a:pt x="332378" y="395257"/>
                          <a:pt x="336821" y="395060"/>
                          <a:pt x="340781" y="393218"/>
                        </a:cubicBezTo>
                        <a:cubicBezTo>
                          <a:pt x="341421" y="399765"/>
                          <a:pt x="341704" y="406333"/>
                          <a:pt x="342355" y="412872"/>
                        </a:cubicBezTo>
                        <a:cubicBezTo>
                          <a:pt x="337783" y="411644"/>
                          <a:pt x="333118" y="410530"/>
                          <a:pt x="328406" y="410656"/>
                        </a:cubicBezTo>
                        <a:cubicBezTo>
                          <a:pt x="328663" y="409642"/>
                          <a:pt x="328569" y="408394"/>
                          <a:pt x="328540" y="407589"/>
                        </a:cubicBezTo>
                        <a:close/>
                        <a:moveTo>
                          <a:pt x="569677" y="251276"/>
                        </a:moveTo>
                        <a:cubicBezTo>
                          <a:pt x="571416" y="251521"/>
                          <a:pt x="573152" y="251767"/>
                          <a:pt x="574891" y="252013"/>
                        </a:cubicBezTo>
                        <a:cubicBezTo>
                          <a:pt x="574920" y="252201"/>
                          <a:pt x="574946" y="252392"/>
                          <a:pt x="574971" y="252581"/>
                        </a:cubicBezTo>
                        <a:cubicBezTo>
                          <a:pt x="576476" y="263731"/>
                          <a:pt x="577335" y="276412"/>
                          <a:pt x="577818" y="288113"/>
                        </a:cubicBezTo>
                        <a:cubicBezTo>
                          <a:pt x="575020" y="286245"/>
                          <a:pt x="572122" y="284572"/>
                          <a:pt x="569143" y="283062"/>
                        </a:cubicBezTo>
                        <a:cubicBezTo>
                          <a:pt x="568629" y="278656"/>
                          <a:pt x="568113" y="274239"/>
                          <a:pt x="567350" y="269873"/>
                        </a:cubicBezTo>
                        <a:cubicBezTo>
                          <a:pt x="565666" y="263403"/>
                          <a:pt x="563938" y="256924"/>
                          <a:pt x="563630" y="250125"/>
                        </a:cubicBezTo>
                        <a:cubicBezTo>
                          <a:pt x="565203" y="251179"/>
                          <a:pt x="567961" y="251033"/>
                          <a:pt x="569677" y="251276"/>
                        </a:cubicBezTo>
                        <a:close/>
                        <a:moveTo>
                          <a:pt x="559809" y="257518"/>
                        </a:moveTo>
                        <a:cubicBezTo>
                          <a:pt x="560729" y="265387"/>
                          <a:pt x="563887" y="272662"/>
                          <a:pt x="564144" y="280712"/>
                        </a:cubicBezTo>
                        <a:cubicBezTo>
                          <a:pt x="550652" y="274827"/>
                          <a:pt x="535822" y="271883"/>
                          <a:pt x="521305" y="269667"/>
                        </a:cubicBezTo>
                        <a:cubicBezTo>
                          <a:pt x="490022" y="260250"/>
                          <a:pt x="462071" y="253069"/>
                          <a:pt x="428689" y="249217"/>
                        </a:cubicBezTo>
                        <a:cubicBezTo>
                          <a:pt x="427898" y="247495"/>
                          <a:pt x="426890" y="245856"/>
                          <a:pt x="426062" y="244149"/>
                        </a:cubicBezTo>
                        <a:cubicBezTo>
                          <a:pt x="454718" y="249023"/>
                          <a:pt x="483449" y="253560"/>
                          <a:pt x="512328" y="256898"/>
                        </a:cubicBezTo>
                        <a:cubicBezTo>
                          <a:pt x="525539" y="257889"/>
                          <a:pt x="547797" y="262063"/>
                          <a:pt x="559809" y="257518"/>
                        </a:cubicBezTo>
                        <a:close/>
                        <a:moveTo>
                          <a:pt x="444713" y="218028"/>
                        </a:moveTo>
                        <a:cubicBezTo>
                          <a:pt x="470865" y="220064"/>
                          <a:pt x="514820" y="225675"/>
                          <a:pt x="535799" y="232773"/>
                        </a:cubicBezTo>
                        <a:cubicBezTo>
                          <a:pt x="550084" y="237330"/>
                          <a:pt x="558108" y="242656"/>
                          <a:pt x="558396" y="247767"/>
                        </a:cubicBezTo>
                        <a:lnTo>
                          <a:pt x="558504" y="247761"/>
                        </a:lnTo>
                        <a:cubicBezTo>
                          <a:pt x="558165" y="249743"/>
                          <a:pt x="557528" y="251293"/>
                          <a:pt x="557068" y="253583"/>
                        </a:cubicBezTo>
                        <a:cubicBezTo>
                          <a:pt x="543437" y="256367"/>
                          <a:pt x="529103" y="253554"/>
                          <a:pt x="515369" y="252469"/>
                        </a:cubicBezTo>
                        <a:cubicBezTo>
                          <a:pt x="484574" y="249026"/>
                          <a:pt x="453964" y="244106"/>
                          <a:pt x="423432" y="238861"/>
                        </a:cubicBezTo>
                        <a:cubicBezTo>
                          <a:pt x="422233" y="236365"/>
                          <a:pt x="421074" y="233850"/>
                          <a:pt x="419946" y="231311"/>
                        </a:cubicBezTo>
                        <a:cubicBezTo>
                          <a:pt x="458901" y="235694"/>
                          <a:pt x="497683" y="241585"/>
                          <a:pt x="536630" y="245996"/>
                        </a:cubicBezTo>
                        <a:cubicBezTo>
                          <a:pt x="537592" y="246051"/>
                          <a:pt x="536690" y="246011"/>
                          <a:pt x="537178" y="245959"/>
                        </a:cubicBezTo>
                        <a:cubicBezTo>
                          <a:pt x="537423" y="245934"/>
                          <a:pt x="537669" y="245916"/>
                          <a:pt x="537912" y="245896"/>
                        </a:cubicBezTo>
                        <a:cubicBezTo>
                          <a:pt x="540147" y="245537"/>
                          <a:pt x="539474" y="243030"/>
                          <a:pt x="537535" y="242747"/>
                        </a:cubicBezTo>
                        <a:cubicBezTo>
                          <a:pt x="498014" y="236311"/>
                          <a:pt x="457659" y="231608"/>
                          <a:pt x="417779" y="226320"/>
                        </a:cubicBezTo>
                        <a:cubicBezTo>
                          <a:pt x="416305" y="222857"/>
                          <a:pt x="414858" y="219350"/>
                          <a:pt x="413476" y="215838"/>
                        </a:cubicBezTo>
                        <a:cubicBezTo>
                          <a:pt x="418961" y="216132"/>
                          <a:pt x="429046" y="216735"/>
                          <a:pt x="441432" y="217754"/>
                        </a:cubicBezTo>
                        <a:cubicBezTo>
                          <a:pt x="442352" y="218488"/>
                          <a:pt x="443674" y="218619"/>
                          <a:pt x="444713" y="218028"/>
                        </a:cubicBezTo>
                        <a:close/>
                        <a:moveTo>
                          <a:pt x="438466" y="212329"/>
                        </a:moveTo>
                        <a:cubicBezTo>
                          <a:pt x="425622" y="211312"/>
                          <a:pt x="415669" y="210767"/>
                          <a:pt x="411428" y="210556"/>
                        </a:cubicBezTo>
                        <a:cubicBezTo>
                          <a:pt x="409318" y="204996"/>
                          <a:pt x="407325" y="199391"/>
                          <a:pt x="405401" y="193763"/>
                        </a:cubicBezTo>
                        <a:cubicBezTo>
                          <a:pt x="412291" y="191610"/>
                          <a:pt x="418958" y="188655"/>
                          <a:pt x="425597" y="185817"/>
                        </a:cubicBezTo>
                        <a:lnTo>
                          <a:pt x="438466" y="212329"/>
                        </a:lnTo>
                        <a:close/>
                        <a:moveTo>
                          <a:pt x="305909" y="79267"/>
                        </a:moveTo>
                        <a:cubicBezTo>
                          <a:pt x="310894" y="65278"/>
                          <a:pt x="312633" y="46202"/>
                          <a:pt x="302677" y="34049"/>
                        </a:cubicBezTo>
                        <a:cubicBezTo>
                          <a:pt x="303136" y="32956"/>
                          <a:pt x="303884" y="32031"/>
                          <a:pt x="304524" y="30951"/>
                        </a:cubicBezTo>
                        <a:cubicBezTo>
                          <a:pt x="321839" y="45808"/>
                          <a:pt x="321730" y="73365"/>
                          <a:pt x="315640" y="93669"/>
                        </a:cubicBezTo>
                        <a:cubicBezTo>
                          <a:pt x="314529" y="89529"/>
                          <a:pt x="314989" y="84438"/>
                          <a:pt x="311471" y="81448"/>
                        </a:cubicBezTo>
                        <a:cubicBezTo>
                          <a:pt x="308804" y="79361"/>
                          <a:pt x="306232" y="80820"/>
                          <a:pt x="304524" y="83033"/>
                        </a:cubicBezTo>
                        <a:cubicBezTo>
                          <a:pt x="304890" y="81762"/>
                          <a:pt x="305361" y="80512"/>
                          <a:pt x="305909" y="79267"/>
                        </a:cubicBezTo>
                        <a:close/>
                        <a:moveTo>
                          <a:pt x="221059" y="47744"/>
                        </a:moveTo>
                        <a:cubicBezTo>
                          <a:pt x="221602" y="38221"/>
                          <a:pt x="223655" y="26728"/>
                          <a:pt x="232966" y="21948"/>
                        </a:cubicBezTo>
                        <a:cubicBezTo>
                          <a:pt x="232769" y="24373"/>
                          <a:pt x="232486" y="26785"/>
                          <a:pt x="232072" y="29181"/>
                        </a:cubicBezTo>
                        <a:cubicBezTo>
                          <a:pt x="231578" y="28170"/>
                          <a:pt x="230191" y="24016"/>
                          <a:pt x="229100" y="26426"/>
                        </a:cubicBezTo>
                        <a:cubicBezTo>
                          <a:pt x="234083" y="56184"/>
                          <a:pt x="282349" y="66632"/>
                          <a:pt x="298651" y="90248"/>
                        </a:cubicBezTo>
                        <a:cubicBezTo>
                          <a:pt x="282072" y="81645"/>
                          <a:pt x="272661" y="77205"/>
                          <a:pt x="265360" y="99197"/>
                        </a:cubicBezTo>
                        <a:cubicBezTo>
                          <a:pt x="253984" y="82488"/>
                          <a:pt x="235190" y="72976"/>
                          <a:pt x="223406" y="56590"/>
                        </a:cubicBezTo>
                        <a:cubicBezTo>
                          <a:pt x="220545" y="53980"/>
                          <a:pt x="220354" y="51387"/>
                          <a:pt x="221059" y="47744"/>
                        </a:cubicBezTo>
                        <a:close/>
                        <a:moveTo>
                          <a:pt x="279785" y="87958"/>
                        </a:moveTo>
                        <a:cubicBezTo>
                          <a:pt x="279585" y="87927"/>
                          <a:pt x="279428" y="87876"/>
                          <a:pt x="279785" y="87958"/>
                        </a:cubicBezTo>
                        <a:lnTo>
                          <a:pt x="279785" y="87958"/>
                        </a:lnTo>
                        <a:close/>
                        <a:moveTo>
                          <a:pt x="187329" y="69898"/>
                        </a:moveTo>
                        <a:cubicBezTo>
                          <a:pt x="195413" y="61735"/>
                          <a:pt x="204650" y="55239"/>
                          <a:pt x="214352" y="49166"/>
                        </a:cubicBezTo>
                        <a:cubicBezTo>
                          <a:pt x="213347" y="54479"/>
                          <a:pt x="216160" y="58757"/>
                          <a:pt x="219612" y="62474"/>
                        </a:cubicBezTo>
                        <a:cubicBezTo>
                          <a:pt x="232284" y="79235"/>
                          <a:pt x="251894" y="89121"/>
                          <a:pt x="264269" y="106181"/>
                        </a:cubicBezTo>
                        <a:cubicBezTo>
                          <a:pt x="265397" y="107680"/>
                          <a:pt x="268421" y="107940"/>
                          <a:pt x="268826" y="105584"/>
                        </a:cubicBezTo>
                        <a:cubicBezTo>
                          <a:pt x="270083" y="99288"/>
                          <a:pt x="272687" y="91805"/>
                          <a:pt x="278415" y="88275"/>
                        </a:cubicBezTo>
                        <a:cubicBezTo>
                          <a:pt x="281973" y="87447"/>
                          <a:pt x="288226" y="91525"/>
                          <a:pt x="291766" y="92884"/>
                        </a:cubicBezTo>
                        <a:cubicBezTo>
                          <a:pt x="293919" y="93949"/>
                          <a:pt x="296044" y="95088"/>
                          <a:pt x="297991" y="96496"/>
                        </a:cubicBezTo>
                        <a:cubicBezTo>
                          <a:pt x="299022" y="97307"/>
                          <a:pt x="300218" y="98335"/>
                          <a:pt x="301566" y="97747"/>
                        </a:cubicBezTo>
                        <a:cubicBezTo>
                          <a:pt x="313458" y="122314"/>
                          <a:pt x="320320" y="149331"/>
                          <a:pt x="329491" y="175189"/>
                        </a:cubicBezTo>
                        <a:cubicBezTo>
                          <a:pt x="331387" y="180532"/>
                          <a:pt x="335536" y="189532"/>
                          <a:pt x="335536" y="189532"/>
                        </a:cubicBezTo>
                        <a:cubicBezTo>
                          <a:pt x="341572" y="204437"/>
                          <a:pt x="348868" y="218713"/>
                          <a:pt x="358930" y="231623"/>
                        </a:cubicBezTo>
                        <a:cubicBezTo>
                          <a:pt x="360318" y="233170"/>
                          <a:pt x="362882" y="231169"/>
                          <a:pt x="361799" y="229410"/>
                        </a:cubicBezTo>
                        <a:cubicBezTo>
                          <a:pt x="348799" y="211701"/>
                          <a:pt x="340501" y="191816"/>
                          <a:pt x="333343" y="171389"/>
                        </a:cubicBezTo>
                        <a:cubicBezTo>
                          <a:pt x="331918" y="167323"/>
                          <a:pt x="329174" y="161061"/>
                          <a:pt x="329174" y="161061"/>
                        </a:cubicBezTo>
                        <a:cubicBezTo>
                          <a:pt x="321845" y="139203"/>
                          <a:pt x="315149" y="117032"/>
                          <a:pt x="304815" y="96490"/>
                        </a:cubicBezTo>
                        <a:cubicBezTo>
                          <a:pt x="305858" y="92970"/>
                          <a:pt x="305983" y="89095"/>
                          <a:pt x="308613" y="86128"/>
                        </a:cubicBezTo>
                        <a:cubicBezTo>
                          <a:pt x="310469" y="91602"/>
                          <a:pt x="309521" y="98118"/>
                          <a:pt x="314843" y="101810"/>
                        </a:cubicBezTo>
                        <a:cubicBezTo>
                          <a:pt x="316040" y="102669"/>
                          <a:pt x="318013" y="102047"/>
                          <a:pt x="318675" y="100805"/>
                        </a:cubicBezTo>
                        <a:cubicBezTo>
                          <a:pt x="326976" y="83561"/>
                          <a:pt x="326939" y="62386"/>
                          <a:pt x="320848" y="44426"/>
                        </a:cubicBezTo>
                        <a:cubicBezTo>
                          <a:pt x="324660" y="44380"/>
                          <a:pt x="328438" y="43983"/>
                          <a:pt x="332287" y="44323"/>
                        </a:cubicBezTo>
                        <a:cubicBezTo>
                          <a:pt x="354433" y="46927"/>
                          <a:pt x="366351" y="62937"/>
                          <a:pt x="375040" y="81671"/>
                        </a:cubicBezTo>
                        <a:cubicBezTo>
                          <a:pt x="378129" y="88335"/>
                          <a:pt x="384351" y="102215"/>
                          <a:pt x="384351" y="102215"/>
                        </a:cubicBezTo>
                        <a:cubicBezTo>
                          <a:pt x="396483" y="128282"/>
                          <a:pt x="410006" y="153694"/>
                          <a:pt x="422210" y="179732"/>
                        </a:cubicBezTo>
                        <a:cubicBezTo>
                          <a:pt x="416037" y="182633"/>
                          <a:pt x="409595" y="184926"/>
                          <a:pt x="403293" y="187499"/>
                        </a:cubicBezTo>
                        <a:cubicBezTo>
                          <a:pt x="393571" y="159565"/>
                          <a:pt x="386681" y="130523"/>
                          <a:pt x="378463" y="102215"/>
                        </a:cubicBezTo>
                        <a:cubicBezTo>
                          <a:pt x="378463" y="102215"/>
                          <a:pt x="378055" y="99408"/>
                          <a:pt x="377512" y="98009"/>
                        </a:cubicBezTo>
                        <a:cubicBezTo>
                          <a:pt x="376827" y="96247"/>
                          <a:pt x="376245" y="93332"/>
                          <a:pt x="374780" y="92024"/>
                        </a:cubicBezTo>
                        <a:cubicBezTo>
                          <a:pt x="372116" y="89652"/>
                          <a:pt x="368270" y="93112"/>
                          <a:pt x="370051" y="95691"/>
                        </a:cubicBezTo>
                        <a:cubicBezTo>
                          <a:pt x="370720" y="97218"/>
                          <a:pt x="371348" y="98760"/>
                          <a:pt x="371967" y="100308"/>
                        </a:cubicBezTo>
                        <a:lnTo>
                          <a:pt x="371907" y="100308"/>
                        </a:lnTo>
                        <a:cubicBezTo>
                          <a:pt x="382481" y="140220"/>
                          <a:pt x="392966" y="180326"/>
                          <a:pt x="408062" y="218808"/>
                        </a:cubicBezTo>
                        <a:cubicBezTo>
                          <a:pt x="412054" y="228901"/>
                          <a:pt x="416185" y="239386"/>
                          <a:pt x="422807" y="248098"/>
                        </a:cubicBezTo>
                        <a:cubicBezTo>
                          <a:pt x="404844" y="256941"/>
                          <a:pt x="398428" y="258608"/>
                          <a:pt x="378823" y="256575"/>
                        </a:cubicBezTo>
                        <a:cubicBezTo>
                          <a:pt x="379762" y="248580"/>
                          <a:pt x="372587" y="241953"/>
                          <a:pt x="366488" y="237836"/>
                        </a:cubicBezTo>
                        <a:cubicBezTo>
                          <a:pt x="361206" y="233347"/>
                          <a:pt x="353493" y="230398"/>
                          <a:pt x="345073" y="228933"/>
                        </a:cubicBezTo>
                        <a:cubicBezTo>
                          <a:pt x="341961" y="228390"/>
                          <a:pt x="335536" y="227474"/>
                          <a:pt x="335536" y="227474"/>
                        </a:cubicBezTo>
                        <a:cubicBezTo>
                          <a:pt x="324597" y="226808"/>
                          <a:pt x="313496" y="228707"/>
                          <a:pt x="303719" y="233281"/>
                        </a:cubicBezTo>
                        <a:cubicBezTo>
                          <a:pt x="274589" y="243378"/>
                          <a:pt x="244796" y="227551"/>
                          <a:pt x="215234" y="227682"/>
                        </a:cubicBezTo>
                        <a:cubicBezTo>
                          <a:pt x="217079" y="223956"/>
                          <a:pt x="217367" y="219639"/>
                          <a:pt x="218067" y="215587"/>
                        </a:cubicBezTo>
                        <a:cubicBezTo>
                          <a:pt x="220334" y="191827"/>
                          <a:pt x="220377" y="167683"/>
                          <a:pt x="219552" y="143832"/>
                        </a:cubicBezTo>
                        <a:cubicBezTo>
                          <a:pt x="219146" y="136391"/>
                          <a:pt x="218444" y="129821"/>
                          <a:pt x="217342" y="122662"/>
                        </a:cubicBezTo>
                        <a:cubicBezTo>
                          <a:pt x="216891" y="119747"/>
                          <a:pt x="212293" y="120521"/>
                          <a:pt x="212291" y="123345"/>
                        </a:cubicBezTo>
                        <a:cubicBezTo>
                          <a:pt x="211374" y="145665"/>
                          <a:pt x="210626" y="168002"/>
                          <a:pt x="210003" y="190340"/>
                        </a:cubicBezTo>
                        <a:cubicBezTo>
                          <a:pt x="209652" y="202364"/>
                          <a:pt x="208404" y="214502"/>
                          <a:pt x="210203" y="226463"/>
                        </a:cubicBezTo>
                        <a:cubicBezTo>
                          <a:pt x="189999" y="223616"/>
                          <a:pt x="170340" y="231023"/>
                          <a:pt x="151289" y="236742"/>
                        </a:cubicBezTo>
                        <a:cubicBezTo>
                          <a:pt x="148659" y="237736"/>
                          <a:pt x="145678" y="238156"/>
                          <a:pt x="143354" y="239723"/>
                        </a:cubicBezTo>
                        <a:cubicBezTo>
                          <a:pt x="142546" y="240551"/>
                          <a:pt x="143777" y="241770"/>
                          <a:pt x="144619" y="240988"/>
                        </a:cubicBezTo>
                        <a:cubicBezTo>
                          <a:pt x="165106" y="238801"/>
                          <a:pt x="185116" y="229478"/>
                          <a:pt x="206149" y="230794"/>
                        </a:cubicBezTo>
                        <a:cubicBezTo>
                          <a:pt x="213433" y="231654"/>
                          <a:pt x="220848" y="231371"/>
                          <a:pt x="228118" y="232553"/>
                        </a:cubicBezTo>
                        <a:cubicBezTo>
                          <a:pt x="247586" y="234863"/>
                          <a:pt x="266636" y="241611"/>
                          <a:pt x="286378" y="241334"/>
                        </a:cubicBezTo>
                        <a:cubicBezTo>
                          <a:pt x="293006" y="241288"/>
                          <a:pt x="299476" y="239817"/>
                          <a:pt x="305635" y="237567"/>
                        </a:cubicBezTo>
                        <a:cubicBezTo>
                          <a:pt x="312916" y="233781"/>
                          <a:pt x="320994" y="232091"/>
                          <a:pt x="329177" y="231994"/>
                        </a:cubicBezTo>
                        <a:cubicBezTo>
                          <a:pt x="329177" y="231994"/>
                          <a:pt x="341015" y="232890"/>
                          <a:pt x="346675" y="234261"/>
                        </a:cubicBezTo>
                        <a:cubicBezTo>
                          <a:pt x="352828" y="235646"/>
                          <a:pt x="359221" y="237385"/>
                          <a:pt x="363930" y="241836"/>
                        </a:cubicBezTo>
                        <a:cubicBezTo>
                          <a:pt x="368978" y="245262"/>
                          <a:pt x="374280" y="250234"/>
                          <a:pt x="375057" y="256515"/>
                        </a:cubicBezTo>
                        <a:cubicBezTo>
                          <a:pt x="370508" y="249814"/>
                          <a:pt x="364349" y="244106"/>
                          <a:pt x="357719" y="239629"/>
                        </a:cubicBezTo>
                        <a:cubicBezTo>
                          <a:pt x="356132" y="238727"/>
                          <a:pt x="354707" y="241165"/>
                          <a:pt x="356289" y="242076"/>
                        </a:cubicBezTo>
                        <a:cubicBezTo>
                          <a:pt x="362528" y="246308"/>
                          <a:pt x="372236" y="255216"/>
                          <a:pt x="374617" y="262403"/>
                        </a:cubicBezTo>
                        <a:cubicBezTo>
                          <a:pt x="375268" y="264936"/>
                          <a:pt x="373572" y="265758"/>
                          <a:pt x="371468" y="266595"/>
                        </a:cubicBezTo>
                        <a:cubicBezTo>
                          <a:pt x="371145" y="266746"/>
                          <a:pt x="370754" y="266809"/>
                          <a:pt x="370437" y="266855"/>
                        </a:cubicBezTo>
                        <a:cubicBezTo>
                          <a:pt x="370988" y="261661"/>
                          <a:pt x="362536" y="255276"/>
                          <a:pt x="359324" y="252435"/>
                        </a:cubicBezTo>
                        <a:cubicBezTo>
                          <a:pt x="356306" y="249982"/>
                          <a:pt x="353162" y="247513"/>
                          <a:pt x="349767" y="245594"/>
                        </a:cubicBezTo>
                        <a:cubicBezTo>
                          <a:pt x="348177" y="244697"/>
                          <a:pt x="346752" y="247136"/>
                          <a:pt x="348337" y="248041"/>
                        </a:cubicBezTo>
                        <a:cubicBezTo>
                          <a:pt x="353094" y="250719"/>
                          <a:pt x="367059" y="261058"/>
                          <a:pt x="367579" y="266412"/>
                        </a:cubicBezTo>
                        <a:cubicBezTo>
                          <a:pt x="367510" y="267640"/>
                          <a:pt x="365763" y="267880"/>
                          <a:pt x="364709" y="267608"/>
                        </a:cubicBezTo>
                        <a:cubicBezTo>
                          <a:pt x="363615" y="267329"/>
                          <a:pt x="362776" y="266483"/>
                          <a:pt x="361919" y="265801"/>
                        </a:cubicBezTo>
                        <a:cubicBezTo>
                          <a:pt x="359649" y="264014"/>
                          <a:pt x="356825" y="261698"/>
                          <a:pt x="354484" y="260473"/>
                        </a:cubicBezTo>
                        <a:cubicBezTo>
                          <a:pt x="354247" y="260282"/>
                          <a:pt x="353984" y="260227"/>
                          <a:pt x="353739" y="260262"/>
                        </a:cubicBezTo>
                        <a:cubicBezTo>
                          <a:pt x="350215" y="256955"/>
                          <a:pt x="345907" y="254380"/>
                          <a:pt x="341338" y="253029"/>
                        </a:cubicBezTo>
                        <a:cubicBezTo>
                          <a:pt x="339199" y="252395"/>
                          <a:pt x="338369" y="255607"/>
                          <a:pt x="340427" y="256336"/>
                        </a:cubicBezTo>
                        <a:cubicBezTo>
                          <a:pt x="348396" y="259508"/>
                          <a:pt x="358133" y="267574"/>
                          <a:pt x="356948" y="277023"/>
                        </a:cubicBezTo>
                        <a:cubicBezTo>
                          <a:pt x="351974" y="271812"/>
                          <a:pt x="345944" y="267700"/>
                          <a:pt x="339756" y="264062"/>
                        </a:cubicBezTo>
                        <a:cubicBezTo>
                          <a:pt x="338440" y="263317"/>
                          <a:pt x="337589" y="262243"/>
                          <a:pt x="335999" y="261866"/>
                        </a:cubicBezTo>
                        <a:lnTo>
                          <a:pt x="335542" y="261781"/>
                        </a:lnTo>
                        <a:cubicBezTo>
                          <a:pt x="334137" y="261578"/>
                          <a:pt x="332789" y="261704"/>
                          <a:pt x="331601" y="262335"/>
                        </a:cubicBezTo>
                        <a:cubicBezTo>
                          <a:pt x="325802" y="262769"/>
                          <a:pt x="320003" y="263003"/>
                          <a:pt x="314189" y="262712"/>
                        </a:cubicBezTo>
                        <a:cubicBezTo>
                          <a:pt x="312485" y="262629"/>
                          <a:pt x="310646" y="262620"/>
                          <a:pt x="309001" y="262101"/>
                        </a:cubicBezTo>
                        <a:cubicBezTo>
                          <a:pt x="308327" y="261886"/>
                          <a:pt x="307771" y="262046"/>
                          <a:pt x="307374" y="262395"/>
                        </a:cubicBezTo>
                        <a:cubicBezTo>
                          <a:pt x="298191" y="263014"/>
                          <a:pt x="289028" y="264176"/>
                          <a:pt x="279825" y="264667"/>
                        </a:cubicBezTo>
                        <a:cubicBezTo>
                          <a:pt x="276230" y="265161"/>
                          <a:pt x="272261" y="264699"/>
                          <a:pt x="268744" y="264836"/>
                        </a:cubicBezTo>
                        <a:cubicBezTo>
                          <a:pt x="264906" y="265176"/>
                          <a:pt x="261080" y="265644"/>
                          <a:pt x="257248" y="266052"/>
                        </a:cubicBezTo>
                        <a:cubicBezTo>
                          <a:pt x="222707" y="268556"/>
                          <a:pt x="170234" y="278173"/>
                          <a:pt x="139990" y="259111"/>
                        </a:cubicBezTo>
                        <a:cubicBezTo>
                          <a:pt x="141364" y="256321"/>
                          <a:pt x="141033" y="252238"/>
                          <a:pt x="141004" y="249457"/>
                        </a:cubicBezTo>
                        <a:cubicBezTo>
                          <a:pt x="141432" y="215141"/>
                          <a:pt x="141389" y="180632"/>
                          <a:pt x="146061" y="146573"/>
                        </a:cubicBezTo>
                        <a:cubicBezTo>
                          <a:pt x="150829" y="117543"/>
                          <a:pt x="167539" y="91179"/>
                          <a:pt x="187329" y="69898"/>
                        </a:cubicBezTo>
                        <a:close/>
                        <a:moveTo>
                          <a:pt x="137952" y="266409"/>
                        </a:moveTo>
                        <a:cubicBezTo>
                          <a:pt x="137786" y="264656"/>
                          <a:pt x="137358" y="262883"/>
                          <a:pt x="137549" y="261127"/>
                        </a:cubicBezTo>
                        <a:cubicBezTo>
                          <a:pt x="165243" y="284549"/>
                          <a:pt x="218615" y="274010"/>
                          <a:pt x="252582" y="271903"/>
                        </a:cubicBezTo>
                        <a:cubicBezTo>
                          <a:pt x="259404" y="271023"/>
                          <a:pt x="266228" y="271021"/>
                          <a:pt x="272918" y="269193"/>
                        </a:cubicBezTo>
                        <a:cubicBezTo>
                          <a:pt x="275788" y="269844"/>
                          <a:pt x="278732" y="270321"/>
                          <a:pt x="281673" y="270741"/>
                        </a:cubicBezTo>
                        <a:cubicBezTo>
                          <a:pt x="277738" y="290237"/>
                          <a:pt x="256563" y="285937"/>
                          <a:pt x="241801" y="283501"/>
                        </a:cubicBezTo>
                        <a:cubicBezTo>
                          <a:pt x="214509" y="280518"/>
                          <a:pt x="186809" y="281314"/>
                          <a:pt x="159727" y="276346"/>
                        </a:cubicBezTo>
                        <a:cubicBezTo>
                          <a:pt x="152514" y="275027"/>
                          <a:pt x="145407" y="273037"/>
                          <a:pt x="138120" y="272211"/>
                        </a:cubicBezTo>
                        <a:cubicBezTo>
                          <a:pt x="138334" y="270278"/>
                          <a:pt x="138129" y="268379"/>
                          <a:pt x="137952" y="266409"/>
                        </a:cubicBezTo>
                        <a:close/>
                        <a:moveTo>
                          <a:pt x="240464" y="289900"/>
                        </a:moveTo>
                        <a:cubicBezTo>
                          <a:pt x="255749" y="292250"/>
                          <a:pt x="277995" y="295945"/>
                          <a:pt x="285230" y="278070"/>
                        </a:cubicBezTo>
                        <a:cubicBezTo>
                          <a:pt x="292417" y="279224"/>
                          <a:pt x="299382" y="280580"/>
                          <a:pt x="306608" y="281220"/>
                        </a:cubicBezTo>
                        <a:cubicBezTo>
                          <a:pt x="306149" y="309839"/>
                          <a:pt x="305364" y="338467"/>
                          <a:pt x="305466" y="367095"/>
                        </a:cubicBezTo>
                        <a:cubicBezTo>
                          <a:pt x="305475" y="371675"/>
                          <a:pt x="305352" y="376206"/>
                          <a:pt x="303765" y="380538"/>
                        </a:cubicBezTo>
                        <a:cubicBezTo>
                          <a:pt x="273349" y="375718"/>
                          <a:pt x="243074" y="369730"/>
                          <a:pt x="212528" y="365827"/>
                        </a:cubicBezTo>
                        <a:cubicBezTo>
                          <a:pt x="198491" y="332636"/>
                          <a:pt x="177872" y="300990"/>
                          <a:pt x="149893" y="281445"/>
                        </a:cubicBezTo>
                        <a:cubicBezTo>
                          <a:pt x="179605" y="288113"/>
                          <a:pt x="210272" y="287522"/>
                          <a:pt x="240464" y="289900"/>
                        </a:cubicBezTo>
                        <a:close/>
                        <a:moveTo>
                          <a:pt x="286344" y="274541"/>
                        </a:moveTo>
                        <a:cubicBezTo>
                          <a:pt x="286592" y="273528"/>
                          <a:pt x="286787" y="272500"/>
                          <a:pt x="286944" y="271466"/>
                        </a:cubicBezTo>
                        <a:cubicBezTo>
                          <a:pt x="293460" y="272397"/>
                          <a:pt x="300018" y="273268"/>
                          <a:pt x="306534" y="274147"/>
                        </a:cubicBezTo>
                        <a:cubicBezTo>
                          <a:pt x="306563" y="275238"/>
                          <a:pt x="306583" y="276297"/>
                          <a:pt x="306586" y="277374"/>
                        </a:cubicBezTo>
                        <a:cubicBezTo>
                          <a:pt x="299850" y="276129"/>
                          <a:pt x="293068" y="276000"/>
                          <a:pt x="286344" y="274541"/>
                        </a:cubicBezTo>
                        <a:close/>
                        <a:moveTo>
                          <a:pt x="306483" y="269896"/>
                        </a:moveTo>
                        <a:cubicBezTo>
                          <a:pt x="300735" y="269168"/>
                          <a:pt x="295001" y="268202"/>
                          <a:pt x="289242" y="267531"/>
                        </a:cubicBezTo>
                        <a:cubicBezTo>
                          <a:pt x="295090" y="267055"/>
                          <a:pt x="300961" y="266709"/>
                          <a:pt x="306766" y="265830"/>
                        </a:cubicBezTo>
                        <a:cubicBezTo>
                          <a:pt x="306580" y="267163"/>
                          <a:pt x="306503" y="268525"/>
                          <a:pt x="306483" y="269896"/>
                        </a:cubicBezTo>
                        <a:close/>
                        <a:moveTo>
                          <a:pt x="133175" y="88758"/>
                        </a:moveTo>
                        <a:cubicBezTo>
                          <a:pt x="132575" y="86325"/>
                          <a:pt x="131833" y="83927"/>
                          <a:pt x="130936" y="81591"/>
                        </a:cubicBezTo>
                        <a:cubicBezTo>
                          <a:pt x="142377" y="83493"/>
                          <a:pt x="153679" y="84292"/>
                          <a:pt x="165140" y="85837"/>
                        </a:cubicBezTo>
                        <a:cubicBezTo>
                          <a:pt x="152859" y="102940"/>
                          <a:pt x="142389" y="122123"/>
                          <a:pt x="138237" y="142932"/>
                        </a:cubicBezTo>
                        <a:cubicBezTo>
                          <a:pt x="137029" y="124875"/>
                          <a:pt x="137135" y="106484"/>
                          <a:pt x="133175" y="88758"/>
                        </a:cubicBezTo>
                        <a:close/>
                        <a:moveTo>
                          <a:pt x="7014" y="477659"/>
                        </a:moveTo>
                        <a:cubicBezTo>
                          <a:pt x="2223" y="420201"/>
                          <a:pt x="14132" y="368231"/>
                          <a:pt x="36153" y="336451"/>
                        </a:cubicBezTo>
                        <a:cubicBezTo>
                          <a:pt x="-5812" y="429570"/>
                          <a:pt x="18124" y="567212"/>
                          <a:pt x="96323" y="634644"/>
                        </a:cubicBezTo>
                        <a:cubicBezTo>
                          <a:pt x="52197" y="624696"/>
                          <a:pt x="13835" y="559462"/>
                          <a:pt x="7014" y="477659"/>
                        </a:cubicBezTo>
                        <a:close/>
                        <a:moveTo>
                          <a:pt x="49893" y="320498"/>
                        </a:moveTo>
                        <a:cubicBezTo>
                          <a:pt x="69797" y="301616"/>
                          <a:pt x="97226" y="298840"/>
                          <a:pt x="120251" y="313662"/>
                        </a:cubicBezTo>
                        <a:cubicBezTo>
                          <a:pt x="120468" y="323610"/>
                          <a:pt x="121048" y="333550"/>
                          <a:pt x="121779" y="343475"/>
                        </a:cubicBezTo>
                        <a:cubicBezTo>
                          <a:pt x="122273" y="346245"/>
                          <a:pt x="121365" y="350074"/>
                          <a:pt x="123224" y="352290"/>
                        </a:cubicBezTo>
                        <a:cubicBezTo>
                          <a:pt x="123132" y="353383"/>
                          <a:pt x="124183" y="353877"/>
                          <a:pt x="125083" y="354114"/>
                        </a:cubicBezTo>
                        <a:cubicBezTo>
                          <a:pt x="124571" y="360933"/>
                          <a:pt x="124275" y="368488"/>
                          <a:pt x="126405" y="375050"/>
                        </a:cubicBezTo>
                        <a:cubicBezTo>
                          <a:pt x="125856" y="398101"/>
                          <a:pt x="125280" y="421155"/>
                          <a:pt x="124791" y="444203"/>
                        </a:cubicBezTo>
                        <a:cubicBezTo>
                          <a:pt x="121134" y="446982"/>
                          <a:pt x="120488" y="451490"/>
                          <a:pt x="118918" y="455528"/>
                        </a:cubicBezTo>
                        <a:cubicBezTo>
                          <a:pt x="116665" y="451299"/>
                          <a:pt x="111317" y="451739"/>
                          <a:pt x="107205" y="452507"/>
                        </a:cubicBezTo>
                        <a:cubicBezTo>
                          <a:pt x="96461" y="436862"/>
                          <a:pt x="89117" y="455850"/>
                          <a:pt x="88785" y="466001"/>
                        </a:cubicBezTo>
                        <a:cubicBezTo>
                          <a:pt x="88905" y="468651"/>
                          <a:pt x="89919" y="472548"/>
                          <a:pt x="91906" y="475232"/>
                        </a:cubicBezTo>
                        <a:cubicBezTo>
                          <a:pt x="92883" y="479564"/>
                          <a:pt x="96426" y="484475"/>
                          <a:pt x="100361" y="485437"/>
                        </a:cubicBezTo>
                        <a:cubicBezTo>
                          <a:pt x="105489" y="486437"/>
                          <a:pt x="108624" y="478819"/>
                          <a:pt x="110689" y="475152"/>
                        </a:cubicBezTo>
                        <a:cubicBezTo>
                          <a:pt x="113904" y="476612"/>
                          <a:pt x="118073" y="475184"/>
                          <a:pt x="120017" y="472297"/>
                        </a:cubicBezTo>
                        <a:cubicBezTo>
                          <a:pt x="122279" y="475058"/>
                          <a:pt x="124529" y="477762"/>
                          <a:pt x="127267" y="480129"/>
                        </a:cubicBezTo>
                        <a:cubicBezTo>
                          <a:pt x="127076" y="481420"/>
                          <a:pt x="127827" y="482988"/>
                          <a:pt x="129514" y="483173"/>
                        </a:cubicBezTo>
                        <a:cubicBezTo>
                          <a:pt x="134180" y="483681"/>
                          <a:pt x="139265" y="483293"/>
                          <a:pt x="141752" y="478687"/>
                        </a:cubicBezTo>
                        <a:cubicBezTo>
                          <a:pt x="143834" y="473967"/>
                          <a:pt x="144493" y="468528"/>
                          <a:pt x="144448" y="463400"/>
                        </a:cubicBezTo>
                        <a:lnTo>
                          <a:pt x="144482" y="463400"/>
                        </a:lnTo>
                        <a:lnTo>
                          <a:pt x="145141" y="445785"/>
                        </a:lnTo>
                        <a:cubicBezTo>
                          <a:pt x="167370" y="468160"/>
                          <a:pt x="138977" y="515638"/>
                          <a:pt x="122290" y="478428"/>
                        </a:cubicBezTo>
                        <a:cubicBezTo>
                          <a:pt x="121865" y="477180"/>
                          <a:pt x="120508" y="476514"/>
                          <a:pt x="119263" y="476940"/>
                        </a:cubicBezTo>
                        <a:cubicBezTo>
                          <a:pt x="118016" y="477365"/>
                          <a:pt x="117350" y="478722"/>
                          <a:pt x="117776" y="479969"/>
                        </a:cubicBezTo>
                        <a:cubicBezTo>
                          <a:pt x="121311" y="490317"/>
                          <a:pt x="128620" y="496745"/>
                          <a:pt x="136852" y="496745"/>
                        </a:cubicBezTo>
                        <a:cubicBezTo>
                          <a:pt x="142674" y="496745"/>
                          <a:pt x="148085" y="493541"/>
                          <a:pt x="152086" y="487725"/>
                        </a:cubicBezTo>
                        <a:cubicBezTo>
                          <a:pt x="163824" y="471523"/>
                          <a:pt x="156023" y="445974"/>
                          <a:pt x="145373" y="439601"/>
                        </a:cubicBezTo>
                        <a:lnTo>
                          <a:pt x="147614" y="379652"/>
                        </a:lnTo>
                        <a:cubicBezTo>
                          <a:pt x="155695" y="380837"/>
                          <a:pt x="163733" y="383282"/>
                          <a:pt x="171907" y="383356"/>
                        </a:cubicBezTo>
                        <a:cubicBezTo>
                          <a:pt x="198402" y="443926"/>
                          <a:pt x="197220" y="547992"/>
                          <a:pt x="165092" y="596919"/>
                        </a:cubicBezTo>
                        <a:cubicBezTo>
                          <a:pt x="164880" y="596348"/>
                          <a:pt x="164395" y="595880"/>
                          <a:pt x="163576" y="595708"/>
                        </a:cubicBezTo>
                        <a:cubicBezTo>
                          <a:pt x="151026" y="592899"/>
                          <a:pt x="138183" y="591185"/>
                          <a:pt x="125782" y="587808"/>
                        </a:cubicBezTo>
                        <a:cubicBezTo>
                          <a:pt x="117056" y="586100"/>
                          <a:pt x="103011" y="579110"/>
                          <a:pt x="97531" y="589601"/>
                        </a:cubicBezTo>
                        <a:cubicBezTo>
                          <a:pt x="95644" y="593827"/>
                          <a:pt x="96492" y="601485"/>
                          <a:pt x="101769" y="602618"/>
                        </a:cubicBezTo>
                        <a:cubicBezTo>
                          <a:pt x="105178" y="604520"/>
                          <a:pt x="109527" y="605119"/>
                          <a:pt x="113201" y="606267"/>
                        </a:cubicBezTo>
                        <a:cubicBezTo>
                          <a:pt x="119475" y="608220"/>
                          <a:pt x="125785" y="610085"/>
                          <a:pt x="132078" y="611947"/>
                        </a:cubicBezTo>
                        <a:cubicBezTo>
                          <a:pt x="137700" y="614245"/>
                          <a:pt x="143497" y="616592"/>
                          <a:pt x="149701" y="617021"/>
                        </a:cubicBezTo>
                        <a:cubicBezTo>
                          <a:pt x="136792" y="629921"/>
                          <a:pt x="121608" y="636914"/>
                          <a:pt x="104621" y="635852"/>
                        </a:cubicBezTo>
                        <a:lnTo>
                          <a:pt x="104644" y="635817"/>
                        </a:lnTo>
                        <a:cubicBezTo>
                          <a:pt x="18241" y="573982"/>
                          <a:pt x="-5707" y="401116"/>
                          <a:pt x="49901" y="320501"/>
                        </a:cubicBezTo>
                        <a:lnTo>
                          <a:pt x="49893" y="320498"/>
                        </a:lnTo>
                        <a:close/>
                        <a:moveTo>
                          <a:pt x="119769" y="294574"/>
                        </a:moveTo>
                        <a:cubicBezTo>
                          <a:pt x="119823" y="296859"/>
                          <a:pt x="119897" y="299143"/>
                          <a:pt x="119954" y="301427"/>
                        </a:cubicBezTo>
                        <a:cubicBezTo>
                          <a:pt x="103873" y="292784"/>
                          <a:pt x="85770" y="290931"/>
                          <a:pt x="69063" y="297333"/>
                        </a:cubicBezTo>
                        <a:cubicBezTo>
                          <a:pt x="83963" y="287111"/>
                          <a:pt x="102380" y="283561"/>
                          <a:pt x="119635" y="289084"/>
                        </a:cubicBezTo>
                        <a:cubicBezTo>
                          <a:pt x="119523" y="290905"/>
                          <a:pt x="119726" y="292830"/>
                          <a:pt x="119769" y="294574"/>
                        </a:cubicBezTo>
                        <a:close/>
                        <a:moveTo>
                          <a:pt x="158502" y="618151"/>
                        </a:moveTo>
                        <a:cubicBezTo>
                          <a:pt x="158641" y="618722"/>
                          <a:pt x="159070" y="619242"/>
                          <a:pt x="159795" y="619328"/>
                        </a:cubicBezTo>
                        <a:cubicBezTo>
                          <a:pt x="166505" y="620093"/>
                          <a:pt x="173198" y="621021"/>
                          <a:pt x="179922" y="621643"/>
                        </a:cubicBezTo>
                        <a:cubicBezTo>
                          <a:pt x="163453" y="640689"/>
                          <a:pt x="144739" y="647873"/>
                          <a:pt x="120631" y="641011"/>
                        </a:cubicBezTo>
                        <a:cubicBezTo>
                          <a:pt x="134682" y="638179"/>
                          <a:pt x="147483" y="630178"/>
                          <a:pt x="158502" y="618151"/>
                        </a:cubicBezTo>
                        <a:close/>
                        <a:moveTo>
                          <a:pt x="151891" y="613951"/>
                        </a:moveTo>
                        <a:cubicBezTo>
                          <a:pt x="146195" y="611041"/>
                          <a:pt x="139611" y="609974"/>
                          <a:pt x="133360" y="609163"/>
                        </a:cubicBezTo>
                        <a:cubicBezTo>
                          <a:pt x="123307" y="606853"/>
                          <a:pt x="113550" y="603583"/>
                          <a:pt x="103639" y="600748"/>
                        </a:cubicBezTo>
                        <a:cubicBezTo>
                          <a:pt x="103422" y="599460"/>
                          <a:pt x="102437" y="598532"/>
                          <a:pt x="101923" y="597356"/>
                        </a:cubicBezTo>
                        <a:cubicBezTo>
                          <a:pt x="100601" y="594415"/>
                          <a:pt x="101215" y="590137"/>
                          <a:pt x="104618" y="589010"/>
                        </a:cubicBezTo>
                        <a:cubicBezTo>
                          <a:pt x="110226" y="587536"/>
                          <a:pt x="115931" y="590626"/>
                          <a:pt x="121445" y="591442"/>
                        </a:cubicBezTo>
                        <a:cubicBezTo>
                          <a:pt x="135433" y="593695"/>
                          <a:pt x="149056" y="598172"/>
                          <a:pt x="163107" y="600123"/>
                        </a:cubicBezTo>
                        <a:cubicBezTo>
                          <a:pt x="159758" y="605348"/>
                          <a:pt x="156154" y="610088"/>
                          <a:pt x="152317" y="614279"/>
                        </a:cubicBezTo>
                        <a:cubicBezTo>
                          <a:pt x="152203" y="614154"/>
                          <a:pt x="152063" y="614040"/>
                          <a:pt x="151891" y="613951"/>
                        </a:cubicBezTo>
                        <a:close/>
                        <a:moveTo>
                          <a:pt x="178192" y="618839"/>
                        </a:moveTo>
                        <a:cubicBezTo>
                          <a:pt x="172127" y="617988"/>
                          <a:pt x="166037" y="617309"/>
                          <a:pt x="159961" y="616515"/>
                        </a:cubicBezTo>
                        <a:cubicBezTo>
                          <a:pt x="163998" y="611909"/>
                          <a:pt x="167787" y="606756"/>
                          <a:pt x="171299" y="601108"/>
                        </a:cubicBezTo>
                        <a:cubicBezTo>
                          <a:pt x="177364" y="603880"/>
                          <a:pt x="184337" y="603983"/>
                          <a:pt x="190764" y="605613"/>
                        </a:cubicBezTo>
                        <a:lnTo>
                          <a:pt x="181598" y="619365"/>
                        </a:lnTo>
                        <a:cubicBezTo>
                          <a:pt x="180476" y="619088"/>
                          <a:pt x="179254" y="619008"/>
                          <a:pt x="178192" y="618839"/>
                        </a:cubicBezTo>
                        <a:close/>
                        <a:moveTo>
                          <a:pt x="190427" y="601439"/>
                        </a:moveTo>
                        <a:cubicBezTo>
                          <a:pt x="184585" y="600708"/>
                          <a:pt x="178735" y="598618"/>
                          <a:pt x="172750" y="598721"/>
                        </a:cubicBezTo>
                        <a:cubicBezTo>
                          <a:pt x="204924" y="549060"/>
                          <a:pt x="207705" y="447407"/>
                          <a:pt x="182621" y="384898"/>
                        </a:cubicBezTo>
                        <a:cubicBezTo>
                          <a:pt x="185248" y="386382"/>
                          <a:pt x="188625" y="386402"/>
                          <a:pt x="191552" y="387088"/>
                        </a:cubicBezTo>
                        <a:cubicBezTo>
                          <a:pt x="194368" y="387487"/>
                          <a:pt x="197189" y="388321"/>
                          <a:pt x="200018" y="388487"/>
                        </a:cubicBezTo>
                        <a:cubicBezTo>
                          <a:pt x="223980" y="452512"/>
                          <a:pt x="225154" y="553877"/>
                          <a:pt x="193154" y="601936"/>
                        </a:cubicBezTo>
                        <a:cubicBezTo>
                          <a:pt x="192277" y="601719"/>
                          <a:pt x="191355" y="601604"/>
                          <a:pt x="190427" y="601439"/>
                        </a:cubicBezTo>
                        <a:close/>
                        <a:moveTo>
                          <a:pt x="197226" y="384943"/>
                        </a:moveTo>
                        <a:cubicBezTo>
                          <a:pt x="193517" y="384769"/>
                          <a:pt x="184888" y="381800"/>
                          <a:pt x="182141" y="383607"/>
                        </a:cubicBezTo>
                        <a:cubicBezTo>
                          <a:pt x="179269" y="375898"/>
                          <a:pt x="176093" y="368551"/>
                          <a:pt x="172653" y="361624"/>
                        </a:cubicBezTo>
                        <a:cubicBezTo>
                          <a:pt x="178472" y="363434"/>
                          <a:pt x="184697" y="363828"/>
                          <a:pt x="190641" y="365207"/>
                        </a:cubicBezTo>
                        <a:cubicBezTo>
                          <a:pt x="193565" y="371569"/>
                          <a:pt x="196301" y="378228"/>
                          <a:pt x="198825" y="385155"/>
                        </a:cubicBezTo>
                        <a:cubicBezTo>
                          <a:pt x="198285" y="385078"/>
                          <a:pt x="197740" y="385026"/>
                          <a:pt x="197226" y="384943"/>
                        </a:cubicBezTo>
                        <a:close/>
                        <a:moveTo>
                          <a:pt x="181667" y="360099"/>
                        </a:moveTo>
                        <a:cubicBezTo>
                          <a:pt x="178706" y="359602"/>
                          <a:pt x="174209" y="357509"/>
                          <a:pt x="171545" y="359425"/>
                        </a:cubicBezTo>
                        <a:cubicBezTo>
                          <a:pt x="158362" y="333650"/>
                          <a:pt x="141452" y="313894"/>
                          <a:pt x="122761" y="302992"/>
                        </a:cubicBezTo>
                        <a:cubicBezTo>
                          <a:pt x="122456" y="298612"/>
                          <a:pt x="122330" y="294355"/>
                          <a:pt x="122204" y="289937"/>
                        </a:cubicBezTo>
                        <a:cubicBezTo>
                          <a:pt x="147600" y="298972"/>
                          <a:pt x="171442" y="325092"/>
                          <a:pt x="188962" y="361632"/>
                        </a:cubicBezTo>
                        <a:cubicBezTo>
                          <a:pt x="186518" y="361190"/>
                          <a:pt x="184120" y="360619"/>
                          <a:pt x="181667" y="360099"/>
                        </a:cubicBezTo>
                        <a:close/>
                        <a:moveTo>
                          <a:pt x="121730" y="464254"/>
                        </a:moveTo>
                        <a:cubicBezTo>
                          <a:pt x="121499" y="462423"/>
                          <a:pt x="121017" y="460170"/>
                          <a:pt x="120208" y="458115"/>
                        </a:cubicBezTo>
                        <a:cubicBezTo>
                          <a:pt x="121670" y="456875"/>
                          <a:pt x="122316" y="454985"/>
                          <a:pt x="122952" y="453126"/>
                        </a:cubicBezTo>
                        <a:cubicBezTo>
                          <a:pt x="123695" y="450556"/>
                          <a:pt x="125205" y="448346"/>
                          <a:pt x="126736" y="446208"/>
                        </a:cubicBezTo>
                        <a:cubicBezTo>
                          <a:pt x="139334" y="448144"/>
                          <a:pt x="141749" y="464722"/>
                          <a:pt x="138171" y="474870"/>
                        </a:cubicBezTo>
                        <a:cubicBezTo>
                          <a:pt x="137021" y="478704"/>
                          <a:pt x="133774" y="478813"/>
                          <a:pt x="130419" y="478496"/>
                        </a:cubicBezTo>
                        <a:cubicBezTo>
                          <a:pt x="127844" y="475270"/>
                          <a:pt x="124046" y="473025"/>
                          <a:pt x="121162" y="470050"/>
                        </a:cubicBezTo>
                        <a:cubicBezTo>
                          <a:pt x="121819" y="468203"/>
                          <a:pt x="121970" y="466150"/>
                          <a:pt x="121730" y="464254"/>
                        </a:cubicBezTo>
                        <a:close/>
                        <a:moveTo>
                          <a:pt x="125648" y="342804"/>
                        </a:moveTo>
                        <a:cubicBezTo>
                          <a:pt x="125008" y="333844"/>
                          <a:pt x="124412" y="324878"/>
                          <a:pt x="123698" y="315924"/>
                        </a:cubicBezTo>
                        <a:cubicBezTo>
                          <a:pt x="136758" y="324978"/>
                          <a:pt x="148773" y="338884"/>
                          <a:pt x="158927" y="356407"/>
                        </a:cubicBezTo>
                        <a:cubicBezTo>
                          <a:pt x="147911" y="355039"/>
                          <a:pt x="137118" y="352044"/>
                          <a:pt x="126036" y="351259"/>
                        </a:cubicBezTo>
                        <a:cubicBezTo>
                          <a:pt x="126490" y="348515"/>
                          <a:pt x="125768" y="345577"/>
                          <a:pt x="125648" y="342804"/>
                        </a:cubicBezTo>
                        <a:close/>
                        <a:moveTo>
                          <a:pt x="139159" y="448364"/>
                        </a:moveTo>
                        <a:cubicBezTo>
                          <a:pt x="136761" y="445066"/>
                          <a:pt x="133420" y="442941"/>
                          <a:pt x="129594" y="441973"/>
                        </a:cubicBezTo>
                        <a:cubicBezTo>
                          <a:pt x="130108" y="420107"/>
                          <a:pt x="130622" y="398238"/>
                          <a:pt x="131136" y="376372"/>
                        </a:cubicBezTo>
                        <a:cubicBezTo>
                          <a:pt x="134996" y="377385"/>
                          <a:pt x="138962" y="378016"/>
                          <a:pt x="142871" y="378770"/>
                        </a:cubicBezTo>
                        <a:lnTo>
                          <a:pt x="140210" y="449948"/>
                        </a:lnTo>
                        <a:cubicBezTo>
                          <a:pt x="139879" y="449397"/>
                          <a:pt x="139528" y="448869"/>
                          <a:pt x="139159" y="448364"/>
                        </a:cubicBezTo>
                        <a:close/>
                        <a:moveTo>
                          <a:pt x="141147" y="375409"/>
                        </a:moveTo>
                        <a:cubicBezTo>
                          <a:pt x="137632" y="374773"/>
                          <a:pt x="134103" y="374070"/>
                          <a:pt x="130559" y="373608"/>
                        </a:cubicBezTo>
                        <a:cubicBezTo>
                          <a:pt x="130254" y="373302"/>
                          <a:pt x="129862" y="373102"/>
                          <a:pt x="129437" y="373005"/>
                        </a:cubicBezTo>
                        <a:cubicBezTo>
                          <a:pt x="128492" y="366992"/>
                          <a:pt x="127575" y="360944"/>
                          <a:pt x="127709" y="354834"/>
                        </a:cubicBezTo>
                        <a:cubicBezTo>
                          <a:pt x="138169" y="356541"/>
                          <a:pt x="148551" y="357780"/>
                          <a:pt x="158953" y="359742"/>
                        </a:cubicBezTo>
                        <a:cubicBezTo>
                          <a:pt x="159618" y="359865"/>
                          <a:pt x="160158" y="359622"/>
                          <a:pt x="160520" y="359222"/>
                        </a:cubicBezTo>
                        <a:cubicBezTo>
                          <a:pt x="164272" y="365975"/>
                          <a:pt x="167756" y="373231"/>
                          <a:pt x="170925" y="380926"/>
                        </a:cubicBezTo>
                        <a:cubicBezTo>
                          <a:pt x="161243" y="378185"/>
                          <a:pt x="150978" y="377577"/>
                          <a:pt x="141147" y="375409"/>
                        </a:cubicBezTo>
                        <a:close/>
                        <a:moveTo>
                          <a:pt x="110349" y="458243"/>
                        </a:moveTo>
                        <a:cubicBezTo>
                          <a:pt x="109855" y="457207"/>
                          <a:pt x="109347" y="456170"/>
                          <a:pt x="108796" y="455156"/>
                        </a:cubicBezTo>
                        <a:cubicBezTo>
                          <a:pt x="113144" y="454591"/>
                          <a:pt x="116180" y="455391"/>
                          <a:pt x="117170" y="459731"/>
                        </a:cubicBezTo>
                        <a:cubicBezTo>
                          <a:pt x="119926" y="465953"/>
                          <a:pt x="119783" y="472109"/>
                          <a:pt x="111631" y="472731"/>
                        </a:cubicBezTo>
                        <a:cubicBezTo>
                          <a:pt x="113210" y="467826"/>
                          <a:pt x="112682" y="463154"/>
                          <a:pt x="110349" y="458243"/>
                        </a:cubicBezTo>
                        <a:close/>
                        <a:moveTo>
                          <a:pt x="96960" y="478245"/>
                        </a:moveTo>
                        <a:cubicBezTo>
                          <a:pt x="107442" y="478456"/>
                          <a:pt x="106728" y="451653"/>
                          <a:pt x="93794" y="455005"/>
                        </a:cubicBezTo>
                        <a:cubicBezTo>
                          <a:pt x="95370" y="451633"/>
                          <a:pt x="98831" y="447241"/>
                          <a:pt x="102197" y="451496"/>
                        </a:cubicBezTo>
                        <a:cubicBezTo>
                          <a:pt x="105772" y="455550"/>
                          <a:pt x="108710" y="460730"/>
                          <a:pt x="109472" y="466130"/>
                        </a:cubicBezTo>
                        <a:cubicBezTo>
                          <a:pt x="109861" y="471729"/>
                          <a:pt x="107088" y="476997"/>
                          <a:pt x="103656" y="481220"/>
                        </a:cubicBezTo>
                        <a:cubicBezTo>
                          <a:pt x="101263" y="484949"/>
                          <a:pt x="97640" y="480706"/>
                          <a:pt x="96323" y="478185"/>
                        </a:cubicBezTo>
                        <a:cubicBezTo>
                          <a:pt x="96532" y="478216"/>
                          <a:pt x="96743" y="478239"/>
                          <a:pt x="96960" y="478245"/>
                        </a:cubicBezTo>
                        <a:close/>
                        <a:moveTo>
                          <a:pt x="92497" y="466001"/>
                        </a:moveTo>
                        <a:cubicBezTo>
                          <a:pt x="92292" y="463169"/>
                          <a:pt x="92669" y="461144"/>
                          <a:pt x="93968" y="458340"/>
                        </a:cubicBezTo>
                        <a:cubicBezTo>
                          <a:pt x="98337" y="458160"/>
                          <a:pt x="99693" y="461170"/>
                          <a:pt x="99810" y="465085"/>
                        </a:cubicBezTo>
                        <a:cubicBezTo>
                          <a:pt x="99930" y="466669"/>
                          <a:pt x="99847" y="475923"/>
                          <a:pt x="96392" y="473962"/>
                        </a:cubicBezTo>
                        <a:cubicBezTo>
                          <a:pt x="93948" y="472577"/>
                          <a:pt x="92749" y="468588"/>
                          <a:pt x="92497" y="466001"/>
                        </a:cubicBezTo>
                        <a:close/>
                        <a:moveTo>
                          <a:pt x="197674" y="624473"/>
                        </a:moveTo>
                        <a:cubicBezTo>
                          <a:pt x="165757" y="671712"/>
                          <a:pt x="120228" y="670664"/>
                          <a:pt x="79725" y="634604"/>
                        </a:cubicBezTo>
                        <a:cubicBezTo>
                          <a:pt x="89496" y="639661"/>
                          <a:pt x="99707" y="642310"/>
                          <a:pt x="110095" y="642150"/>
                        </a:cubicBezTo>
                        <a:cubicBezTo>
                          <a:pt x="149253" y="656519"/>
                          <a:pt x="175302" y="641020"/>
                          <a:pt x="196212" y="604563"/>
                        </a:cubicBezTo>
                        <a:cubicBezTo>
                          <a:pt x="245201" y="523799"/>
                          <a:pt x="223521" y="348892"/>
                          <a:pt x="136872" y="292516"/>
                        </a:cubicBezTo>
                        <a:cubicBezTo>
                          <a:pt x="108373" y="274967"/>
                          <a:pt x="75305" y="281445"/>
                          <a:pt x="53539" y="305725"/>
                        </a:cubicBezTo>
                        <a:lnTo>
                          <a:pt x="53573" y="305756"/>
                        </a:lnTo>
                        <a:cubicBezTo>
                          <a:pt x="43848" y="312769"/>
                          <a:pt x="35116" y="322574"/>
                          <a:pt x="27641" y="334606"/>
                        </a:cubicBezTo>
                        <a:cubicBezTo>
                          <a:pt x="59352" y="256752"/>
                          <a:pt x="125871" y="245582"/>
                          <a:pt x="179860" y="316358"/>
                        </a:cubicBezTo>
                        <a:cubicBezTo>
                          <a:pt x="239562" y="393484"/>
                          <a:pt x="254815" y="542990"/>
                          <a:pt x="197674" y="624473"/>
                        </a:cubicBezTo>
                        <a:close/>
                        <a:moveTo>
                          <a:pt x="308821" y="446450"/>
                        </a:moveTo>
                        <a:cubicBezTo>
                          <a:pt x="309729" y="479221"/>
                          <a:pt x="309864" y="512049"/>
                          <a:pt x="311368" y="544792"/>
                        </a:cubicBezTo>
                        <a:cubicBezTo>
                          <a:pt x="304370" y="542293"/>
                          <a:pt x="297903" y="548035"/>
                          <a:pt x="292743" y="552147"/>
                        </a:cubicBezTo>
                        <a:cubicBezTo>
                          <a:pt x="291541" y="552244"/>
                          <a:pt x="290967" y="553546"/>
                          <a:pt x="290873" y="554585"/>
                        </a:cubicBezTo>
                        <a:cubicBezTo>
                          <a:pt x="262585" y="544860"/>
                          <a:pt x="257488" y="567243"/>
                          <a:pt x="248948" y="588110"/>
                        </a:cubicBezTo>
                        <a:cubicBezTo>
                          <a:pt x="245832" y="594583"/>
                          <a:pt x="243834" y="605442"/>
                          <a:pt x="236627" y="608163"/>
                        </a:cubicBezTo>
                        <a:cubicBezTo>
                          <a:pt x="228777" y="608763"/>
                          <a:pt x="221011" y="606110"/>
                          <a:pt x="213179" y="605653"/>
                        </a:cubicBezTo>
                        <a:cubicBezTo>
                          <a:pt x="241475" y="549997"/>
                          <a:pt x="243057" y="479967"/>
                          <a:pt x="229017" y="417757"/>
                        </a:cubicBezTo>
                        <a:cubicBezTo>
                          <a:pt x="247863" y="420635"/>
                          <a:pt x="266962" y="423228"/>
                          <a:pt x="286019" y="423739"/>
                        </a:cubicBezTo>
                        <a:cubicBezTo>
                          <a:pt x="286938" y="424470"/>
                          <a:pt x="288209" y="424850"/>
                          <a:pt x="289434" y="424361"/>
                        </a:cubicBezTo>
                        <a:cubicBezTo>
                          <a:pt x="295915" y="424541"/>
                          <a:pt x="302354" y="425549"/>
                          <a:pt x="308807" y="425992"/>
                        </a:cubicBezTo>
                        <a:cubicBezTo>
                          <a:pt x="308062" y="432733"/>
                          <a:pt x="308696" y="439712"/>
                          <a:pt x="308821" y="446450"/>
                        </a:cubicBezTo>
                        <a:close/>
                        <a:moveTo>
                          <a:pt x="285145" y="410847"/>
                        </a:moveTo>
                        <a:cubicBezTo>
                          <a:pt x="283414" y="413623"/>
                          <a:pt x="282615" y="417229"/>
                          <a:pt x="283791" y="420430"/>
                        </a:cubicBezTo>
                        <a:cubicBezTo>
                          <a:pt x="265386" y="418157"/>
                          <a:pt x="246758" y="417006"/>
                          <a:pt x="228346" y="414839"/>
                        </a:cubicBezTo>
                        <a:cubicBezTo>
                          <a:pt x="226647" y="407626"/>
                          <a:pt x="224731" y="400545"/>
                          <a:pt x="222604" y="393632"/>
                        </a:cubicBezTo>
                        <a:cubicBezTo>
                          <a:pt x="243134" y="397161"/>
                          <a:pt x="263921" y="399046"/>
                          <a:pt x="284482" y="402424"/>
                        </a:cubicBezTo>
                        <a:cubicBezTo>
                          <a:pt x="285676" y="404825"/>
                          <a:pt x="285756" y="407178"/>
                          <a:pt x="286610" y="409642"/>
                        </a:cubicBezTo>
                        <a:cubicBezTo>
                          <a:pt x="286041" y="409928"/>
                          <a:pt x="285530" y="410313"/>
                          <a:pt x="285145" y="410847"/>
                        </a:cubicBezTo>
                        <a:close/>
                        <a:moveTo>
                          <a:pt x="236570" y="630626"/>
                        </a:moveTo>
                        <a:cubicBezTo>
                          <a:pt x="224940" y="629456"/>
                          <a:pt x="213530" y="626612"/>
                          <a:pt x="201946" y="625036"/>
                        </a:cubicBezTo>
                        <a:lnTo>
                          <a:pt x="211243" y="609131"/>
                        </a:lnTo>
                        <a:cubicBezTo>
                          <a:pt x="217456" y="611547"/>
                          <a:pt x="224446" y="611755"/>
                          <a:pt x="231010" y="612780"/>
                        </a:cubicBezTo>
                        <a:cubicBezTo>
                          <a:pt x="235402" y="613640"/>
                          <a:pt x="239816" y="612735"/>
                          <a:pt x="243134" y="609605"/>
                        </a:cubicBezTo>
                        <a:cubicBezTo>
                          <a:pt x="254373" y="596922"/>
                          <a:pt x="254061" y="577682"/>
                          <a:pt x="264366" y="564311"/>
                        </a:cubicBezTo>
                        <a:cubicBezTo>
                          <a:pt x="271656" y="554440"/>
                          <a:pt x="280511" y="555942"/>
                          <a:pt x="290858" y="559217"/>
                        </a:cubicBezTo>
                        <a:cubicBezTo>
                          <a:pt x="290875" y="560193"/>
                          <a:pt x="290893" y="561167"/>
                          <a:pt x="290901" y="562144"/>
                        </a:cubicBezTo>
                        <a:cubicBezTo>
                          <a:pt x="289245" y="563314"/>
                          <a:pt x="291686" y="564199"/>
                          <a:pt x="292769" y="564371"/>
                        </a:cubicBezTo>
                        <a:cubicBezTo>
                          <a:pt x="291369" y="565247"/>
                          <a:pt x="292443" y="571298"/>
                          <a:pt x="292109" y="573225"/>
                        </a:cubicBezTo>
                        <a:cubicBezTo>
                          <a:pt x="269386" y="567255"/>
                          <a:pt x="266942" y="586134"/>
                          <a:pt x="261017" y="602484"/>
                        </a:cubicBezTo>
                        <a:cubicBezTo>
                          <a:pt x="258025" y="608968"/>
                          <a:pt x="256303" y="616073"/>
                          <a:pt x="253036" y="622417"/>
                        </a:cubicBezTo>
                        <a:cubicBezTo>
                          <a:pt x="250001" y="625227"/>
                          <a:pt x="245667" y="626697"/>
                          <a:pt x="242623" y="629664"/>
                        </a:cubicBezTo>
                        <a:cubicBezTo>
                          <a:pt x="240741" y="630369"/>
                          <a:pt x="238751" y="630758"/>
                          <a:pt x="236570" y="630626"/>
                        </a:cubicBezTo>
                        <a:close/>
                        <a:moveTo>
                          <a:pt x="296649" y="591539"/>
                        </a:moveTo>
                        <a:cubicBezTo>
                          <a:pt x="294819" y="594349"/>
                          <a:pt x="293165" y="597516"/>
                          <a:pt x="292694" y="600891"/>
                        </a:cubicBezTo>
                        <a:cubicBezTo>
                          <a:pt x="289822" y="606564"/>
                          <a:pt x="287412" y="612429"/>
                          <a:pt x="284988" y="618300"/>
                        </a:cubicBezTo>
                        <a:cubicBezTo>
                          <a:pt x="275622" y="616689"/>
                          <a:pt x="265283" y="617843"/>
                          <a:pt x="256706" y="621329"/>
                        </a:cubicBezTo>
                        <a:cubicBezTo>
                          <a:pt x="261031" y="609688"/>
                          <a:pt x="265888" y="598449"/>
                          <a:pt x="271259" y="587276"/>
                        </a:cubicBezTo>
                        <a:cubicBezTo>
                          <a:pt x="275040" y="576717"/>
                          <a:pt x="281824" y="575292"/>
                          <a:pt x="292152" y="576843"/>
                        </a:cubicBezTo>
                        <a:cubicBezTo>
                          <a:pt x="292734" y="581708"/>
                          <a:pt x="290447" y="589829"/>
                          <a:pt x="296649" y="591539"/>
                        </a:cubicBezTo>
                        <a:close/>
                        <a:moveTo>
                          <a:pt x="325397" y="670667"/>
                        </a:moveTo>
                        <a:cubicBezTo>
                          <a:pt x="324237" y="735201"/>
                          <a:pt x="228338" y="735192"/>
                          <a:pt x="227187" y="670664"/>
                        </a:cubicBezTo>
                        <a:cubicBezTo>
                          <a:pt x="226936" y="641048"/>
                          <a:pt x="254167" y="617563"/>
                          <a:pt x="283409" y="622080"/>
                        </a:cubicBezTo>
                        <a:cubicBezTo>
                          <a:pt x="281930" y="625627"/>
                          <a:pt x="280456" y="629179"/>
                          <a:pt x="278992" y="632731"/>
                        </a:cubicBezTo>
                        <a:cubicBezTo>
                          <a:pt x="227307" y="630178"/>
                          <a:pt x="224563" y="707581"/>
                          <a:pt x="276293" y="708700"/>
                        </a:cubicBezTo>
                        <a:cubicBezTo>
                          <a:pt x="310849" y="709468"/>
                          <a:pt x="327532" y="663883"/>
                          <a:pt x="301377" y="642088"/>
                        </a:cubicBezTo>
                        <a:cubicBezTo>
                          <a:pt x="302839" y="638536"/>
                          <a:pt x="304307" y="634984"/>
                          <a:pt x="305789" y="631437"/>
                        </a:cubicBezTo>
                        <a:cubicBezTo>
                          <a:pt x="317690" y="640406"/>
                          <a:pt x="325397" y="654651"/>
                          <a:pt x="325397" y="670667"/>
                        </a:cubicBezTo>
                        <a:close/>
                        <a:moveTo>
                          <a:pt x="260486" y="683182"/>
                        </a:moveTo>
                        <a:cubicBezTo>
                          <a:pt x="261757" y="683693"/>
                          <a:pt x="263164" y="683847"/>
                          <a:pt x="264509" y="684056"/>
                        </a:cubicBezTo>
                        <a:cubicBezTo>
                          <a:pt x="262773" y="686651"/>
                          <a:pt x="259578" y="694840"/>
                          <a:pt x="257242" y="691020"/>
                        </a:cubicBezTo>
                        <a:cubicBezTo>
                          <a:pt x="257242" y="691020"/>
                          <a:pt x="248365" y="675050"/>
                          <a:pt x="247631" y="672186"/>
                        </a:cubicBezTo>
                        <a:cubicBezTo>
                          <a:pt x="246897" y="669322"/>
                          <a:pt x="249964" y="668939"/>
                          <a:pt x="249964" y="668939"/>
                        </a:cubicBezTo>
                        <a:lnTo>
                          <a:pt x="262665" y="672263"/>
                        </a:lnTo>
                        <a:cubicBezTo>
                          <a:pt x="261508" y="674996"/>
                          <a:pt x="260343" y="677725"/>
                          <a:pt x="259161" y="680449"/>
                        </a:cubicBezTo>
                        <a:cubicBezTo>
                          <a:pt x="258544" y="681868"/>
                          <a:pt x="259430" y="682968"/>
                          <a:pt x="260486" y="683182"/>
                        </a:cubicBezTo>
                        <a:close/>
                        <a:moveTo>
                          <a:pt x="251752" y="661338"/>
                        </a:moveTo>
                        <a:cubicBezTo>
                          <a:pt x="247446" y="660191"/>
                          <a:pt x="249741" y="657895"/>
                          <a:pt x="249741" y="657895"/>
                        </a:cubicBezTo>
                        <a:cubicBezTo>
                          <a:pt x="249741" y="657895"/>
                          <a:pt x="262944" y="645266"/>
                          <a:pt x="265529" y="643829"/>
                        </a:cubicBezTo>
                        <a:cubicBezTo>
                          <a:pt x="268113" y="642393"/>
                          <a:pt x="269261" y="645266"/>
                          <a:pt x="269261" y="645266"/>
                        </a:cubicBezTo>
                        <a:lnTo>
                          <a:pt x="269261" y="656419"/>
                        </a:lnTo>
                        <a:cubicBezTo>
                          <a:pt x="268178" y="659054"/>
                          <a:pt x="267090" y="661690"/>
                          <a:pt x="266000" y="664319"/>
                        </a:cubicBezTo>
                        <a:cubicBezTo>
                          <a:pt x="261897" y="664485"/>
                          <a:pt x="255398" y="662309"/>
                          <a:pt x="251752" y="661338"/>
                        </a:cubicBezTo>
                        <a:close/>
                        <a:moveTo>
                          <a:pt x="292069" y="691271"/>
                        </a:moveTo>
                        <a:cubicBezTo>
                          <a:pt x="294679" y="694883"/>
                          <a:pt x="291447" y="695209"/>
                          <a:pt x="291447" y="695209"/>
                        </a:cubicBezTo>
                        <a:cubicBezTo>
                          <a:pt x="291447" y="695209"/>
                          <a:pt x="273232" y="696645"/>
                          <a:pt x="270323" y="696125"/>
                        </a:cubicBezTo>
                        <a:cubicBezTo>
                          <a:pt x="267413" y="695603"/>
                          <a:pt x="268338" y="692653"/>
                          <a:pt x="268338" y="692653"/>
                        </a:cubicBezTo>
                        <a:lnTo>
                          <a:pt x="275220" y="684221"/>
                        </a:lnTo>
                        <a:cubicBezTo>
                          <a:pt x="278629" y="684121"/>
                          <a:pt x="282484" y="684033"/>
                          <a:pt x="285028" y="681906"/>
                        </a:cubicBezTo>
                        <a:cubicBezTo>
                          <a:pt x="287678" y="684747"/>
                          <a:pt x="290324" y="688858"/>
                          <a:pt x="292069" y="691271"/>
                        </a:cubicBezTo>
                        <a:close/>
                        <a:moveTo>
                          <a:pt x="287857" y="674684"/>
                        </a:moveTo>
                        <a:cubicBezTo>
                          <a:pt x="288608" y="672834"/>
                          <a:pt x="289362" y="670987"/>
                          <a:pt x="290122" y="669139"/>
                        </a:cubicBezTo>
                        <a:cubicBezTo>
                          <a:pt x="293348" y="666778"/>
                          <a:pt x="298222" y="664608"/>
                          <a:pt x="301041" y="663157"/>
                        </a:cubicBezTo>
                        <a:cubicBezTo>
                          <a:pt x="305004" y="661119"/>
                          <a:pt x="304841" y="664362"/>
                          <a:pt x="304841" y="664362"/>
                        </a:cubicBezTo>
                        <a:cubicBezTo>
                          <a:pt x="304841" y="664362"/>
                          <a:pt x="303530" y="682588"/>
                          <a:pt x="302577" y="685383"/>
                        </a:cubicBezTo>
                        <a:cubicBezTo>
                          <a:pt x="301626" y="688182"/>
                          <a:pt x="298848" y="686825"/>
                          <a:pt x="298848" y="686825"/>
                        </a:cubicBezTo>
                        <a:lnTo>
                          <a:pt x="287857" y="674684"/>
                        </a:lnTo>
                        <a:close/>
                        <a:moveTo>
                          <a:pt x="312436" y="606082"/>
                        </a:moveTo>
                        <a:cubicBezTo>
                          <a:pt x="301155" y="630058"/>
                          <a:pt x="292080" y="654982"/>
                          <a:pt x="282349" y="679601"/>
                        </a:cubicBezTo>
                        <a:cubicBezTo>
                          <a:pt x="275882" y="679721"/>
                          <a:pt x="269420" y="680772"/>
                          <a:pt x="262962" y="680972"/>
                        </a:cubicBezTo>
                        <a:cubicBezTo>
                          <a:pt x="273032" y="654697"/>
                          <a:pt x="284968" y="629153"/>
                          <a:pt x="294545" y="602695"/>
                        </a:cubicBezTo>
                        <a:cubicBezTo>
                          <a:pt x="300432" y="604548"/>
                          <a:pt x="306874" y="604420"/>
                          <a:pt x="312930" y="605191"/>
                        </a:cubicBezTo>
                        <a:cubicBezTo>
                          <a:pt x="312762" y="605482"/>
                          <a:pt x="312593" y="605776"/>
                          <a:pt x="312436" y="606082"/>
                        </a:cubicBezTo>
                        <a:close/>
                        <a:moveTo>
                          <a:pt x="314558" y="596368"/>
                        </a:moveTo>
                        <a:cubicBezTo>
                          <a:pt x="314272" y="598012"/>
                          <a:pt x="314064" y="599663"/>
                          <a:pt x="313872" y="601316"/>
                        </a:cubicBezTo>
                        <a:cubicBezTo>
                          <a:pt x="308199" y="600234"/>
                          <a:pt x="302611" y="599260"/>
                          <a:pt x="296703" y="599189"/>
                        </a:cubicBezTo>
                        <a:cubicBezTo>
                          <a:pt x="297677" y="596856"/>
                          <a:pt x="298753" y="594677"/>
                          <a:pt x="299067" y="592150"/>
                        </a:cubicBezTo>
                        <a:cubicBezTo>
                          <a:pt x="304487" y="593167"/>
                          <a:pt x="309801" y="593547"/>
                          <a:pt x="315380" y="592684"/>
                        </a:cubicBezTo>
                        <a:cubicBezTo>
                          <a:pt x="314958" y="593926"/>
                          <a:pt x="314746" y="595289"/>
                          <a:pt x="314558" y="596368"/>
                        </a:cubicBezTo>
                        <a:close/>
                        <a:moveTo>
                          <a:pt x="316939" y="571506"/>
                        </a:moveTo>
                        <a:cubicBezTo>
                          <a:pt x="316565" y="577157"/>
                          <a:pt x="317030" y="583133"/>
                          <a:pt x="316357" y="588678"/>
                        </a:cubicBezTo>
                        <a:cubicBezTo>
                          <a:pt x="313573" y="590760"/>
                          <a:pt x="303562" y="589509"/>
                          <a:pt x="300027" y="588778"/>
                        </a:cubicBezTo>
                        <a:cubicBezTo>
                          <a:pt x="295927" y="588350"/>
                          <a:pt x="295792" y="587082"/>
                          <a:pt x="295961" y="583262"/>
                        </a:cubicBezTo>
                        <a:cubicBezTo>
                          <a:pt x="295467" y="577111"/>
                          <a:pt x="295441" y="570761"/>
                          <a:pt x="294376" y="564745"/>
                        </a:cubicBezTo>
                        <a:cubicBezTo>
                          <a:pt x="301966" y="565961"/>
                          <a:pt x="309507" y="565778"/>
                          <a:pt x="317159" y="565087"/>
                        </a:cubicBezTo>
                        <a:cubicBezTo>
                          <a:pt x="316625" y="567072"/>
                          <a:pt x="316988" y="569685"/>
                          <a:pt x="316939" y="571506"/>
                        </a:cubicBezTo>
                        <a:close/>
                        <a:moveTo>
                          <a:pt x="318193" y="561090"/>
                        </a:moveTo>
                        <a:cubicBezTo>
                          <a:pt x="310109" y="562244"/>
                          <a:pt x="301983" y="562218"/>
                          <a:pt x="293836" y="561924"/>
                        </a:cubicBezTo>
                        <a:cubicBezTo>
                          <a:pt x="294325" y="559514"/>
                          <a:pt x="294787" y="556927"/>
                          <a:pt x="294527" y="554474"/>
                        </a:cubicBezTo>
                        <a:cubicBezTo>
                          <a:pt x="306163" y="547724"/>
                          <a:pt x="309130" y="543058"/>
                          <a:pt x="318935" y="556273"/>
                        </a:cubicBezTo>
                        <a:cubicBezTo>
                          <a:pt x="318555" y="557835"/>
                          <a:pt x="318141" y="559520"/>
                          <a:pt x="318193" y="561090"/>
                        </a:cubicBezTo>
                        <a:close/>
                        <a:moveTo>
                          <a:pt x="386804" y="634253"/>
                        </a:moveTo>
                        <a:cubicBezTo>
                          <a:pt x="384271" y="621986"/>
                          <a:pt x="381476" y="609645"/>
                          <a:pt x="383237" y="597090"/>
                        </a:cubicBezTo>
                        <a:cubicBezTo>
                          <a:pt x="385316" y="597424"/>
                          <a:pt x="387415" y="598212"/>
                          <a:pt x="389508" y="598281"/>
                        </a:cubicBezTo>
                        <a:cubicBezTo>
                          <a:pt x="392335" y="613197"/>
                          <a:pt x="395127" y="628122"/>
                          <a:pt x="397868" y="643056"/>
                        </a:cubicBezTo>
                        <a:cubicBezTo>
                          <a:pt x="394276" y="642710"/>
                          <a:pt x="390776" y="641642"/>
                          <a:pt x="387678" y="639843"/>
                        </a:cubicBezTo>
                        <a:cubicBezTo>
                          <a:pt x="387418" y="637976"/>
                          <a:pt x="387132" y="636114"/>
                          <a:pt x="386804" y="634253"/>
                        </a:cubicBezTo>
                        <a:close/>
                        <a:moveTo>
                          <a:pt x="390322" y="651953"/>
                        </a:moveTo>
                        <a:cubicBezTo>
                          <a:pt x="388980" y="649557"/>
                          <a:pt x="388546" y="646765"/>
                          <a:pt x="388226" y="644072"/>
                        </a:cubicBezTo>
                        <a:cubicBezTo>
                          <a:pt x="391387" y="645917"/>
                          <a:pt x="394916" y="647441"/>
                          <a:pt x="398688" y="647501"/>
                        </a:cubicBezTo>
                        <a:cubicBezTo>
                          <a:pt x="399353" y="651128"/>
                          <a:pt x="400013" y="654757"/>
                          <a:pt x="400664" y="658383"/>
                        </a:cubicBezTo>
                        <a:cubicBezTo>
                          <a:pt x="396398" y="657892"/>
                          <a:pt x="392520" y="655873"/>
                          <a:pt x="390322" y="651953"/>
                        </a:cubicBezTo>
                        <a:close/>
                        <a:moveTo>
                          <a:pt x="414524" y="684510"/>
                        </a:moveTo>
                        <a:cubicBezTo>
                          <a:pt x="414244" y="684578"/>
                          <a:pt x="413915" y="684638"/>
                          <a:pt x="413627" y="684572"/>
                        </a:cubicBezTo>
                        <a:cubicBezTo>
                          <a:pt x="413261" y="683245"/>
                          <a:pt x="412893" y="681914"/>
                          <a:pt x="412528" y="680586"/>
                        </a:cubicBezTo>
                        <a:cubicBezTo>
                          <a:pt x="413747" y="680529"/>
                          <a:pt x="414966" y="680489"/>
                          <a:pt x="416188" y="680475"/>
                        </a:cubicBezTo>
                        <a:cubicBezTo>
                          <a:pt x="416291" y="681166"/>
                          <a:pt x="416482" y="681897"/>
                          <a:pt x="416674" y="682579"/>
                        </a:cubicBezTo>
                        <a:cubicBezTo>
                          <a:pt x="416074" y="683310"/>
                          <a:pt x="415649" y="684236"/>
                          <a:pt x="414524" y="684510"/>
                        </a:cubicBezTo>
                        <a:close/>
                        <a:moveTo>
                          <a:pt x="408573" y="677603"/>
                        </a:moveTo>
                        <a:cubicBezTo>
                          <a:pt x="400484" y="626652"/>
                          <a:pt x="389956" y="576106"/>
                          <a:pt x="380294" y="525464"/>
                        </a:cubicBezTo>
                        <a:cubicBezTo>
                          <a:pt x="375788" y="503460"/>
                          <a:pt x="371879" y="481277"/>
                          <a:pt x="366191" y="459548"/>
                        </a:cubicBezTo>
                        <a:cubicBezTo>
                          <a:pt x="360178" y="443572"/>
                          <a:pt x="347394" y="423805"/>
                          <a:pt x="328229" y="424627"/>
                        </a:cubicBezTo>
                        <a:cubicBezTo>
                          <a:pt x="327818" y="424324"/>
                          <a:pt x="327161" y="424384"/>
                          <a:pt x="326824" y="424810"/>
                        </a:cubicBezTo>
                        <a:cubicBezTo>
                          <a:pt x="325037" y="424987"/>
                          <a:pt x="325080" y="427511"/>
                          <a:pt x="326459" y="428153"/>
                        </a:cubicBezTo>
                        <a:cubicBezTo>
                          <a:pt x="323598" y="472820"/>
                          <a:pt x="326347" y="517623"/>
                          <a:pt x="328912" y="562241"/>
                        </a:cubicBezTo>
                        <a:cubicBezTo>
                          <a:pt x="329091" y="564836"/>
                          <a:pt x="329114" y="567577"/>
                          <a:pt x="330105" y="570007"/>
                        </a:cubicBezTo>
                        <a:cubicBezTo>
                          <a:pt x="331342" y="571818"/>
                          <a:pt x="332469" y="570213"/>
                          <a:pt x="332461" y="568574"/>
                        </a:cubicBezTo>
                        <a:cubicBezTo>
                          <a:pt x="340499" y="571818"/>
                          <a:pt x="349339" y="572883"/>
                          <a:pt x="357788" y="574750"/>
                        </a:cubicBezTo>
                        <a:cubicBezTo>
                          <a:pt x="367070" y="576486"/>
                          <a:pt x="376447" y="578054"/>
                          <a:pt x="385830" y="578987"/>
                        </a:cubicBezTo>
                        <a:cubicBezTo>
                          <a:pt x="386849" y="584310"/>
                          <a:pt x="387866" y="589632"/>
                          <a:pt x="388871" y="594957"/>
                        </a:cubicBezTo>
                        <a:cubicBezTo>
                          <a:pt x="365911" y="589609"/>
                          <a:pt x="342874" y="584518"/>
                          <a:pt x="319814" y="579633"/>
                        </a:cubicBezTo>
                        <a:cubicBezTo>
                          <a:pt x="319723" y="574659"/>
                          <a:pt x="320428" y="569542"/>
                          <a:pt x="319914" y="564619"/>
                        </a:cubicBezTo>
                        <a:cubicBezTo>
                          <a:pt x="321776" y="564434"/>
                          <a:pt x="324169" y="563291"/>
                          <a:pt x="322370" y="561264"/>
                        </a:cubicBezTo>
                        <a:cubicBezTo>
                          <a:pt x="322593" y="559634"/>
                          <a:pt x="322256" y="557789"/>
                          <a:pt x="322019" y="556142"/>
                        </a:cubicBezTo>
                        <a:cubicBezTo>
                          <a:pt x="323683" y="554348"/>
                          <a:pt x="316517" y="547847"/>
                          <a:pt x="314943" y="546676"/>
                        </a:cubicBezTo>
                        <a:cubicBezTo>
                          <a:pt x="314849" y="509956"/>
                          <a:pt x="313150" y="473185"/>
                          <a:pt x="312182" y="436465"/>
                        </a:cubicBezTo>
                        <a:cubicBezTo>
                          <a:pt x="311882" y="434207"/>
                          <a:pt x="312282" y="422186"/>
                          <a:pt x="309786" y="422531"/>
                        </a:cubicBezTo>
                        <a:cubicBezTo>
                          <a:pt x="302908" y="421349"/>
                          <a:pt x="295530" y="420361"/>
                          <a:pt x="288611" y="421469"/>
                        </a:cubicBezTo>
                        <a:cubicBezTo>
                          <a:pt x="285165" y="418876"/>
                          <a:pt x="285961" y="414516"/>
                          <a:pt x="287817" y="411173"/>
                        </a:cubicBezTo>
                        <a:cubicBezTo>
                          <a:pt x="288414" y="411413"/>
                          <a:pt x="289257" y="410944"/>
                          <a:pt x="289251" y="410279"/>
                        </a:cubicBezTo>
                        <a:cubicBezTo>
                          <a:pt x="289496" y="410222"/>
                          <a:pt x="289813" y="410150"/>
                          <a:pt x="289902" y="409899"/>
                        </a:cubicBezTo>
                        <a:cubicBezTo>
                          <a:pt x="295181" y="410927"/>
                          <a:pt x="300641" y="410953"/>
                          <a:pt x="305906" y="412175"/>
                        </a:cubicBezTo>
                        <a:cubicBezTo>
                          <a:pt x="308239" y="412620"/>
                          <a:pt x="310480" y="413314"/>
                          <a:pt x="311602" y="410656"/>
                        </a:cubicBezTo>
                        <a:cubicBezTo>
                          <a:pt x="312382" y="408811"/>
                          <a:pt x="312859" y="405628"/>
                          <a:pt x="311428" y="403969"/>
                        </a:cubicBezTo>
                        <a:cubicBezTo>
                          <a:pt x="312519" y="400308"/>
                          <a:pt x="295852" y="400259"/>
                          <a:pt x="293008" y="399457"/>
                        </a:cubicBezTo>
                        <a:cubicBezTo>
                          <a:pt x="269300" y="396622"/>
                          <a:pt x="245624" y="393055"/>
                          <a:pt x="221827" y="391177"/>
                        </a:cubicBezTo>
                        <a:cubicBezTo>
                          <a:pt x="219406" y="383536"/>
                          <a:pt x="216725" y="376103"/>
                          <a:pt x="213798" y="368911"/>
                        </a:cubicBezTo>
                        <a:cubicBezTo>
                          <a:pt x="244342" y="374927"/>
                          <a:pt x="275397" y="378113"/>
                          <a:pt x="305920" y="384292"/>
                        </a:cubicBezTo>
                        <a:cubicBezTo>
                          <a:pt x="307399" y="384564"/>
                          <a:pt x="307842" y="383333"/>
                          <a:pt x="308170" y="382319"/>
                        </a:cubicBezTo>
                        <a:cubicBezTo>
                          <a:pt x="311328" y="374327"/>
                          <a:pt x="310209" y="364953"/>
                          <a:pt x="310209" y="356544"/>
                        </a:cubicBezTo>
                        <a:cubicBezTo>
                          <a:pt x="310209" y="348698"/>
                          <a:pt x="310138" y="340854"/>
                          <a:pt x="310192" y="333007"/>
                        </a:cubicBezTo>
                        <a:cubicBezTo>
                          <a:pt x="310549" y="310733"/>
                          <a:pt x="310820" y="288455"/>
                          <a:pt x="310306" y="266192"/>
                        </a:cubicBezTo>
                        <a:cubicBezTo>
                          <a:pt x="314324" y="266601"/>
                          <a:pt x="318313" y="266663"/>
                          <a:pt x="322339" y="266626"/>
                        </a:cubicBezTo>
                        <a:cubicBezTo>
                          <a:pt x="321645" y="271572"/>
                          <a:pt x="321582" y="277031"/>
                          <a:pt x="321830" y="281842"/>
                        </a:cubicBezTo>
                        <a:cubicBezTo>
                          <a:pt x="322933" y="325050"/>
                          <a:pt x="321593" y="368771"/>
                          <a:pt x="324826" y="411724"/>
                        </a:cubicBezTo>
                        <a:cubicBezTo>
                          <a:pt x="324329" y="412777"/>
                          <a:pt x="324963" y="414439"/>
                          <a:pt x="326390" y="414388"/>
                        </a:cubicBezTo>
                        <a:cubicBezTo>
                          <a:pt x="337209" y="414379"/>
                          <a:pt x="348488" y="418437"/>
                          <a:pt x="357485" y="424456"/>
                        </a:cubicBezTo>
                        <a:cubicBezTo>
                          <a:pt x="366054" y="432142"/>
                          <a:pt x="371362" y="443261"/>
                          <a:pt x="374243" y="454203"/>
                        </a:cubicBezTo>
                        <a:cubicBezTo>
                          <a:pt x="390087" y="527962"/>
                          <a:pt x="404230" y="602327"/>
                          <a:pt x="416816" y="676586"/>
                        </a:cubicBezTo>
                        <a:cubicBezTo>
                          <a:pt x="414041" y="676663"/>
                          <a:pt x="411286" y="677014"/>
                          <a:pt x="408573" y="677603"/>
                        </a:cubicBezTo>
                        <a:close/>
                        <a:moveTo>
                          <a:pt x="370097" y="514613"/>
                        </a:moveTo>
                        <a:cubicBezTo>
                          <a:pt x="367713" y="505131"/>
                          <a:pt x="363481" y="495500"/>
                          <a:pt x="360289" y="486611"/>
                        </a:cubicBezTo>
                        <a:cubicBezTo>
                          <a:pt x="355104" y="471686"/>
                          <a:pt x="353122" y="455876"/>
                          <a:pt x="350332" y="440283"/>
                        </a:cubicBezTo>
                        <a:cubicBezTo>
                          <a:pt x="355152" y="446131"/>
                          <a:pt x="358653" y="453038"/>
                          <a:pt x="361508" y="460025"/>
                        </a:cubicBezTo>
                        <a:cubicBezTo>
                          <a:pt x="369580" y="491893"/>
                          <a:pt x="374971" y="524442"/>
                          <a:pt x="381541" y="556656"/>
                        </a:cubicBezTo>
                        <a:cubicBezTo>
                          <a:pt x="372898" y="551679"/>
                          <a:pt x="368076" y="541751"/>
                          <a:pt x="368869" y="531891"/>
                        </a:cubicBezTo>
                        <a:cubicBezTo>
                          <a:pt x="369029" y="526574"/>
                          <a:pt x="369749" y="521169"/>
                          <a:pt x="370583" y="515921"/>
                        </a:cubicBezTo>
                        <a:cubicBezTo>
                          <a:pt x="370680" y="515324"/>
                          <a:pt x="370451" y="514870"/>
                          <a:pt x="370097" y="514613"/>
                        </a:cubicBezTo>
                        <a:close/>
                        <a:moveTo>
                          <a:pt x="354139" y="483878"/>
                        </a:moveTo>
                        <a:cubicBezTo>
                          <a:pt x="357477" y="493878"/>
                          <a:pt x="362331" y="506313"/>
                          <a:pt x="368273" y="515025"/>
                        </a:cubicBezTo>
                        <a:cubicBezTo>
                          <a:pt x="363681" y="525147"/>
                          <a:pt x="360729" y="536919"/>
                          <a:pt x="365688" y="547484"/>
                        </a:cubicBezTo>
                        <a:cubicBezTo>
                          <a:pt x="369066" y="554697"/>
                          <a:pt x="374974" y="561878"/>
                          <a:pt x="382980" y="564111"/>
                        </a:cubicBezTo>
                        <a:cubicBezTo>
                          <a:pt x="383743" y="568074"/>
                          <a:pt x="384505" y="572037"/>
                          <a:pt x="385265" y="576003"/>
                        </a:cubicBezTo>
                        <a:cubicBezTo>
                          <a:pt x="371571" y="573988"/>
                          <a:pt x="358008" y="571192"/>
                          <a:pt x="344485" y="568194"/>
                        </a:cubicBezTo>
                        <a:cubicBezTo>
                          <a:pt x="340553" y="567554"/>
                          <a:pt x="336675" y="565818"/>
                          <a:pt x="332649" y="566047"/>
                        </a:cubicBezTo>
                        <a:cubicBezTo>
                          <a:pt x="328609" y="520216"/>
                          <a:pt x="329388" y="474247"/>
                          <a:pt x="328620" y="428296"/>
                        </a:cubicBezTo>
                        <a:cubicBezTo>
                          <a:pt x="334451" y="428273"/>
                          <a:pt x="339956" y="430700"/>
                          <a:pt x="344405" y="434467"/>
                        </a:cubicBezTo>
                        <a:cubicBezTo>
                          <a:pt x="347109" y="450942"/>
                          <a:pt x="349561" y="467766"/>
                          <a:pt x="354139" y="483878"/>
                        </a:cubicBezTo>
                        <a:close/>
                        <a:moveTo>
                          <a:pt x="286912" y="402801"/>
                        </a:moveTo>
                        <a:cubicBezTo>
                          <a:pt x="293974" y="403820"/>
                          <a:pt x="301083" y="405365"/>
                          <a:pt x="308216" y="405927"/>
                        </a:cubicBezTo>
                        <a:cubicBezTo>
                          <a:pt x="308290" y="406464"/>
                          <a:pt x="308639" y="409322"/>
                          <a:pt x="308604" y="409619"/>
                        </a:cubicBezTo>
                        <a:cubicBezTo>
                          <a:pt x="302303" y="408994"/>
                          <a:pt x="295338" y="406790"/>
                          <a:pt x="288945" y="408400"/>
                        </a:cubicBezTo>
                        <a:cubicBezTo>
                          <a:pt x="288237" y="406547"/>
                          <a:pt x="287826" y="404574"/>
                          <a:pt x="286912" y="402801"/>
                        </a:cubicBezTo>
                        <a:close/>
                        <a:moveTo>
                          <a:pt x="440975" y="667686"/>
                        </a:moveTo>
                        <a:cubicBezTo>
                          <a:pt x="437560" y="668437"/>
                          <a:pt x="434154" y="669225"/>
                          <a:pt x="430728" y="669919"/>
                        </a:cubicBezTo>
                        <a:cubicBezTo>
                          <a:pt x="428358" y="670684"/>
                          <a:pt x="420871" y="670653"/>
                          <a:pt x="419820" y="672574"/>
                        </a:cubicBezTo>
                        <a:cubicBezTo>
                          <a:pt x="419458" y="671287"/>
                          <a:pt x="419312" y="669959"/>
                          <a:pt x="419169" y="668608"/>
                        </a:cubicBezTo>
                        <a:cubicBezTo>
                          <a:pt x="420200" y="667409"/>
                          <a:pt x="419583" y="664511"/>
                          <a:pt x="419483" y="663606"/>
                        </a:cubicBezTo>
                        <a:cubicBezTo>
                          <a:pt x="418684" y="657261"/>
                          <a:pt x="417393" y="650988"/>
                          <a:pt x="416308" y="644686"/>
                        </a:cubicBezTo>
                        <a:cubicBezTo>
                          <a:pt x="427364" y="644298"/>
                          <a:pt x="438574" y="642801"/>
                          <a:pt x="449450" y="640634"/>
                        </a:cubicBezTo>
                        <a:cubicBezTo>
                          <a:pt x="443263" y="644172"/>
                          <a:pt x="444159" y="651813"/>
                          <a:pt x="445929" y="657655"/>
                        </a:cubicBezTo>
                        <a:cubicBezTo>
                          <a:pt x="446586" y="660576"/>
                          <a:pt x="447194" y="663543"/>
                          <a:pt x="448388" y="666295"/>
                        </a:cubicBezTo>
                        <a:cubicBezTo>
                          <a:pt x="445924" y="666784"/>
                          <a:pt x="443417" y="667149"/>
                          <a:pt x="440975" y="667686"/>
                        </a:cubicBezTo>
                        <a:close/>
                        <a:moveTo>
                          <a:pt x="450923" y="665730"/>
                        </a:moveTo>
                        <a:cubicBezTo>
                          <a:pt x="450664" y="665796"/>
                          <a:pt x="450401" y="665856"/>
                          <a:pt x="450138" y="665916"/>
                        </a:cubicBezTo>
                        <a:cubicBezTo>
                          <a:pt x="449773" y="663297"/>
                          <a:pt x="449142" y="660722"/>
                          <a:pt x="448633" y="658123"/>
                        </a:cubicBezTo>
                        <a:cubicBezTo>
                          <a:pt x="451298" y="659077"/>
                          <a:pt x="454989" y="658081"/>
                          <a:pt x="457891" y="657350"/>
                        </a:cubicBezTo>
                        <a:cubicBezTo>
                          <a:pt x="458125" y="659177"/>
                          <a:pt x="458362" y="661059"/>
                          <a:pt x="458779" y="662849"/>
                        </a:cubicBezTo>
                        <a:cubicBezTo>
                          <a:pt x="456129" y="663628"/>
                          <a:pt x="453619" y="665048"/>
                          <a:pt x="450923" y="665730"/>
                        </a:cubicBezTo>
                        <a:close/>
                        <a:moveTo>
                          <a:pt x="485288" y="657387"/>
                        </a:moveTo>
                        <a:cubicBezTo>
                          <a:pt x="477735" y="659525"/>
                          <a:pt x="469846" y="662075"/>
                          <a:pt x="462022" y="659797"/>
                        </a:cubicBezTo>
                        <a:cubicBezTo>
                          <a:pt x="461722" y="658720"/>
                          <a:pt x="461271" y="657681"/>
                          <a:pt x="460709" y="656753"/>
                        </a:cubicBezTo>
                        <a:cubicBezTo>
                          <a:pt x="464778" y="656167"/>
                          <a:pt x="469637" y="656853"/>
                          <a:pt x="473201" y="654808"/>
                        </a:cubicBezTo>
                        <a:cubicBezTo>
                          <a:pt x="477618" y="655337"/>
                          <a:pt x="479020" y="649900"/>
                          <a:pt x="478361" y="646045"/>
                        </a:cubicBezTo>
                        <a:cubicBezTo>
                          <a:pt x="487855" y="641939"/>
                          <a:pt x="499005" y="641528"/>
                          <a:pt x="507756" y="635829"/>
                        </a:cubicBezTo>
                        <a:cubicBezTo>
                          <a:pt x="517073" y="635914"/>
                          <a:pt x="526390" y="633664"/>
                          <a:pt x="535696" y="633019"/>
                        </a:cubicBezTo>
                        <a:cubicBezTo>
                          <a:pt x="545039" y="631820"/>
                          <a:pt x="554584" y="631914"/>
                          <a:pt x="563824" y="630129"/>
                        </a:cubicBezTo>
                        <a:cubicBezTo>
                          <a:pt x="563264" y="630275"/>
                          <a:pt x="564121" y="630144"/>
                          <a:pt x="564272" y="630141"/>
                        </a:cubicBezTo>
                        <a:cubicBezTo>
                          <a:pt x="564275" y="630141"/>
                          <a:pt x="564275" y="630144"/>
                          <a:pt x="564278" y="630144"/>
                        </a:cubicBezTo>
                        <a:cubicBezTo>
                          <a:pt x="565397" y="631020"/>
                          <a:pt x="567981" y="629995"/>
                          <a:pt x="569538" y="630626"/>
                        </a:cubicBezTo>
                        <a:cubicBezTo>
                          <a:pt x="543137" y="644012"/>
                          <a:pt x="513533" y="649175"/>
                          <a:pt x="485288" y="657387"/>
                        </a:cubicBezTo>
                        <a:close/>
                        <a:moveTo>
                          <a:pt x="573752" y="667380"/>
                        </a:moveTo>
                        <a:cubicBezTo>
                          <a:pt x="552497" y="674413"/>
                          <a:pt x="529714" y="673988"/>
                          <a:pt x="507713" y="671612"/>
                        </a:cubicBezTo>
                        <a:cubicBezTo>
                          <a:pt x="498711" y="670082"/>
                          <a:pt x="509872" y="661247"/>
                          <a:pt x="507091" y="656613"/>
                        </a:cubicBezTo>
                        <a:cubicBezTo>
                          <a:pt x="515254" y="654428"/>
                          <a:pt x="580719" y="638370"/>
                          <a:pt x="576604" y="629661"/>
                        </a:cubicBezTo>
                        <a:cubicBezTo>
                          <a:pt x="573915" y="626109"/>
                          <a:pt x="569335" y="623845"/>
                          <a:pt x="564878" y="625224"/>
                        </a:cubicBezTo>
                        <a:cubicBezTo>
                          <a:pt x="560523" y="624841"/>
                          <a:pt x="556035" y="625033"/>
                          <a:pt x="551640" y="625512"/>
                        </a:cubicBezTo>
                        <a:cubicBezTo>
                          <a:pt x="531927" y="627040"/>
                          <a:pt x="512214" y="629690"/>
                          <a:pt x="493405" y="635897"/>
                        </a:cubicBezTo>
                        <a:cubicBezTo>
                          <a:pt x="493719" y="633008"/>
                          <a:pt x="492823" y="630175"/>
                          <a:pt x="490921" y="627991"/>
                        </a:cubicBezTo>
                        <a:cubicBezTo>
                          <a:pt x="490998" y="622257"/>
                          <a:pt x="487638" y="616264"/>
                          <a:pt x="483312" y="612769"/>
                        </a:cubicBezTo>
                        <a:cubicBezTo>
                          <a:pt x="478069" y="608275"/>
                          <a:pt x="470514" y="608203"/>
                          <a:pt x="465229" y="603852"/>
                        </a:cubicBezTo>
                        <a:cubicBezTo>
                          <a:pt x="459909" y="598689"/>
                          <a:pt x="455989" y="592213"/>
                          <a:pt x="451666" y="586234"/>
                        </a:cubicBezTo>
                        <a:cubicBezTo>
                          <a:pt x="447480" y="580515"/>
                          <a:pt x="444453" y="573919"/>
                          <a:pt x="439785" y="568548"/>
                        </a:cubicBezTo>
                        <a:cubicBezTo>
                          <a:pt x="440310" y="563683"/>
                          <a:pt x="439893" y="559148"/>
                          <a:pt x="438546" y="554585"/>
                        </a:cubicBezTo>
                        <a:cubicBezTo>
                          <a:pt x="444208" y="549766"/>
                          <a:pt x="449784" y="543275"/>
                          <a:pt x="448616" y="535352"/>
                        </a:cubicBezTo>
                        <a:cubicBezTo>
                          <a:pt x="447868" y="530232"/>
                          <a:pt x="444133" y="526263"/>
                          <a:pt x="442095" y="521643"/>
                        </a:cubicBezTo>
                        <a:cubicBezTo>
                          <a:pt x="438003" y="512375"/>
                          <a:pt x="437926" y="501847"/>
                          <a:pt x="438406" y="491910"/>
                        </a:cubicBezTo>
                        <a:cubicBezTo>
                          <a:pt x="441081" y="454331"/>
                          <a:pt x="442155" y="416629"/>
                          <a:pt x="440013" y="378987"/>
                        </a:cubicBezTo>
                        <a:cubicBezTo>
                          <a:pt x="453830" y="375798"/>
                          <a:pt x="468038" y="373905"/>
                          <a:pt x="482232" y="374393"/>
                        </a:cubicBezTo>
                        <a:cubicBezTo>
                          <a:pt x="485119" y="374481"/>
                          <a:pt x="488951" y="374827"/>
                          <a:pt x="491901" y="373676"/>
                        </a:cubicBezTo>
                        <a:cubicBezTo>
                          <a:pt x="499053" y="377151"/>
                          <a:pt x="506469" y="380112"/>
                          <a:pt x="514167" y="382108"/>
                        </a:cubicBezTo>
                        <a:cubicBezTo>
                          <a:pt x="518498" y="423148"/>
                          <a:pt x="518347" y="464653"/>
                          <a:pt x="513130" y="505599"/>
                        </a:cubicBezTo>
                        <a:cubicBezTo>
                          <a:pt x="511762" y="515873"/>
                          <a:pt x="509669" y="526563"/>
                          <a:pt x="512759" y="536728"/>
                        </a:cubicBezTo>
                        <a:cubicBezTo>
                          <a:pt x="513721" y="539952"/>
                          <a:pt x="515086" y="543036"/>
                          <a:pt x="516162" y="546219"/>
                        </a:cubicBezTo>
                        <a:cubicBezTo>
                          <a:pt x="518618" y="553472"/>
                          <a:pt x="518775" y="561050"/>
                          <a:pt x="518567" y="568631"/>
                        </a:cubicBezTo>
                        <a:cubicBezTo>
                          <a:pt x="518787" y="574359"/>
                          <a:pt x="516565" y="582674"/>
                          <a:pt x="522556" y="586060"/>
                        </a:cubicBezTo>
                        <a:cubicBezTo>
                          <a:pt x="521713" y="591120"/>
                          <a:pt x="520894" y="596211"/>
                          <a:pt x="519412" y="601125"/>
                        </a:cubicBezTo>
                        <a:cubicBezTo>
                          <a:pt x="514703" y="594657"/>
                          <a:pt x="506788" y="592042"/>
                          <a:pt x="502394" y="600280"/>
                        </a:cubicBezTo>
                        <a:cubicBezTo>
                          <a:pt x="497411" y="611264"/>
                          <a:pt x="510041" y="614479"/>
                          <a:pt x="507397" y="626435"/>
                        </a:cubicBezTo>
                        <a:cubicBezTo>
                          <a:pt x="507197" y="629113"/>
                          <a:pt x="511174" y="630058"/>
                          <a:pt x="512399" y="627788"/>
                        </a:cubicBezTo>
                        <a:cubicBezTo>
                          <a:pt x="514315" y="624239"/>
                          <a:pt x="514344" y="619990"/>
                          <a:pt x="513259" y="616161"/>
                        </a:cubicBezTo>
                        <a:cubicBezTo>
                          <a:pt x="512590" y="612232"/>
                          <a:pt x="508933" y="609754"/>
                          <a:pt x="507999" y="606042"/>
                        </a:cubicBezTo>
                        <a:cubicBezTo>
                          <a:pt x="507773" y="604660"/>
                          <a:pt x="508584" y="601733"/>
                          <a:pt x="510252" y="601933"/>
                        </a:cubicBezTo>
                        <a:cubicBezTo>
                          <a:pt x="513872" y="604426"/>
                          <a:pt x="516134" y="608543"/>
                          <a:pt x="519732" y="611141"/>
                        </a:cubicBezTo>
                        <a:cubicBezTo>
                          <a:pt x="535142" y="622443"/>
                          <a:pt x="550478" y="599506"/>
                          <a:pt x="563147" y="592607"/>
                        </a:cubicBezTo>
                        <a:cubicBezTo>
                          <a:pt x="566565" y="590340"/>
                          <a:pt x="569872" y="587839"/>
                          <a:pt x="573389" y="585732"/>
                        </a:cubicBezTo>
                        <a:cubicBezTo>
                          <a:pt x="576859" y="583650"/>
                          <a:pt x="580051" y="583165"/>
                          <a:pt x="584040" y="583079"/>
                        </a:cubicBezTo>
                        <a:cubicBezTo>
                          <a:pt x="587620" y="583005"/>
                          <a:pt x="588851" y="577437"/>
                          <a:pt x="585436" y="576383"/>
                        </a:cubicBezTo>
                        <a:cubicBezTo>
                          <a:pt x="586715" y="574045"/>
                          <a:pt x="587589" y="571612"/>
                          <a:pt x="589388" y="569582"/>
                        </a:cubicBezTo>
                        <a:cubicBezTo>
                          <a:pt x="593711" y="576723"/>
                          <a:pt x="594913" y="585415"/>
                          <a:pt x="600495" y="591879"/>
                        </a:cubicBezTo>
                        <a:cubicBezTo>
                          <a:pt x="595787" y="592011"/>
                          <a:pt x="591492" y="594629"/>
                          <a:pt x="589197" y="598663"/>
                        </a:cubicBezTo>
                        <a:cubicBezTo>
                          <a:pt x="588152" y="600508"/>
                          <a:pt x="590798" y="602767"/>
                          <a:pt x="592240" y="601014"/>
                        </a:cubicBezTo>
                        <a:cubicBezTo>
                          <a:pt x="596127" y="595962"/>
                          <a:pt x="599453" y="597830"/>
                          <a:pt x="603847" y="595777"/>
                        </a:cubicBezTo>
                        <a:cubicBezTo>
                          <a:pt x="605018" y="597013"/>
                          <a:pt x="606240" y="598195"/>
                          <a:pt x="607522" y="599323"/>
                        </a:cubicBezTo>
                        <a:cubicBezTo>
                          <a:pt x="604661" y="600736"/>
                          <a:pt x="602177" y="603138"/>
                          <a:pt x="601006" y="605816"/>
                        </a:cubicBezTo>
                        <a:cubicBezTo>
                          <a:pt x="600292" y="607452"/>
                          <a:pt x="602137" y="609160"/>
                          <a:pt x="603582" y="607803"/>
                        </a:cubicBezTo>
                        <a:cubicBezTo>
                          <a:pt x="605932" y="605548"/>
                          <a:pt x="608704" y="603492"/>
                          <a:pt x="611937" y="602864"/>
                        </a:cubicBezTo>
                        <a:cubicBezTo>
                          <a:pt x="614024" y="604388"/>
                          <a:pt x="616200" y="605782"/>
                          <a:pt x="618444" y="607058"/>
                        </a:cubicBezTo>
                        <a:cubicBezTo>
                          <a:pt x="615731" y="608472"/>
                          <a:pt x="613236" y="610153"/>
                          <a:pt x="610880" y="612092"/>
                        </a:cubicBezTo>
                        <a:cubicBezTo>
                          <a:pt x="609093" y="613548"/>
                          <a:pt x="611471" y="616672"/>
                          <a:pt x="613364" y="615313"/>
                        </a:cubicBezTo>
                        <a:cubicBezTo>
                          <a:pt x="616437" y="612877"/>
                          <a:pt x="620163" y="611561"/>
                          <a:pt x="623552" y="609714"/>
                        </a:cubicBezTo>
                        <a:cubicBezTo>
                          <a:pt x="654713" y="624961"/>
                          <a:pt x="663042" y="609811"/>
                          <a:pt x="684348" y="617003"/>
                        </a:cubicBezTo>
                        <a:cubicBezTo>
                          <a:pt x="655281" y="627839"/>
                          <a:pt x="625662" y="643681"/>
                          <a:pt x="594707" y="647213"/>
                        </a:cubicBezTo>
                        <a:cubicBezTo>
                          <a:pt x="571239" y="645900"/>
                          <a:pt x="547023" y="645120"/>
                          <a:pt x="524343" y="652327"/>
                        </a:cubicBezTo>
                        <a:cubicBezTo>
                          <a:pt x="523424" y="652627"/>
                          <a:pt x="523512" y="654251"/>
                          <a:pt x="524586" y="654120"/>
                        </a:cubicBezTo>
                        <a:cubicBezTo>
                          <a:pt x="546937" y="650608"/>
                          <a:pt x="569429" y="648903"/>
                          <a:pt x="592018" y="650836"/>
                        </a:cubicBezTo>
                        <a:cubicBezTo>
                          <a:pt x="603256" y="651362"/>
                          <a:pt x="613561" y="647987"/>
                          <a:pt x="624046" y="644358"/>
                        </a:cubicBezTo>
                        <a:cubicBezTo>
                          <a:pt x="645715" y="636868"/>
                          <a:pt x="667105" y="628576"/>
                          <a:pt x="688189" y="619579"/>
                        </a:cubicBezTo>
                        <a:cubicBezTo>
                          <a:pt x="688725" y="620141"/>
                          <a:pt x="689125" y="620744"/>
                          <a:pt x="689479" y="621372"/>
                        </a:cubicBezTo>
                        <a:cubicBezTo>
                          <a:pt x="678478" y="626666"/>
                          <a:pt x="668667" y="634070"/>
                          <a:pt x="657993" y="639975"/>
                        </a:cubicBezTo>
                        <a:cubicBezTo>
                          <a:pt x="631410" y="652852"/>
                          <a:pt x="601714" y="658100"/>
                          <a:pt x="573752" y="667380"/>
                        </a:cubicBezTo>
                        <a:close/>
                        <a:moveTo>
                          <a:pt x="732095" y="645580"/>
                        </a:moveTo>
                        <a:cubicBezTo>
                          <a:pt x="733671" y="645631"/>
                          <a:pt x="735242" y="645742"/>
                          <a:pt x="736807" y="645791"/>
                        </a:cubicBezTo>
                        <a:cubicBezTo>
                          <a:pt x="687752" y="660485"/>
                          <a:pt x="637195" y="669279"/>
                          <a:pt x="586244" y="673708"/>
                        </a:cubicBezTo>
                        <a:cubicBezTo>
                          <a:pt x="586507" y="672880"/>
                          <a:pt x="586767" y="672037"/>
                          <a:pt x="586892" y="671141"/>
                        </a:cubicBezTo>
                        <a:cubicBezTo>
                          <a:pt x="605843" y="665453"/>
                          <a:pt x="624888" y="660039"/>
                          <a:pt x="643762" y="654112"/>
                        </a:cubicBezTo>
                        <a:cubicBezTo>
                          <a:pt x="643765" y="654660"/>
                          <a:pt x="644219" y="655225"/>
                          <a:pt x="644916" y="655060"/>
                        </a:cubicBezTo>
                        <a:cubicBezTo>
                          <a:pt x="648217" y="654271"/>
                          <a:pt x="651580" y="654189"/>
                          <a:pt x="654935" y="653746"/>
                        </a:cubicBezTo>
                        <a:cubicBezTo>
                          <a:pt x="664481" y="652510"/>
                          <a:pt x="674120" y="652341"/>
                          <a:pt x="683711" y="651673"/>
                        </a:cubicBezTo>
                        <a:cubicBezTo>
                          <a:pt x="700061" y="651211"/>
                          <a:pt x="715680" y="644623"/>
                          <a:pt x="732095" y="645580"/>
                        </a:cubicBezTo>
                        <a:close/>
                        <a:moveTo>
                          <a:pt x="737920" y="636874"/>
                        </a:moveTo>
                        <a:cubicBezTo>
                          <a:pt x="735208" y="636694"/>
                          <a:pt x="732378" y="637254"/>
                          <a:pt x="729737" y="636885"/>
                        </a:cubicBezTo>
                        <a:cubicBezTo>
                          <a:pt x="727295" y="636366"/>
                          <a:pt x="726173" y="639966"/>
                          <a:pt x="726305" y="641859"/>
                        </a:cubicBezTo>
                        <a:cubicBezTo>
                          <a:pt x="712490" y="641334"/>
                          <a:pt x="699276" y="646345"/>
                          <a:pt x="685585" y="647424"/>
                        </a:cubicBezTo>
                        <a:cubicBezTo>
                          <a:pt x="674266" y="648712"/>
                          <a:pt x="662736" y="648758"/>
                          <a:pt x="651589" y="651242"/>
                        </a:cubicBezTo>
                        <a:cubicBezTo>
                          <a:pt x="668195" y="645825"/>
                          <a:pt x="683694" y="628122"/>
                          <a:pt x="700361" y="626752"/>
                        </a:cubicBezTo>
                        <a:cubicBezTo>
                          <a:pt x="706671" y="626526"/>
                          <a:pt x="712939" y="626018"/>
                          <a:pt x="719249" y="625715"/>
                        </a:cubicBezTo>
                        <a:cubicBezTo>
                          <a:pt x="716519" y="627982"/>
                          <a:pt x="715149" y="644089"/>
                          <a:pt x="721345" y="640826"/>
                        </a:cubicBezTo>
                        <a:cubicBezTo>
                          <a:pt x="721896" y="640440"/>
                          <a:pt x="721879" y="639869"/>
                          <a:pt x="721602" y="639344"/>
                        </a:cubicBezTo>
                        <a:cubicBezTo>
                          <a:pt x="719520" y="634495"/>
                          <a:pt x="720406" y="628016"/>
                          <a:pt x="724637" y="624590"/>
                        </a:cubicBezTo>
                        <a:cubicBezTo>
                          <a:pt x="724866" y="624459"/>
                          <a:pt x="725111" y="624336"/>
                          <a:pt x="725280" y="624127"/>
                        </a:cubicBezTo>
                        <a:cubicBezTo>
                          <a:pt x="726053" y="624582"/>
                          <a:pt x="726733" y="625235"/>
                          <a:pt x="726973" y="626121"/>
                        </a:cubicBezTo>
                        <a:cubicBezTo>
                          <a:pt x="726770" y="626772"/>
                          <a:pt x="727170" y="627677"/>
                          <a:pt x="727998" y="627645"/>
                        </a:cubicBezTo>
                        <a:cubicBezTo>
                          <a:pt x="732472" y="627480"/>
                          <a:pt x="736687" y="627565"/>
                          <a:pt x="741218" y="627457"/>
                        </a:cubicBezTo>
                        <a:cubicBezTo>
                          <a:pt x="739936" y="630352"/>
                          <a:pt x="739865" y="633856"/>
                          <a:pt x="741284" y="636802"/>
                        </a:cubicBezTo>
                        <a:cubicBezTo>
                          <a:pt x="740105" y="636791"/>
                          <a:pt x="738922" y="636888"/>
                          <a:pt x="737920" y="636874"/>
                        </a:cubicBezTo>
                        <a:close/>
                        <a:moveTo>
                          <a:pt x="745156" y="636854"/>
                        </a:moveTo>
                        <a:cubicBezTo>
                          <a:pt x="742095" y="635772"/>
                          <a:pt x="742663" y="630212"/>
                          <a:pt x="743868" y="627902"/>
                        </a:cubicBezTo>
                        <a:cubicBezTo>
                          <a:pt x="744736" y="627740"/>
                          <a:pt x="745570" y="628085"/>
                          <a:pt x="746421" y="628262"/>
                        </a:cubicBezTo>
                        <a:cubicBezTo>
                          <a:pt x="747123" y="630369"/>
                          <a:pt x="748639" y="636548"/>
                          <a:pt x="745156" y="636854"/>
                        </a:cubicBezTo>
                        <a:close/>
                      </a:path>
                    </a:pathLst>
                  </a:custGeom>
                  <a:grpFill/>
                  <a:ln w="2826" cap="flat">
                    <a:noFill/>
                    <a:prstDash val="solid"/>
                    <a:miter/>
                  </a:ln>
                </p:spPr>
                <p:txBody>
                  <a:bodyPr rtlCol="0" anchor="ctr"/>
                  <a:lstStyle/>
                  <a:p>
                    <a:endParaRPr lang="fr-CA"/>
                  </a:p>
                </p:txBody>
              </p:sp>
            </p:grpSp>
          </p:grpSp>
          <p:grpSp>
            <p:nvGrpSpPr>
              <p:cNvPr id="1082" name="Graphique 35" descr="Garçon dans un fauteuil roulant">
                <a:extLst>
                  <a:ext uri="{FF2B5EF4-FFF2-40B4-BE49-F238E27FC236}">
                    <a16:creationId xmlns:a16="http://schemas.microsoft.com/office/drawing/2014/main" id="{1B021FCA-767D-D69D-01EC-F788679477DE}"/>
                  </a:ext>
                </a:extLst>
              </p:cNvPr>
              <p:cNvGrpSpPr/>
              <p:nvPr/>
            </p:nvGrpSpPr>
            <p:grpSpPr>
              <a:xfrm>
                <a:off x="9352242" y="3832116"/>
                <a:ext cx="154059" cy="189583"/>
                <a:chOff x="9352242" y="3832116"/>
                <a:chExt cx="154059" cy="189583"/>
              </a:xfrm>
              <a:grpFill/>
            </p:grpSpPr>
            <p:sp>
              <p:nvSpPr>
                <p:cNvPr id="1083" name="Forme libre : forme 1082">
                  <a:extLst>
                    <a:ext uri="{FF2B5EF4-FFF2-40B4-BE49-F238E27FC236}">
                      <a16:creationId xmlns:a16="http://schemas.microsoft.com/office/drawing/2014/main" id="{970323AE-3523-46DC-A2E9-28A89CF86730}"/>
                    </a:ext>
                  </a:extLst>
                </p:cNvPr>
                <p:cNvSpPr/>
                <p:nvPr/>
              </p:nvSpPr>
              <p:spPr>
                <a:xfrm>
                  <a:off x="9353792" y="3844553"/>
                  <a:ext cx="148476" cy="174319"/>
                </a:xfrm>
                <a:custGeom>
                  <a:avLst/>
                  <a:gdLst>
                    <a:gd name="connsiteX0" fmla="*/ 77552 w 148476"/>
                    <a:gd name="connsiteY0" fmla="*/ 2095 h 174319"/>
                    <a:gd name="connsiteX1" fmla="*/ 129491 w 148476"/>
                    <a:gd name="connsiteY1" fmla="*/ 19427 h 174319"/>
                    <a:gd name="connsiteX2" fmla="*/ 132803 w 148476"/>
                    <a:gd name="connsiteY2" fmla="*/ 32076 h 174319"/>
                    <a:gd name="connsiteX3" fmla="*/ 149193 w 148476"/>
                    <a:gd name="connsiteY3" fmla="*/ 139009 h 174319"/>
                    <a:gd name="connsiteX4" fmla="*/ 94227 w 148476"/>
                    <a:gd name="connsiteY4" fmla="*/ 176414 h 174319"/>
                    <a:gd name="connsiteX5" fmla="*/ 33666 w 148476"/>
                    <a:gd name="connsiteY5" fmla="*/ 153286 h 174319"/>
                    <a:gd name="connsiteX6" fmla="*/ 17476 w 148476"/>
                    <a:gd name="connsiteY6" fmla="*/ 125960 h 174319"/>
                    <a:gd name="connsiteX7" fmla="*/ 10023 w 148476"/>
                    <a:gd name="connsiteY7" fmla="*/ 126960 h 174319"/>
                    <a:gd name="connsiteX8" fmla="*/ 1228 w 148476"/>
                    <a:gd name="connsiteY8" fmla="*/ 110227 h 174319"/>
                    <a:gd name="connsiteX9" fmla="*/ 12222 w 148476"/>
                    <a:gd name="connsiteY9" fmla="*/ 91439 h 174319"/>
                    <a:gd name="connsiteX10" fmla="*/ 18218 w 148476"/>
                    <a:gd name="connsiteY10" fmla="*/ 22882 h 174319"/>
                    <a:gd name="connsiteX11" fmla="*/ 77552 w 148476"/>
                    <a:gd name="connsiteY11" fmla="*/ 2095 h 1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476" h="174319">
                      <a:moveTo>
                        <a:pt x="77552" y="2095"/>
                      </a:moveTo>
                      <a:cubicBezTo>
                        <a:pt x="96369" y="2095"/>
                        <a:pt x="119840" y="7891"/>
                        <a:pt x="129491" y="19427"/>
                      </a:cubicBezTo>
                      <a:cubicBezTo>
                        <a:pt x="131832" y="22197"/>
                        <a:pt x="132289" y="29164"/>
                        <a:pt x="132803" y="32076"/>
                      </a:cubicBezTo>
                      <a:cubicBezTo>
                        <a:pt x="135830" y="49751"/>
                        <a:pt x="152848" y="117251"/>
                        <a:pt x="149193" y="139009"/>
                      </a:cubicBezTo>
                      <a:cubicBezTo>
                        <a:pt x="145538" y="160738"/>
                        <a:pt x="125807" y="176414"/>
                        <a:pt x="94227" y="176414"/>
                      </a:cubicBezTo>
                      <a:cubicBezTo>
                        <a:pt x="62647" y="176414"/>
                        <a:pt x="39062" y="159196"/>
                        <a:pt x="33666" y="153286"/>
                      </a:cubicBezTo>
                      <a:cubicBezTo>
                        <a:pt x="28240" y="147347"/>
                        <a:pt x="17476" y="125960"/>
                        <a:pt x="17476" y="125960"/>
                      </a:cubicBezTo>
                      <a:cubicBezTo>
                        <a:pt x="17476" y="125960"/>
                        <a:pt x="13335" y="128359"/>
                        <a:pt x="10023" y="126960"/>
                      </a:cubicBezTo>
                      <a:cubicBezTo>
                        <a:pt x="5455" y="125018"/>
                        <a:pt x="1286" y="118251"/>
                        <a:pt x="1228" y="110227"/>
                      </a:cubicBezTo>
                      <a:cubicBezTo>
                        <a:pt x="1143" y="96436"/>
                        <a:pt x="12222" y="91439"/>
                        <a:pt x="12222" y="91439"/>
                      </a:cubicBezTo>
                      <a:cubicBezTo>
                        <a:pt x="12222" y="91439"/>
                        <a:pt x="8281" y="37044"/>
                        <a:pt x="18218" y="22882"/>
                      </a:cubicBezTo>
                      <a:cubicBezTo>
                        <a:pt x="28155" y="8720"/>
                        <a:pt x="54224" y="2095"/>
                        <a:pt x="77552" y="2095"/>
                      </a:cubicBezTo>
                      <a:close/>
                    </a:path>
                  </a:pathLst>
                </a:custGeom>
                <a:grpFill/>
                <a:ln w="2826" cap="flat">
                  <a:noFill/>
                  <a:prstDash val="solid"/>
                  <a:miter/>
                </a:ln>
              </p:spPr>
              <p:txBody>
                <a:bodyPr rtlCol="0" anchor="ctr"/>
                <a:lstStyle/>
                <a:p>
                  <a:endParaRPr lang="fr-CA"/>
                </a:p>
              </p:txBody>
            </p:sp>
            <p:sp>
              <p:nvSpPr>
                <p:cNvPr id="1084" name="Forme libre : forme 1083">
                  <a:extLst>
                    <a:ext uri="{FF2B5EF4-FFF2-40B4-BE49-F238E27FC236}">
                      <a16:creationId xmlns:a16="http://schemas.microsoft.com/office/drawing/2014/main" id="{A4EE510B-6481-8CA6-DB19-3740A4F05800}"/>
                    </a:ext>
                  </a:extLst>
                </p:cNvPr>
                <p:cNvSpPr/>
                <p:nvPr/>
              </p:nvSpPr>
              <p:spPr>
                <a:xfrm>
                  <a:off x="9352242" y="3832116"/>
                  <a:ext cx="154059" cy="189583"/>
                </a:xfrm>
                <a:custGeom>
                  <a:avLst/>
                  <a:gdLst>
                    <a:gd name="connsiteX0" fmla="*/ 97119 w 154059"/>
                    <a:gd name="connsiteY0" fmla="*/ 191678 h 189583"/>
                    <a:gd name="connsiteX1" fmla="*/ 82671 w 154059"/>
                    <a:gd name="connsiteY1" fmla="*/ 190108 h 189583"/>
                    <a:gd name="connsiteX2" fmla="*/ 80415 w 154059"/>
                    <a:gd name="connsiteY2" fmla="*/ 182456 h 189583"/>
                    <a:gd name="connsiteX3" fmla="*/ 142690 w 154059"/>
                    <a:gd name="connsiteY3" fmla="*/ 162525 h 189583"/>
                    <a:gd name="connsiteX4" fmla="*/ 145117 w 154059"/>
                    <a:gd name="connsiteY4" fmla="*/ 124749 h 189583"/>
                    <a:gd name="connsiteX5" fmla="*/ 137208 w 154059"/>
                    <a:gd name="connsiteY5" fmla="*/ 72782 h 189583"/>
                    <a:gd name="connsiteX6" fmla="*/ 137208 w 154059"/>
                    <a:gd name="connsiteY6" fmla="*/ 72782 h 189583"/>
                    <a:gd name="connsiteX7" fmla="*/ 134095 w 154059"/>
                    <a:gd name="connsiteY7" fmla="*/ 48026 h 189583"/>
                    <a:gd name="connsiteX8" fmla="*/ 133867 w 154059"/>
                    <a:gd name="connsiteY8" fmla="*/ 41630 h 189583"/>
                    <a:gd name="connsiteX9" fmla="*/ 136608 w 154059"/>
                    <a:gd name="connsiteY9" fmla="*/ 49625 h 189583"/>
                    <a:gd name="connsiteX10" fmla="*/ 145659 w 154059"/>
                    <a:gd name="connsiteY10" fmla="*/ 88344 h 189583"/>
                    <a:gd name="connsiteX11" fmla="*/ 154026 w 154059"/>
                    <a:gd name="connsiteY11" fmla="*/ 133601 h 189583"/>
                    <a:gd name="connsiteX12" fmla="*/ 151027 w 154059"/>
                    <a:gd name="connsiteY12" fmla="*/ 164667 h 189583"/>
                    <a:gd name="connsiteX13" fmla="*/ 97119 w 154059"/>
                    <a:gd name="connsiteY13" fmla="*/ 191678 h 189583"/>
                    <a:gd name="connsiteX14" fmla="*/ 44666 w 154059"/>
                    <a:gd name="connsiteY14" fmla="*/ 173490 h 189583"/>
                    <a:gd name="connsiteX15" fmla="*/ 19396 w 154059"/>
                    <a:gd name="connsiteY15" fmla="*/ 139968 h 189583"/>
                    <a:gd name="connsiteX16" fmla="*/ 12686 w 154059"/>
                    <a:gd name="connsiteY16" fmla="*/ 142652 h 189583"/>
                    <a:gd name="connsiteX17" fmla="*/ 8060 w 154059"/>
                    <a:gd name="connsiteY17" fmla="*/ 106304 h 189583"/>
                    <a:gd name="connsiteX18" fmla="*/ 7718 w 154059"/>
                    <a:gd name="connsiteY18" fmla="*/ 60760 h 189583"/>
                    <a:gd name="connsiteX19" fmla="*/ 10887 w 154059"/>
                    <a:gd name="connsiteY19" fmla="*/ 36947 h 189583"/>
                    <a:gd name="connsiteX20" fmla="*/ 33330 w 154059"/>
                    <a:gd name="connsiteY20" fmla="*/ 2997 h 189583"/>
                    <a:gd name="connsiteX21" fmla="*/ 43866 w 154059"/>
                    <a:gd name="connsiteY21" fmla="*/ 2112 h 189583"/>
                    <a:gd name="connsiteX22" fmla="*/ 109282 w 154059"/>
                    <a:gd name="connsiteY22" fmla="*/ 3568 h 189583"/>
                    <a:gd name="connsiteX23" fmla="*/ 126871 w 154059"/>
                    <a:gd name="connsiteY23" fmla="*/ 3825 h 189583"/>
                    <a:gd name="connsiteX24" fmla="*/ 138835 w 154059"/>
                    <a:gd name="connsiteY24" fmla="*/ 7851 h 189583"/>
                    <a:gd name="connsiteX25" fmla="*/ 142062 w 154059"/>
                    <a:gd name="connsiteY25" fmla="*/ 8136 h 189583"/>
                    <a:gd name="connsiteX26" fmla="*/ 144546 w 154059"/>
                    <a:gd name="connsiteY26" fmla="*/ 12305 h 189583"/>
                    <a:gd name="connsiteX27" fmla="*/ 141862 w 154059"/>
                    <a:gd name="connsiteY27" fmla="*/ 23984 h 189583"/>
                    <a:gd name="connsiteX28" fmla="*/ 138921 w 154059"/>
                    <a:gd name="connsiteY28" fmla="*/ 38889 h 189583"/>
                    <a:gd name="connsiteX29" fmla="*/ 132011 w 154059"/>
                    <a:gd name="connsiteY29" fmla="*/ 37318 h 189583"/>
                    <a:gd name="connsiteX30" fmla="*/ 38099 w 154059"/>
                    <a:gd name="connsiteY30" fmla="*/ 46627 h 189583"/>
                    <a:gd name="connsiteX31" fmla="*/ 36014 w 154059"/>
                    <a:gd name="connsiteY31" fmla="*/ 53137 h 189583"/>
                    <a:gd name="connsiteX32" fmla="*/ 37413 w 154059"/>
                    <a:gd name="connsiteY32" fmla="*/ 56792 h 189583"/>
                    <a:gd name="connsiteX33" fmla="*/ 40526 w 154059"/>
                    <a:gd name="connsiteY33" fmla="*/ 65415 h 189583"/>
                    <a:gd name="connsiteX34" fmla="*/ 35015 w 154059"/>
                    <a:gd name="connsiteY34" fmla="*/ 73296 h 189583"/>
                    <a:gd name="connsiteX35" fmla="*/ 27419 w 154059"/>
                    <a:gd name="connsiteY35" fmla="*/ 89457 h 189583"/>
                    <a:gd name="connsiteX36" fmla="*/ 27933 w 154059"/>
                    <a:gd name="connsiteY36" fmla="*/ 105361 h 189583"/>
                    <a:gd name="connsiteX37" fmla="*/ 23622 w 154059"/>
                    <a:gd name="connsiteY37" fmla="*/ 109416 h 189583"/>
                    <a:gd name="connsiteX38" fmla="*/ 22851 w 154059"/>
                    <a:gd name="connsiteY38" fmla="*/ 109131 h 189583"/>
                    <a:gd name="connsiteX39" fmla="*/ 12486 w 154059"/>
                    <a:gd name="connsiteY39" fmla="*/ 108759 h 189583"/>
                    <a:gd name="connsiteX40" fmla="*/ 13200 w 154059"/>
                    <a:gd name="connsiteY40" fmla="*/ 135542 h 189583"/>
                    <a:gd name="connsiteX41" fmla="*/ 19910 w 154059"/>
                    <a:gd name="connsiteY41" fmla="*/ 138683 h 189583"/>
                    <a:gd name="connsiteX42" fmla="*/ 46864 w 154059"/>
                    <a:gd name="connsiteY42" fmla="*/ 167522 h 189583"/>
                    <a:gd name="connsiteX43" fmla="*/ 44666 w 154059"/>
                    <a:gd name="connsiteY43" fmla="*/ 173490 h 189583"/>
                    <a:gd name="connsiteX44" fmla="*/ 21966 w 154059"/>
                    <a:gd name="connsiteY44" fmla="*/ 128804 h 189583"/>
                    <a:gd name="connsiteX45" fmla="*/ 19025 w 154059"/>
                    <a:gd name="connsiteY45" fmla="*/ 126434 h 189583"/>
                    <a:gd name="connsiteX46" fmla="*/ 11515 w 154059"/>
                    <a:gd name="connsiteY46" fmla="*/ 119695 h 189583"/>
                    <a:gd name="connsiteX47" fmla="*/ 11344 w 154059"/>
                    <a:gd name="connsiteY47" fmla="*/ 119096 h 189583"/>
                    <a:gd name="connsiteX48" fmla="*/ 21109 w 154059"/>
                    <a:gd name="connsiteY48" fmla="*/ 119609 h 189583"/>
                    <a:gd name="connsiteX49" fmla="*/ 21966 w 154059"/>
                    <a:gd name="connsiteY49" fmla="*/ 128804 h 18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4059" h="189583">
                      <a:moveTo>
                        <a:pt x="97119" y="191678"/>
                      </a:moveTo>
                      <a:cubicBezTo>
                        <a:pt x="92265" y="191678"/>
                        <a:pt x="87439" y="191136"/>
                        <a:pt x="82671" y="190108"/>
                      </a:cubicBezTo>
                      <a:cubicBezTo>
                        <a:pt x="76389" y="189594"/>
                        <a:pt x="70078" y="182085"/>
                        <a:pt x="80415" y="182456"/>
                      </a:cubicBezTo>
                      <a:cubicBezTo>
                        <a:pt x="102372" y="187453"/>
                        <a:pt x="126843" y="183741"/>
                        <a:pt x="142690" y="162525"/>
                      </a:cubicBezTo>
                      <a:cubicBezTo>
                        <a:pt x="150143" y="151161"/>
                        <a:pt x="147116" y="137541"/>
                        <a:pt x="145117" y="124749"/>
                      </a:cubicBezTo>
                      <a:cubicBezTo>
                        <a:pt x="141862" y="103991"/>
                        <a:pt x="139920" y="90628"/>
                        <a:pt x="137208" y="72782"/>
                      </a:cubicBezTo>
                      <a:lnTo>
                        <a:pt x="137208" y="72782"/>
                      </a:lnTo>
                      <a:cubicBezTo>
                        <a:pt x="135951" y="64358"/>
                        <a:pt x="134666" y="56763"/>
                        <a:pt x="134095" y="48026"/>
                      </a:cubicBezTo>
                      <a:cubicBezTo>
                        <a:pt x="133953" y="45970"/>
                        <a:pt x="133382" y="41658"/>
                        <a:pt x="133867" y="41630"/>
                      </a:cubicBezTo>
                      <a:cubicBezTo>
                        <a:pt x="134381" y="41601"/>
                        <a:pt x="135780" y="46998"/>
                        <a:pt x="136608" y="49625"/>
                      </a:cubicBezTo>
                      <a:cubicBezTo>
                        <a:pt x="140634" y="62217"/>
                        <a:pt x="142576" y="73952"/>
                        <a:pt x="145659" y="88344"/>
                      </a:cubicBezTo>
                      <a:cubicBezTo>
                        <a:pt x="148515" y="103306"/>
                        <a:pt x="151542" y="118410"/>
                        <a:pt x="154026" y="133601"/>
                      </a:cubicBezTo>
                      <a:cubicBezTo>
                        <a:pt x="155767" y="143937"/>
                        <a:pt x="156453" y="155273"/>
                        <a:pt x="151027" y="164667"/>
                      </a:cubicBezTo>
                      <a:cubicBezTo>
                        <a:pt x="140149" y="182941"/>
                        <a:pt x="117620" y="191393"/>
                        <a:pt x="97119" y="191678"/>
                      </a:cubicBezTo>
                      <a:close/>
                      <a:moveTo>
                        <a:pt x="44666" y="173490"/>
                      </a:moveTo>
                      <a:cubicBezTo>
                        <a:pt x="31503" y="169407"/>
                        <a:pt x="21794" y="153017"/>
                        <a:pt x="19396" y="139968"/>
                      </a:cubicBezTo>
                      <a:cubicBezTo>
                        <a:pt x="18368" y="142595"/>
                        <a:pt x="15199" y="143195"/>
                        <a:pt x="12686" y="142652"/>
                      </a:cubicBezTo>
                      <a:cubicBezTo>
                        <a:pt x="-1220" y="140311"/>
                        <a:pt x="-2105" y="112956"/>
                        <a:pt x="8060" y="106304"/>
                      </a:cubicBezTo>
                      <a:cubicBezTo>
                        <a:pt x="1921" y="91856"/>
                        <a:pt x="5947" y="75722"/>
                        <a:pt x="7718" y="60760"/>
                      </a:cubicBezTo>
                      <a:cubicBezTo>
                        <a:pt x="7718" y="60760"/>
                        <a:pt x="10887" y="36947"/>
                        <a:pt x="10887" y="36947"/>
                      </a:cubicBezTo>
                      <a:cubicBezTo>
                        <a:pt x="12172" y="23127"/>
                        <a:pt x="17511" y="5653"/>
                        <a:pt x="33330" y="2997"/>
                      </a:cubicBezTo>
                      <a:cubicBezTo>
                        <a:pt x="36785" y="2254"/>
                        <a:pt x="40326" y="2026"/>
                        <a:pt x="43866" y="2112"/>
                      </a:cubicBezTo>
                      <a:cubicBezTo>
                        <a:pt x="53489" y="2283"/>
                        <a:pt x="93835" y="3225"/>
                        <a:pt x="109282" y="3568"/>
                      </a:cubicBezTo>
                      <a:cubicBezTo>
                        <a:pt x="113765" y="3653"/>
                        <a:pt x="122303" y="3739"/>
                        <a:pt x="126871" y="3825"/>
                      </a:cubicBezTo>
                      <a:cubicBezTo>
                        <a:pt x="130612" y="4282"/>
                        <a:pt x="138721" y="2311"/>
                        <a:pt x="138835" y="7851"/>
                      </a:cubicBezTo>
                      <a:lnTo>
                        <a:pt x="142062" y="8136"/>
                      </a:lnTo>
                      <a:cubicBezTo>
                        <a:pt x="144089" y="8165"/>
                        <a:pt x="145488" y="10478"/>
                        <a:pt x="144546" y="12305"/>
                      </a:cubicBezTo>
                      <a:cubicBezTo>
                        <a:pt x="143432" y="14618"/>
                        <a:pt x="142576" y="19729"/>
                        <a:pt x="141862" y="23984"/>
                      </a:cubicBezTo>
                      <a:cubicBezTo>
                        <a:pt x="140577" y="29124"/>
                        <a:pt x="140463" y="34663"/>
                        <a:pt x="138921" y="38889"/>
                      </a:cubicBezTo>
                      <a:cubicBezTo>
                        <a:pt x="137208" y="41944"/>
                        <a:pt x="131554" y="41373"/>
                        <a:pt x="132011" y="37318"/>
                      </a:cubicBezTo>
                      <a:cubicBezTo>
                        <a:pt x="100459" y="36291"/>
                        <a:pt x="68023" y="36947"/>
                        <a:pt x="38099" y="46627"/>
                      </a:cubicBezTo>
                      <a:cubicBezTo>
                        <a:pt x="35700" y="48083"/>
                        <a:pt x="35757" y="50738"/>
                        <a:pt x="36014" y="53137"/>
                      </a:cubicBezTo>
                      <a:cubicBezTo>
                        <a:pt x="36185" y="55450"/>
                        <a:pt x="37070" y="55050"/>
                        <a:pt x="37413" y="56792"/>
                      </a:cubicBezTo>
                      <a:cubicBezTo>
                        <a:pt x="38184" y="59733"/>
                        <a:pt x="39127" y="62674"/>
                        <a:pt x="40526" y="65415"/>
                      </a:cubicBezTo>
                      <a:cubicBezTo>
                        <a:pt x="43324" y="69355"/>
                        <a:pt x="38841" y="73067"/>
                        <a:pt x="35015" y="73296"/>
                      </a:cubicBezTo>
                      <a:cubicBezTo>
                        <a:pt x="27305" y="73895"/>
                        <a:pt x="27848" y="83518"/>
                        <a:pt x="27419" y="89457"/>
                      </a:cubicBezTo>
                      <a:cubicBezTo>
                        <a:pt x="27048" y="94768"/>
                        <a:pt x="27477" y="100079"/>
                        <a:pt x="27933" y="105361"/>
                      </a:cubicBezTo>
                      <a:cubicBezTo>
                        <a:pt x="28305" y="108502"/>
                        <a:pt x="25906" y="111557"/>
                        <a:pt x="23622" y="109416"/>
                      </a:cubicBezTo>
                      <a:cubicBezTo>
                        <a:pt x="23308" y="109131"/>
                        <a:pt x="23136" y="109473"/>
                        <a:pt x="22851" y="109131"/>
                      </a:cubicBezTo>
                      <a:cubicBezTo>
                        <a:pt x="20224" y="106104"/>
                        <a:pt x="15570" y="106503"/>
                        <a:pt x="12486" y="108759"/>
                      </a:cubicBezTo>
                      <a:cubicBezTo>
                        <a:pt x="5462" y="113156"/>
                        <a:pt x="6319" y="132316"/>
                        <a:pt x="13200" y="135542"/>
                      </a:cubicBezTo>
                      <a:cubicBezTo>
                        <a:pt x="15142" y="136342"/>
                        <a:pt x="20795" y="135257"/>
                        <a:pt x="19910" y="138683"/>
                      </a:cubicBezTo>
                      <a:cubicBezTo>
                        <a:pt x="25335" y="148705"/>
                        <a:pt x="35072" y="162639"/>
                        <a:pt x="46864" y="167522"/>
                      </a:cubicBezTo>
                      <a:cubicBezTo>
                        <a:pt x="50691" y="168636"/>
                        <a:pt x="48007" y="173947"/>
                        <a:pt x="44666" y="173490"/>
                      </a:cubicBezTo>
                      <a:close/>
                      <a:moveTo>
                        <a:pt x="21966" y="128804"/>
                      </a:moveTo>
                      <a:cubicBezTo>
                        <a:pt x="20567" y="128861"/>
                        <a:pt x="19282" y="127804"/>
                        <a:pt x="19025" y="126434"/>
                      </a:cubicBezTo>
                      <a:cubicBezTo>
                        <a:pt x="18225" y="123122"/>
                        <a:pt x="14941" y="120152"/>
                        <a:pt x="11515" y="119695"/>
                      </a:cubicBezTo>
                      <a:cubicBezTo>
                        <a:pt x="11230" y="119667"/>
                        <a:pt x="11030" y="119210"/>
                        <a:pt x="11344" y="119096"/>
                      </a:cubicBezTo>
                      <a:cubicBezTo>
                        <a:pt x="14485" y="117525"/>
                        <a:pt x="18168" y="117725"/>
                        <a:pt x="21109" y="119609"/>
                      </a:cubicBezTo>
                      <a:cubicBezTo>
                        <a:pt x="24935" y="121780"/>
                        <a:pt x="28448" y="128061"/>
                        <a:pt x="21966" y="128804"/>
                      </a:cubicBezTo>
                      <a:close/>
                    </a:path>
                  </a:pathLst>
                </a:custGeom>
                <a:grpFill/>
                <a:ln w="2826" cap="flat">
                  <a:noFill/>
                  <a:prstDash val="solid"/>
                  <a:miter/>
                </a:ln>
              </p:spPr>
              <p:txBody>
                <a:bodyPr rtlCol="0" anchor="ctr"/>
                <a:lstStyle/>
                <a:p>
                  <a:endParaRPr lang="fr-CA"/>
                </a:p>
              </p:txBody>
            </p:sp>
          </p:grpSp>
          <p:grpSp>
            <p:nvGrpSpPr>
              <p:cNvPr id="1085" name="Graphique 35" descr="Garçon dans un fauteuil roulant">
                <a:extLst>
                  <a:ext uri="{FF2B5EF4-FFF2-40B4-BE49-F238E27FC236}">
                    <a16:creationId xmlns:a16="http://schemas.microsoft.com/office/drawing/2014/main" id="{5A2DAF5A-9982-47E8-53CE-9A427EE05EF5}"/>
                  </a:ext>
                </a:extLst>
              </p:cNvPr>
              <p:cNvGrpSpPr/>
              <p:nvPr/>
            </p:nvGrpSpPr>
            <p:grpSpPr>
              <a:xfrm>
                <a:off x="9408469" y="3907926"/>
                <a:ext cx="79331" cy="83686"/>
                <a:chOff x="9408469" y="3907926"/>
                <a:chExt cx="79331" cy="83686"/>
              </a:xfrm>
              <a:grpFill/>
            </p:grpSpPr>
            <p:sp>
              <p:nvSpPr>
                <p:cNvPr id="1086" name="Forme libre : forme 1085">
                  <a:extLst>
                    <a:ext uri="{FF2B5EF4-FFF2-40B4-BE49-F238E27FC236}">
                      <a16:creationId xmlns:a16="http://schemas.microsoft.com/office/drawing/2014/main" id="{2DF2CACB-1769-68C2-2C6F-A39A145F7C13}"/>
                    </a:ext>
                  </a:extLst>
                </p:cNvPr>
                <p:cNvSpPr/>
                <p:nvPr/>
              </p:nvSpPr>
              <p:spPr>
                <a:xfrm>
                  <a:off x="9413190" y="3960732"/>
                  <a:ext cx="64888" cy="27596"/>
                </a:xfrm>
                <a:custGeom>
                  <a:avLst/>
                  <a:gdLst>
                    <a:gd name="connsiteX0" fmla="*/ 8773 w 64888"/>
                    <a:gd name="connsiteY0" fmla="*/ 2387 h 27596"/>
                    <a:gd name="connsiteX1" fmla="*/ 43265 w 64888"/>
                    <a:gd name="connsiteY1" fmla="*/ 3186 h 27596"/>
                    <a:gd name="connsiteX2" fmla="*/ 62910 w 64888"/>
                    <a:gd name="connsiteY2" fmla="*/ 3415 h 27596"/>
                    <a:gd name="connsiteX3" fmla="*/ 56000 w 64888"/>
                    <a:gd name="connsiteY3" fmla="*/ 25658 h 27596"/>
                    <a:gd name="connsiteX4" fmla="*/ 6032 w 64888"/>
                    <a:gd name="connsiteY4" fmla="*/ 25258 h 27596"/>
                    <a:gd name="connsiteX5" fmla="*/ 8773 w 64888"/>
                    <a:gd name="connsiteY5" fmla="*/ 2387 h 2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88" h="27596">
                      <a:moveTo>
                        <a:pt x="8773" y="2387"/>
                      </a:moveTo>
                      <a:cubicBezTo>
                        <a:pt x="13199" y="-297"/>
                        <a:pt x="30245" y="2472"/>
                        <a:pt x="43265" y="3186"/>
                      </a:cubicBezTo>
                      <a:cubicBezTo>
                        <a:pt x="53716" y="1816"/>
                        <a:pt x="60540" y="1816"/>
                        <a:pt x="62910" y="3415"/>
                      </a:cubicBezTo>
                      <a:cubicBezTo>
                        <a:pt x="68250" y="7012"/>
                        <a:pt x="68992" y="18491"/>
                        <a:pt x="56000" y="25658"/>
                      </a:cubicBezTo>
                      <a:cubicBezTo>
                        <a:pt x="49890" y="28770"/>
                        <a:pt x="11828" y="31054"/>
                        <a:pt x="6032" y="25258"/>
                      </a:cubicBezTo>
                      <a:cubicBezTo>
                        <a:pt x="-1021" y="18205"/>
                        <a:pt x="806" y="7184"/>
                        <a:pt x="8773" y="2387"/>
                      </a:cubicBezTo>
                      <a:close/>
                    </a:path>
                  </a:pathLst>
                </a:custGeom>
                <a:grpFill/>
                <a:ln w="2826" cap="flat">
                  <a:noFill/>
                  <a:prstDash val="solid"/>
                  <a:miter/>
                </a:ln>
              </p:spPr>
              <p:txBody>
                <a:bodyPr rtlCol="0" anchor="ctr"/>
                <a:lstStyle/>
                <a:p>
                  <a:endParaRPr lang="fr-CA"/>
                </a:p>
              </p:txBody>
            </p:sp>
            <p:grpSp>
              <p:nvGrpSpPr>
                <p:cNvPr id="1087" name="Graphique 35" descr="Garçon dans un fauteuil roulant">
                  <a:extLst>
                    <a:ext uri="{FF2B5EF4-FFF2-40B4-BE49-F238E27FC236}">
                      <a16:creationId xmlns:a16="http://schemas.microsoft.com/office/drawing/2014/main" id="{F00652CC-3637-97E6-A0EC-6FA3CE9DA4A6}"/>
                    </a:ext>
                  </a:extLst>
                </p:cNvPr>
                <p:cNvGrpSpPr/>
                <p:nvPr/>
              </p:nvGrpSpPr>
              <p:grpSpPr>
                <a:xfrm>
                  <a:off x="9408469" y="3907926"/>
                  <a:ext cx="79331" cy="83686"/>
                  <a:chOff x="9408469" y="3907926"/>
                  <a:chExt cx="79331" cy="83686"/>
                </a:xfrm>
                <a:grpFill/>
              </p:grpSpPr>
              <p:sp>
                <p:nvSpPr>
                  <p:cNvPr id="1088" name="Forme libre : forme 1087">
                    <a:extLst>
                      <a:ext uri="{FF2B5EF4-FFF2-40B4-BE49-F238E27FC236}">
                        <a16:creationId xmlns:a16="http://schemas.microsoft.com/office/drawing/2014/main" id="{2DFCEA7C-9B8F-01AD-7F45-C22F169A3ECD}"/>
                      </a:ext>
                    </a:extLst>
                  </p:cNvPr>
                  <p:cNvSpPr/>
                  <p:nvPr/>
                </p:nvSpPr>
                <p:spPr>
                  <a:xfrm>
                    <a:off x="9410128" y="3957123"/>
                    <a:ext cx="71444" cy="34489"/>
                  </a:xfrm>
                  <a:custGeom>
                    <a:avLst/>
                    <a:gdLst>
                      <a:gd name="connsiteX0" fmla="*/ 69656 w 71444"/>
                      <a:gd name="connsiteY0" fmla="*/ 6709 h 34489"/>
                      <a:gd name="connsiteX1" fmla="*/ 61775 w 71444"/>
                      <a:gd name="connsiteY1" fmla="*/ 2911 h 34489"/>
                      <a:gd name="connsiteX2" fmla="*/ 52324 w 71444"/>
                      <a:gd name="connsiteY2" fmla="*/ 3368 h 34489"/>
                      <a:gd name="connsiteX3" fmla="*/ 51125 w 71444"/>
                      <a:gd name="connsiteY3" fmla="*/ 4967 h 34489"/>
                      <a:gd name="connsiteX4" fmla="*/ 9408 w 71444"/>
                      <a:gd name="connsiteY4" fmla="*/ 4025 h 34489"/>
                      <a:gd name="connsiteX5" fmla="*/ 13634 w 71444"/>
                      <a:gd name="connsiteY5" fmla="*/ 34092 h 34489"/>
                      <a:gd name="connsiteX6" fmla="*/ 38533 w 71444"/>
                      <a:gd name="connsiteY6" fmla="*/ 35719 h 34489"/>
                      <a:gd name="connsiteX7" fmla="*/ 72255 w 71444"/>
                      <a:gd name="connsiteY7" fmla="*/ 20186 h 34489"/>
                      <a:gd name="connsiteX8" fmla="*/ 69656 w 71444"/>
                      <a:gd name="connsiteY8" fmla="*/ 6709 h 34489"/>
                      <a:gd name="connsiteX9" fmla="*/ 22486 w 71444"/>
                      <a:gd name="connsiteY9" fmla="*/ 7023 h 34489"/>
                      <a:gd name="connsiteX10" fmla="*/ 22486 w 71444"/>
                      <a:gd name="connsiteY10" fmla="*/ 7023 h 34489"/>
                      <a:gd name="connsiteX11" fmla="*/ 31337 w 71444"/>
                      <a:gd name="connsiteY11" fmla="*/ 7708 h 34489"/>
                      <a:gd name="connsiteX12" fmla="*/ 33079 w 71444"/>
                      <a:gd name="connsiteY12" fmla="*/ 7908 h 34489"/>
                      <a:gd name="connsiteX13" fmla="*/ 32851 w 71444"/>
                      <a:gd name="connsiteY13" fmla="*/ 12391 h 34489"/>
                      <a:gd name="connsiteX14" fmla="*/ 32822 w 71444"/>
                      <a:gd name="connsiteY14" fmla="*/ 17302 h 34489"/>
                      <a:gd name="connsiteX15" fmla="*/ 19773 w 71444"/>
                      <a:gd name="connsiteY15" fmla="*/ 17845 h 34489"/>
                      <a:gd name="connsiteX16" fmla="*/ 19145 w 71444"/>
                      <a:gd name="connsiteY16" fmla="*/ 12562 h 34489"/>
                      <a:gd name="connsiteX17" fmla="*/ 18460 w 71444"/>
                      <a:gd name="connsiteY17" fmla="*/ 7280 h 34489"/>
                      <a:gd name="connsiteX18" fmla="*/ 22486 w 71444"/>
                      <a:gd name="connsiteY18" fmla="*/ 7023 h 34489"/>
                      <a:gd name="connsiteX19" fmla="*/ 16775 w 71444"/>
                      <a:gd name="connsiteY19" fmla="*/ 7594 h 34489"/>
                      <a:gd name="connsiteX20" fmla="*/ 15833 w 71444"/>
                      <a:gd name="connsiteY20" fmla="*/ 18016 h 34489"/>
                      <a:gd name="connsiteX21" fmla="*/ 7752 w 71444"/>
                      <a:gd name="connsiteY21" fmla="*/ 18530 h 34489"/>
                      <a:gd name="connsiteX22" fmla="*/ 16775 w 71444"/>
                      <a:gd name="connsiteY22" fmla="*/ 7594 h 34489"/>
                      <a:gd name="connsiteX23" fmla="*/ 7838 w 71444"/>
                      <a:gd name="connsiteY23" fmla="*/ 19587 h 34489"/>
                      <a:gd name="connsiteX24" fmla="*/ 15804 w 71444"/>
                      <a:gd name="connsiteY24" fmla="*/ 19929 h 34489"/>
                      <a:gd name="connsiteX25" fmla="*/ 16261 w 71444"/>
                      <a:gd name="connsiteY25" fmla="*/ 27011 h 34489"/>
                      <a:gd name="connsiteX26" fmla="*/ 17318 w 71444"/>
                      <a:gd name="connsiteY26" fmla="*/ 28610 h 34489"/>
                      <a:gd name="connsiteX27" fmla="*/ 17575 w 71444"/>
                      <a:gd name="connsiteY27" fmla="*/ 28724 h 34489"/>
                      <a:gd name="connsiteX28" fmla="*/ 16861 w 71444"/>
                      <a:gd name="connsiteY28" fmla="*/ 28581 h 34489"/>
                      <a:gd name="connsiteX29" fmla="*/ 7838 w 71444"/>
                      <a:gd name="connsiteY29" fmla="*/ 19587 h 34489"/>
                      <a:gd name="connsiteX30" fmla="*/ 18803 w 71444"/>
                      <a:gd name="connsiteY30" fmla="*/ 28924 h 34489"/>
                      <a:gd name="connsiteX31" fmla="*/ 18803 w 71444"/>
                      <a:gd name="connsiteY31" fmla="*/ 28838 h 34489"/>
                      <a:gd name="connsiteX32" fmla="*/ 21201 w 71444"/>
                      <a:gd name="connsiteY32" fmla="*/ 25669 h 34489"/>
                      <a:gd name="connsiteX33" fmla="*/ 20487 w 71444"/>
                      <a:gd name="connsiteY33" fmla="*/ 21785 h 34489"/>
                      <a:gd name="connsiteX34" fmla="*/ 20487 w 71444"/>
                      <a:gd name="connsiteY34" fmla="*/ 21785 h 34489"/>
                      <a:gd name="connsiteX35" fmla="*/ 20145 w 71444"/>
                      <a:gd name="connsiteY35" fmla="*/ 19986 h 34489"/>
                      <a:gd name="connsiteX36" fmla="*/ 32851 w 71444"/>
                      <a:gd name="connsiteY36" fmla="*/ 19929 h 34489"/>
                      <a:gd name="connsiteX37" fmla="*/ 33022 w 71444"/>
                      <a:gd name="connsiteY37" fmla="*/ 26125 h 34489"/>
                      <a:gd name="connsiteX38" fmla="*/ 33193 w 71444"/>
                      <a:gd name="connsiteY38" fmla="*/ 29409 h 34489"/>
                      <a:gd name="connsiteX39" fmla="*/ 18803 w 71444"/>
                      <a:gd name="connsiteY39" fmla="*/ 28924 h 34489"/>
                      <a:gd name="connsiteX40" fmla="*/ 52096 w 71444"/>
                      <a:gd name="connsiteY40" fmla="*/ 20386 h 34489"/>
                      <a:gd name="connsiteX41" fmla="*/ 52096 w 71444"/>
                      <a:gd name="connsiteY41" fmla="*/ 20386 h 34489"/>
                      <a:gd name="connsiteX42" fmla="*/ 51867 w 71444"/>
                      <a:gd name="connsiteY42" fmla="*/ 24041 h 34489"/>
                      <a:gd name="connsiteX43" fmla="*/ 51582 w 71444"/>
                      <a:gd name="connsiteY43" fmla="*/ 27524 h 34489"/>
                      <a:gd name="connsiteX44" fmla="*/ 51011 w 71444"/>
                      <a:gd name="connsiteY44" fmla="*/ 28695 h 34489"/>
                      <a:gd name="connsiteX45" fmla="*/ 38733 w 71444"/>
                      <a:gd name="connsiteY45" fmla="*/ 29466 h 34489"/>
                      <a:gd name="connsiteX46" fmla="*/ 38733 w 71444"/>
                      <a:gd name="connsiteY46" fmla="*/ 29466 h 34489"/>
                      <a:gd name="connsiteX47" fmla="*/ 37905 w 71444"/>
                      <a:gd name="connsiteY47" fmla="*/ 28610 h 34489"/>
                      <a:gd name="connsiteX48" fmla="*/ 37933 w 71444"/>
                      <a:gd name="connsiteY48" fmla="*/ 28438 h 34489"/>
                      <a:gd name="connsiteX49" fmla="*/ 37790 w 71444"/>
                      <a:gd name="connsiteY49" fmla="*/ 27353 h 34489"/>
                      <a:gd name="connsiteX50" fmla="*/ 36734 w 71444"/>
                      <a:gd name="connsiteY50" fmla="*/ 19872 h 34489"/>
                      <a:gd name="connsiteX51" fmla="*/ 52153 w 71444"/>
                      <a:gd name="connsiteY51" fmla="*/ 19444 h 34489"/>
                      <a:gd name="connsiteX52" fmla="*/ 52096 w 71444"/>
                      <a:gd name="connsiteY52" fmla="*/ 20386 h 34489"/>
                      <a:gd name="connsiteX53" fmla="*/ 52381 w 71444"/>
                      <a:gd name="connsiteY53" fmla="*/ 16360 h 34489"/>
                      <a:gd name="connsiteX54" fmla="*/ 36420 w 71444"/>
                      <a:gd name="connsiteY54" fmla="*/ 17160 h 34489"/>
                      <a:gd name="connsiteX55" fmla="*/ 35649 w 71444"/>
                      <a:gd name="connsiteY55" fmla="*/ 9821 h 34489"/>
                      <a:gd name="connsiteX56" fmla="*/ 35649 w 71444"/>
                      <a:gd name="connsiteY56" fmla="*/ 9821 h 34489"/>
                      <a:gd name="connsiteX57" fmla="*/ 35506 w 71444"/>
                      <a:gd name="connsiteY57" fmla="*/ 8137 h 34489"/>
                      <a:gd name="connsiteX58" fmla="*/ 35506 w 71444"/>
                      <a:gd name="connsiteY58" fmla="*/ 8137 h 34489"/>
                      <a:gd name="connsiteX59" fmla="*/ 52381 w 71444"/>
                      <a:gd name="connsiteY59" fmla="*/ 7594 h 34489"/>
                      <a:gd name="connsiteX60" fmla="*/ 52924 w 71444"/>
                      <a:gd name="connsiteY60" fmla="*/ 7880 h 34489"/>
                      <a:gd name="connsiteX61" fmla="*/ 53095 w 71444"/>
                      <a:gd name="connsiteY61" fmla="*/ 7937 h 34489"/>
                      <a:gd name="connsiteX62" fmla="*/ 52381 w 71444"/>
                      <a:gd name="connsiteY62" fmla="*/ 16360 h 34489"/>
                      <a:gd name="connsiteX63" fmla="*/ 55522 w 71444"/>
                      <a:gd name="connsiteY63" fmla="*/ 27553 h 34489"/>
                      <a:gd name="connsiteX64" fmla="*/ 55180 w 71444"/>
                      <a:gd name="connsiteY64" fmla="*/ 24127 h 34489"/>
                      <a:gd name="connsiteX65" fmla="*/ 54922 w 71444"/>
                      <a:gd name="connsiteY65" fmla="*/ 20101 h 34489"/>
                      <a:gd name="connsiteX66" fmla="*/ 54922 w 71444"/>
                      <a:gd name="connsiteY66" fmla="*/ 20072 h 34489"/>
                      <a:gd name="connsiteX67" fmla="*/ 54866 w 71444"/>
                      <a:gd name="connsiteY67" fmla="*/ 19330 h 34489"/>
                      <a:gd name="connsiteX68" fmla="*/ 61461 w 71444"/>
                      <a:gd name="connsiteY68" fmla="*/ 19073 h 34489"/>
                      <a:gd name="connsiteX69" fmla="*/ 62261 w 71444"/>
                      <a:gd name="connsiteY69" fmla="*/ 19073 h 34489"/>
                      <a:gd name="connsiteX70" fmla="*/ 66030 w 71444"/>
                      <a:gd name="connsiteY70" fmla="*/ 18787 h 34489"/>
                      <a:gd name="connsiteX71" fmla="*/ 55522 w 71444"/>
                      <a:gd name="connsiteY71" fmla="*/ 27553 h 34489"/>
                      <a:gd name="connsiteX72" fmla="*/ 61604 w 71444"/>
                      <a:gd name="connsiteY72" fmla="*/ 15789 h 34489"/>
                      <a:gd name="connsiteX73" fmla="*/ 54637 w 71444"/>
                      <a:gd name="connsiteY73" fmla="*/ 16246 h 34489"/>
                      <a:gd name="connsiteX74" fmla="*/ 54152 w 71444"/>
                      <a:gd name="connsiteY74" fmla="*/ 8279 h 34489"/>
                      <a:gd name="connsiteX75" fmla="*/ 54152 w 71444"/>
                      <a:gd name="connsiteY75" fmla="*/ 8279 h 34489"/>
                      <a:gd name="connsiteX76" fmla="*/ 54152 w 71444"/>
                      <a:gd name="connsiteY76" fmla="*/ 8279 h 34489"/>
                      <a:gd name="connsiteX77" fmla="*/ 54152 w 71444"/>
                      <a:gd name="connsiteY77" fmla="*/ 8279 h 34489"/>
                      <a:gd name="connsiteX78" fmla="*/ 57921 w 71444"/>
                      <a:gd name="connsiteY78" fmla="*/ 8794 h 34489"/>
                      <a:gd name="connsiteX79" fmla="*/ 66772 w 71444"/>
                      <a:gd name="connsiteY79" fmla="*/ 15818 h 34489"/>
                      <a:gd name="connsiteX80" fmla="*/ 61604 w 71444"/>
                      <a:gd name="connsiteY80" fmla="*/ 15789 h 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1444" h="34489">
                        <a:moveTo>
                          <a:pt x="69656" y="6709"/>
                        </a:moveTo>
                        <a:cubicBezTo>
                          <a:pt x="67229" y="4310"/>
                          <a:pt x="64031" y="3340"/>
                          <a:pt x="61775" y="2911"/>
                        </a:cubicBezTo>
                        <a:cubicBezTo>
                          <a:pt x="58663" y="2426"/>
                          <a:pt x="55265" y="1855"/>
                          <a:pt x="52324" y="3368"/>
                        </a:cubicBezTo>
                        <a:cubicBezTo>
                          <a:pt x="51667" y="3625"/>
                          <a:pt x="51211" y="4254"/>
                          <a:pt x="51125" y="4967"/>
                        </a:cubicBezTo>
                        <a:cubicBezTo>
                          <a:pt x="37248" y="5681"/>
                          <a:pt x="22543" y="-3056"/>
                          <a:pt x="9408" y="4025"/>
                        </a:cubicBezTo>
                        <a:cubicBezTo>
                          <a:pt x="-2641" y="10764"/>
                          <a:pt x="-243" y="30751"/>
                          <a:pt x="13634" y="34092"/>
                        </a:cubicBezTo>
                        <a:cubicBezTo>
                          <a:pt x="21658" y="36433"/>
                          <a:pt x="30367" y="35462"/>
                          <a:pt x="38533" y="35719"/>
                        </a:cubicBezTo>
                        <a:cubicBezTo>
                          <a:pt x="51496" y="35891"/>
                          <a:pt x="67086" y="33692"/>
                          <a:pt x="72255" y="20186"/>
                        </a:cubicBezTo>
                        <a:cubicBezTo>
                          <a:pt x="73853" y="15675"/>
                          <a:pt x="73225" y="10135"/>
                          <a:pt x="69656" y="6709"/>
                        </a:cubicBezTo>
                        <a:close/>
                        <a:moveTo>
                          <a:pt x="22486" y="7023"/>
                        </a:moveTo>
                        <a:lnTo>
                          <a:pt x="22486" y="7023"/>
                        </a:lnTo>
                        <a:cubicBezTo>
                          <a:pt x="25455" y="7080"/>
                          <a:pt x="28397" y="7309"/>
                          <a:pt x="31337" y="7708"/>
                        </a:cubicBezTo>
                        <a:cubicBezTo>
                          <a:pt x="31566" y="7737"/>
                          <a:pt x="32822" y="7880"/>
                          <a:pt x="33079" y="7908"/>
                        </a:cubicBezTo>
                        <a:cubicBezTo>
                          <a:pt x="32879" y="9393"/>
                          <a:pt x="32822" y="10906"/>
                          <a:pt x="32851" y="12391"/>
                        </a:cubicBezTo>
                        <a:cubicBezTo>
                          <a:pt x="32879" y="14133"/>
                          <a:pt x="32822" y="15532"/>
                          <a:pt x="32822" y="17302"/>
                        </a:cubicBezTo>
                        <a:cubicBezTo>
                          <a:pt x="28482" y="17474"/>
                          <a:pt x="24142" y="17616"/>
                          <a:pt x="19773" y="17845"/>
                        </a:cubicBezTo>
                        <a:cubicBezTo>
                          <a:pt x="19431" y="15903"/>
                          <a:pt x="19259" y="14476"/>
                          <a:pt x="19145" y="12562"/>
                        </a:cubicBezTo>
                        <a:cubicBezTo>
                          <a:pt x="19088" y="10792"/>
                          <a:pt x="18859" y="9022"/>
                          <a:pt x="18460" y="7280"/>
                        </a:cubicBezTo>
                        <a:cubicBezTo>
                          <a:pt x="19802" y="7080"/>
                          <a:pt x="21087" y="7023"/>
                          <a:pt x="22486" y="7023"/>
                        </a:cubicBezTo>
                        <a:close/>
                        <a:moveTo>
                          <a:pt x="16775" y="7594"/>
                        </a:moveTo>
                        <a:cubicBezTo>
                          <a:pt x="15776" y="10992"/>
                          <a:pt x="15975" y="14590"/>
                          <a:pt x="15833" y="18016"/>
                        </a:cubicBezTo>
                        <a:cubicBezTo>
                          <a:pt x="13206" y="18102"/>
                          <a:pt x="10436" y="18216"/>
                          <a:pt x="7752" y="18530"/>
                        </a:cubicBezTo>
                        <a:cubicBezTo>
                          <a:pt x="7181" y="12934"/>
                          <a:pt x="12092" y="8337"/>
                          <a:pt x="16775" y="7594"/>
                        </a:cubicBezTo>
                        <a:close/>
                        <a:moveTo>
                          <a:pt x="7838" y="19587"/>
                        </a:moveTo>
                        <a:cubicBezTo>
                          <a:pt x="10579" y="19872"/>
                          <a:pt x="13406" y="19901"/>
                          <a:pt x="15804" y="19929"/>
                        </a:cubicBezTo>
                        <a:cubicBezTo>
                          <a:pt x="15804" y="22299"/>
                          <a:pt x="15947" y="24669"/>
                          <a:pt x="16261" y="27011"/>
                        </a:cubicBezTo>
                        <a:cubicBezTo>
                          <a:pt x="16318" y="27696"/>
                          <a:pt x="16718" y="28295"/>
                          <a:pt x="17318" y="28610"/>
                        </a:cubicBezTo>
                        <a:cubicBezTo>
                          <a:pt x="17403" y="28667"/>
                          <a:pt x="17603" y="28695"/>
                          <a:pt x="17575" y="28724"/>
                        </a:cubicBezTo>
                        <a:cubicBezTo>
                          <a:pt x="17546" y="28781"/>
                          <a:pt x="17089" y="28638"/>
                          <a:pt x="16861" y="28581"/>
                        </a:cubicBezTo>
                        <a:cubicBezTo>
                          <a:pt x="11521" y="27353"/>
                          <a:pt x="8494" y="24355"/>
                          <a:pt x="7838" y="19587"/>
                        </a:cubicBezTo>
                        <a:close/>
                        <a:moveTo>
                          <a:pt x="18803" y="28924"/>
                        </a:moveTo>
                        <a:cubicBezTo>
                          <a:pt x="18745" y="28924"/>
                          <a:pt x="18745" y="28838"/>
                          <a:pt x="18803" y="28838"/>
                        </a:cubicBezTo>
                        <a:cubicBezTo>
                          <a:pt x="20259" y="28581"/>
                          <a:pt x="21515" y="27182"/>
                          <a:pt x="21201" y="25669"/>
                        </a:cubicBezTo>
                        <a:cubicBezTo>
                          <a:pt x="20972" y="24355"/>
                          <a:pt x="20715" y="23070"/>
                          <a:pt x="20487" y="21785"/>
                        </a:cubicBezTo>
                        <a:lnTo>
                          <a:pt x="20487" y="21785"/>
                        </a:lnTo>
                        <a:cubicBezTo>
                          <a:pt x="20373" y="21186"/>
                          <a:pt x="20259" y="20586"/>
                          <a:pt x="20145" y="19986"/>
                        </a:cubicBezTo>
                        <a:cubicBezTo>
                          <a:pt x="24256" y="20072"/>
                          <a:pt x="28825" y="20015"/>
                          <a:pt x="32851" y="19929"/>
                        </a:cubicBezTo>
                        <a:cubicBezTo>
                          <a:pt x="32851" y="22014"/>
                          <a:pt x="33022" y="24041"/>
                          <a:pt x="33022" y="26125"/>
                        </a:cubicBezTo>
                        <a:cubicBezTo>
                          <a:pt x="32994" y="27210"/>
                          <a:pt x="33051" y="28324"/>
                          <a:pt x="33193" y="29409"/>
                        </a:cubicBezTo>
                        <a:cubicBezTo>
                          <a:pt x="28397" y="29438"/>
                          <a:pt x="23571" y="29609"/>
                          <a:pt x="18803" y="28924"/>
                        </a:cubicBezTo>
                        <a:close/>
                        <a:moveTo>
                          <a:pt x="52096" y="20386"/>
                        </a:moveTo>
                        <a:lnTo>
                          <a:pt x="52096" y="20386"/>
                        </a:lnTo>
                        <a:cubicBezTo>
                          <a:pt x="52010" y="21585"/>
                          <a:pt x="51925" y="22813"/>
                          <a:pt x="51867" y="24041"/>
                        </a:cubicBezTo>
                        <a:cubicBezTo>
                          <a:pt x="51867" y="25212"/>
                          <a:pt x="51753" y="26354"/>
                          <a:pt x="51582" y="27524"/>
                        </a:cubicBezTo>
                        <a:cubicBezTo>
                          <a:pt x="51239" y="27810"/>
                          <a:pt x="51039" y="28238"/>
                          <a:pt x="51011" y="28695"/>
                        </a:cubicBezTo>
                        <a:cubicBezTo>
                          <a:pt x="46928" y="29381"/>
                          <a:pt x="42844" y="29552"/>
                          <a:pt x="38733" y="29466"/>
                        </a:cubicBezTo>
                        <a:lnTo>
                          <a:pt x="38733" y="29466"/>
                        </a:lnTo>
                        <a:cubicBezTo>
                          <a:pt x="38561" y="29095"/>
                          <a:pt x="38276" y="28752"/>
                          <a:pt x="37905" y="28610"/>
                        </a:cubicBezTo>
                        <a:lnTo>
                          <a:pt x="37933" y="28438"/>
                        </a:lnTo>
                        <a:cubicBezTo>
                          <a:pt x="37933" y="28067"/>
                          <a:pt x="37876" y="27696"/>
                          <a:pt x="37790" y="27353"/>
                        </a:cubicBezTo>
                        <a:cubicBezTo>
                          <a:pt x="37305" y="24783"/>
                          <a:pt x="37048" y="22356"/>
                          <a:pt x="36734" y="19872"/>
                        </a:cubicBezTo>
                        <a:cubicBezTo>
                          <a:pt x="42017" y="19758"/>
                          <a:pt x="47213" y="19615"/>
                          <a:pt x="52153" y="19444"/>
                        </a:cubicBezTo>
                        <a:cubicBezTo>
                          <a:pt x="52153" y="19758"/>
                          <a:pt x="52124" y="20072"/>
                          <a:pt x="52096" y="20386"/>
                        </a:cubicBezTo>
                        <a:close/>
                        <a:moveTo>
                          <a:pt x="52381" y="16360"/>
                        </a:moveTo>
                        <a:cubicBezTo>
                          <a:pt x="46471" y="16674"/>
                          <a:pt x="41103" y="16931"/>
                          <a:pt x="36420" y="17160"/>
                        </a:cubicBezTo>
                        <a:cubicBezTo>
                          <a:pt x="36134" y="14675"/>
                          <a:pt x="35849" y="12134"/>
                          <a:pt x="35649" y="9821"/>
                        </a:cubicBezTo>
                        <a:lnTo>
                          <a:pt x="35649" y="9821"/>
                        </a:lnTo>
                        <a:cubicBezTo>
                          <a:pt x="35592" y="9279"/>
                          <a:pt x="35563" y="8708"/>
                          <a:pt x="35506" y="8137"/>
                        </a:cubicBezTo>
                        <a:lnTo>
                          <a:pt x="35506" y="8137"/>
                        </a:lnTo>
                        <a:cubicBezTo>
                          <a:pt x="41388" y="8622"/>
                          <a:pt x="46642" y="8365"/>
                          <a:pt x="52381" y="7594"/>
                        </a:cubicBezTo>
                        <a:cubicBezTo>
                          <a:pt x="52553" y="7708"/>
                          <a:pt x="52724" y="7794"/>
                          <a:pt x="52924" y="7880"/>
                        </a:cubicBezTo>
                        <a:lnTo>
                          <a:pt x="53095" y="7937"/>
                        </a:lnTo>
                        <a:cubicBezTo>
                          <a:pt x="52752" y="10792"/>
                          <a:pt x="52581" y="13619"/>
                          <a:pt x="52381" y="16360"/>
                        </a:cubicBezTo>
                        <a:close/>
                        <a:moveTo>
                          <a:pt x="55522" y="27553"/>
                        </a:moveTo>
                        <a:cubicBezTo>
                          <a:pt x="55322" y="26439"/>
                          <a:pt x="55208" y="25298"/>
                          <a:pt x="55180" y="24127"/>
                        </a:cubicBezTo>
                        <a:cubicBezTo>
                          <a:pt x="55123" y="22813"/>
                          <a:pt x="55008" y="21414"/>
                          <a:pt x="54922" y="20101"/>
                        </a:cubicBezTo>
                        <a:lnTo>
                          <a:pt x="54922" y="20072"/>
                        </a:lnTo>
                        <a:cubicBezTo>
                          <a:pt x="54894" y="19844"/>
                          <a:pt x="54866" y="19587"/>
                          <a:pt x="54866" y="19330"/>
                        </a:cubicBezTo>
                        <a:cubicBezTo>
                          <a:pt x="57035" y="19272"/>
                          <a:pt x="59263" y="19101"/>
                          <a:pt x="61461" y="19073"/>
                        </a:cubicBezTo>
                        <a:cubicBezTo>
                          <a:pt x="61661" y="19073"/>
                          <a:pt x="62061" y="19073"/>
                          <a:pt x="62261" y="19073"/>
                        </a:cubicBezTo>
                        <a:cubicBezTo>
                          <a:pt x="63517" y="19130"/>
                          <a:pt x="64774" y="19016"/>
                          <a:pt x="66030" y="18787"/>
                        </a:cubicBezTo>
                        <a:cubicBezTo>
                          <a:pt x="64031" y="23156"/>
                          <a:pt x="60376" y="25840"/>
                          <a:pt x="55522" y="27553"/>
                        </a:cubicBezTo>
                        <a:close/>
                        <a:moveTo>
                          <a:pt x="61604" y="15789"/>
                        </a:moveTo>
                        <a:cubicBezTo>
                          <a:pt x="59520" y="16046"/>
                          <a:pt x="56750" y="16103"/>
                          <a:pt x="54637" y="16246"/>
                        </a:cubicBezTo>
                        <a:cubicBezTo>
                          <a:pt x="54494" y="13590"/>
                          <a:pt x="54352" y="10964"/>
                          <a:pt x="54152" y="8279"/>
                        </a:cubicBezTo>
                        <a:cubicBezTo>
                          <a:pt x="54152" y="8279"/>
                          <a:pt x="54152" y="8279"/>
                          <a:pt x="54152" y="8279"/>
                        </a:cubicBezTo>
                        <a:lnTo>
                          <a:pt x="54152" y="8279"/>
                        </a:lnTo>
                        <a:lnTo>
                          <a:pt x="54152" y="8279"/>
                        </a:lnTo>
                        <a:cubicBezTo>
                          <a:pt x="55379" y="8565"/>
                          <a:pt x="56664" y="8736"/>
                          <a:pt x="57921" y="8794"/>
                        </a:cubicBezTo>
                        <a:cubicBezTo>
                          <a:pt x="62289" y="8794"/>
                          <a:pt x="67429" y="10906"/>
                          <a:pt x="66772" y="15818"/>
                        </a:cubicBezTo>
                        <a:cubicBezTo>
                          <a:pt x="65088" y="15361"/>
                          <a:pt x="63317" y="15589"/>
                          <a:pt x="61604" y="15789"/>
                        </a:cubicBezTo>
                        <a:close/>
                      </a:path>
                    </a:pathLst>
                  </a:custGeom>
                  <a:grpFill/>
                  <a:ln w="2826" cap="flat">
                    <a:noFill/>
                    <a:prstDash val="solid"/>
                    <a:miter/>
                  </a:ln>
                </p:spPr>
                <p:txBody>
                  <a:bodyPr rtlCol="0" anchor="ctr"/>
                  <a:lstStyle/>
                  <a:p>
                    <a:endParaRPr lang="fr-CA"/>
                  </a:p>
                </p:txBody>
              </p:sp>
              <p:sp>
                <p:nvSpPr>
                  <p:cNvPr id="1089" name="Forme libre : forme 1088">
                    <a:extLst>
                      <a:ext uri="{FF2B5EF4-FFF2-40B4-BE49-F238E27FC236}">
                        <a16:creationId xmlns:a16="http://schemas.microsoft.com/office/drawing/2014/main" id="{AAA630B1-41EE-9BC2-234A-BD0A656391D9}"/>
                      </a:ext>
                    </a:extLst>
                  </p:cNvPr>
                  <p:cNvSpPr/>
                  <p:nvPr/>
                </p:nvSpPr>
                <p:spPr>
                  <a:xfrm>
                    <a:off x="9449973" y="3937634"/>
                    <a:ext cx="19505" cy="16824"/>
                  </a:xfrm>
                  <a:custGeom>
                    <a:avLst/>
                    <a:gdLst>
                      <a:gd name="connsiteX0" fmla="*/ 7368 w 19505"/>
                      <a:gd name="connsiteY0" fmla="*/ 18061 h 16824"/>
                      <a:gd name="connsiteX1" fmla="*/ 1914 w 19505"/>
                      <a:gd name="connsiteY1" fmla="*/ 12950 h 16824"/>
                      <a:gd name="connsiteX2" fmla="*/ 4684 w 19505"/>
                      <a:gd name="connsiteY2" fmla="*/ 10894 h 16824"/>
                      <a:gd name="connsiteX3" fmla="*/ 6283 w 19505"/>
                      <a:gd name="connsiteY3" fmla="*/ 11436 h 16824"/>
                      <a:gd name="connsiteX4" fmla="*/ 8510 w 19505"/>
                      <a:gd name="connsiteY4" fmla="*/ 11951 h 16824"/>
                      <a:gd name="connsiteX5" fmla="*/ 12822 w 19505"/>
                      <a:gd name="connsiteY5" fmla="*/ 11208 h 16824"/>
                      <a:gd name="connsiteX6" fmla="*/ 16334 w 19505"/>
                      <a:gd name="connsiteY6" fmla="*/ 8667 h 16824"/>
                      <a:gd name="connsiteX7" fmla="*/ 14221 w 19505"/>
                      <a:gd name="connsiteY7" fmla="*/ 4612 h 16824"/>
                      <a:gd name="connsiteX8" fmla="*/ 11108 w 19505"/>
                      <a:gd name="connsiteY8" fmla="*/ 4127 h 16824"/>
                      <a:gd name="connsiteX9" fmla="*/ 10538 w 19505"/>
                      <a:gd name="connsiteY9" fmla="*/ 4098 h 16824"/>
                      <a:gd name="connsiteX10" fmla="*/ 6026 w 19505"/>
                      <a:gd name="connsiteY10" fmla="*/ 4498 h 16824"/>
                      <a:gd name="connsiteX11" fmla="*/ 3057 w 19505"/>
                      <a:gd name="connsiteY11" fmla="*/ 4841 h 16824"/>
                      <a:gd name="connsiteX12" fmla="*/ 2685 w 19505"/>
                      <a:gd name="connsiteY12" fmla="*/ 4555 h 16824"/>
                      <a:gd name="connsiteX13" fmla="*/ 2857 w 19505"/>
                      <a:gd name="connsiteY13" fmla="*/ 4070 h 16824"/>
                      <a:gd name="connsiteX14" fmla="*/ 7625 w 19505"/>
                      <a:gd name="connsiteY14" fmla="*/ 2128 h 16824"/>
                      <a:gd name="connsiteX15" fmla="*/ 18590 w 19505"/>
                      <a:gd name="connsiteY15" fmla="*/ 2556 h 16824"/>
                      <a:gd name="connsiteX16" fmla="*/ 19475 w 19505"/>
                      <a:gd name="connsiteY16" fmla="*/ 12778 h 16824"/>
                      <a:gd name="connsiteX17" fmla="*/ 7368 w 19505"/>
                      <a:gd name="connsiteY17" fmla="*/ 18061 h 16824"/>
                      <a:gd name="connsiteX18" fmla="*/ 7368 w 19505"/>
                      <a:gd name="connsiteY18" fmla="*/ 18061 h 1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505" h="16824">
                        <a:moveTo>
                          <a:pt x="7368" y="18061"/>
                        </a:moveTo>
                        <a:cubicBezTo>
                          <a:pt x="4113" y="18146"/>
                          <a:pt x="630" y="16234"/>
                          <a:pt x="1914" y="12950"/>
                        </a:cubicBezTo>
                        <a:cubicBezTo>
                          <a:pt x="2371" y="11836"/>
                          <a:pt x="3456" y="10922"/>
                          <a:pt x="4684" y="10894"/>
                        </a:cubicBezTo>
                        <a:cubicBezTo>
                          <a:pt x="5255" y="10922"/>
                          <a:pt x="5826" y="11094"/>
                          <a:pt x="6283" y="11436"/>
                        </a:cubicBezTo>
                        <a:cubicBezTo>
                          <a:pt x="6968" y="11808"/>
                          <a:pt x="7739" y="11979"/>
                          <a:pt x="8510" y="11951"/>
                        </a:cubicBezTo>
                        <a:cubicBezTo>
                          <a:pt x="9967" y="11893"/>
                          <a:pt x="11423" y="11636"/>
                          <a:pt x="12822" y="11208"/>
                        </a:cubicBezTo>
                        <a:cubicBezTo>
                          <a:pt x="14021" y="10865"/>
                          <a:pt x="15620" y="10009"/>
                          <a:pt x="16334" y="8667"/>
                        </a:cubicBezTo>
                        <a:cubicBezTo>
                          <a:pt x="17190" y="6925"/>
                          <a:pt x="16191" y="5240"/>
                          <a:pt x="14221" y="4612"/>
                        </a:cubicBezTo>
                        <a:cubicBezTo>
                          <a:pt x="13222" y="4298"/>
                          <a:pt x="12165" y="4127"/>
                          <a:pt x="11108" y="4127"/>
                        </a:cubicBezTo>
                        <a:cubicBezTo>
                          <a:pt x="10909" y="4098"/>
                          <a:pt x="10738" y="4098"/>
                          <a:pt x="10538" y="4098"/>
                        </a:cubicBezTo>
                        <a:cubicBezTo>
                          <a:pt x="9024" y="4127"/>
                          <a:pt x="7511" y="4269"/>
                          <a:pt x="6026" y="4498"/>
                        </a:cubicBezTo>
                        <a:cubicBezTo>
                          <a:pt x="5055" y="4641"/>
                          <a:pt x="4056" y="4784"/>
                          <a:pt x="3057" y="4841"/>
                        </a:cubicBezTo>
                        <a:cubicBezTo>
                          <a:pt x="2885" y="4869"/>
                          <a:pt x="2714" y="4726"/>
                          <a:pt x="2685" y="4555"/>
                        </a:cubicBezTo>
                        <a:cubicBezTo>
                          <a:pt x="2628" y="4384"/>
                          <a:pt x="2685" y="4155"/>
                          <a:pt x="2857" y="4070"/>
                        </a:cubicBezTo>
                        <a:cubicBezTo>
                          <a:pt x="4370" y="3242"/>
                          <a:pt x="5969" y="2585"/>
                          <a:pt x="7625" y="2128"/>
                        </a:cubicBezTo>
                        <a:cubicBezTo>
                          <a:pt x="10966" y="1129"/>
                          <a:pt x="15820" y="615"/>
                          <a:pt x="18590" y="2556"/>
                        </a:cubicBezTo>
                        <a:cubicBezTo>
                          <a:pt x="21788" y="4584"/>
                          <a:pt x="21873" y="9923"/>
                          <a:pt x="19475" y="12778"/>
                        </a:cubicBezTo>
                        <a:cubicBezTo>
                          <a:pt x="16363" y="16490"/>
                          <a:pt x="12765" y="17633"/>
                          <a:pt x="7368" y="18061"/>
                        </a:cubicBezTo>
                        <a:lnTo>
                          <a:pt x="7368" y="18061"/>
                        </a:lnTo>
                        <a:close/>
                      </a:path>
                    </a:pathLst>
                  </a:custGeom>
                  <a:grpFill/>
                  <a:ln w="2826" cap="flat">
                    <a:noFill/>
                    <a:prstDash val="solid"/>
                    <a:miter/>
                  </a:ln>
                </p:spPr>
                <p:txBody>
                  <a:bodyPr rtlCol="0" anchor="ctr"/>
                  <a:lstStyle/>
                  <a:p>
                    <a:endParaRPr lang="fr-CA"/>
                  </a:p>
                </p:txBody>
              </p:sp>
              <p:sp>
                <p:nvSpPr>
                  <p:cNvPr id="1090" name="Forme libre : forme 1089">
                    <a:extLst>
                      <a:ext uri="{FF2B5EF4-FFF2-40B4-BE49-F238E27FC236}">
                        <a16:creationId xmlns:a16="http://schemas.microsoft.com/office/drawing/2014/main" id="{C1520E23-1690-6425-2374-E3B41AAA0A33}"/>
                      </a:ext>
                    </a:extLst>
                  </p:cNvPr>
                  <p:cNvSpPr/>
                  <p:nvPr/>
                </p:nvSpPr>
                <p:spPr>
                  <a:xfrm>
                    <a:off x="9465049" y="3926096"/>
                    <a:ext cx="16520" cy="15025"/>
                  </a:xfrm>
                  <a:custGeom>
                    <a:avLst/>
                    <a:gdLst>
                      <a:gd name="connsiteX0" fmla="*/ 15449 w 16520"/>
                      <a:gd name="connsiteY0" fmla="*/ 16265 h 15025"/>
                      <a:gd name="connsiteX1" fmla="*/ 14592 w 16520"/>
                      <a:gd name="connsiteY1" fmla="*/ 16150 h 15025"/>
                      <a:gd name="connsiteX2" fmla="*/ 13164 w 16520"/>
                      <a:gd name="connsiteY2" fmla="*/ 15208 h 15025"/>
                      <a:gd name="connsiteX3" fmla="*/ 12622 w 16520"/>
                      <a:gd name="connsiteY3" fmla="*/ 13609 h 15025"/>
                      <a:gd name="connsiteX4" fmla="*/ 12193 w 16520"/>
                      <a:gd name="connsiteY4" fmla="*/ 9041 h 15025"/>
                      <a:gd name="connsiteX5" fmla="*/ 9110 w 16520"/>
                      <a:gd name="connsiteY5" fmla="*/ 6414 h 15025"/>
                      <a:gd name="connsiteX6" fmla="*/ 4570 w 16520"/>
                      <a:gd name="connsiteY6" fmla="*/ 11154 h 15025"/>
                      <a:gd name="connsiteX7" fmla="*/ 1743 w 16520"/>
                      <a:gd name="connsiteY7" fmla="*/ 9041 h 15025"/>
                      <a:gd name="connsiteX8" fmla="*/ 15791 w 16520"/>
                      <a:gd name="connsiteY8" fmla="*/ 4729 h 15025"/>
                      <a:gd name="connsiteX9" fmla="*/ 17847 w 16520"/>
                      <a:gd name="connsiteY9" fmla="*/ 14323 h 15025"/>
                      <a:gd name="connsiteX10" fmla="*/ 16962 w 16520"/>
                      <a:gd name="connsiteY10" fmla="*/ 15665 h 15025"/>
                      <a:gd name="connsiteX11" fmla="*/ 15449 w 16520"/>
                      <a:gd name="connsiteY11" fmla="*/ 16265 h 15025"/>
                      <a:gd name="connsiteX12" fmla="*/ 15449 w 16520"/>
                      <a:gd name="connsiteY12" fmla="*/ 16265 h 1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20" h="15025">
                        <a:moveTo>
                          <a:pt x="15449" y="16265"/>
                        </a:moveTo>
                        <a:cubicBezTo>
                          <a:pt x="15163" y="16265"/>
                          <a:pt x="14849" y="16236"/>
                          <a:pt x="14592" y="16150"/>
                        </a:cubicBezTo>
                        <a:cubicBezTo>
                          <a:pt x="14021" y="16008"/>
                          <a:pt x="13535" y="15665"/>
                          <a:pt x="13164" y="15208"/>
                        </a:cubicBezTo>
                        <a:cubicBezTo>
                          <a:pt x="12793" y="14751"/>
                          <a:pt x="12593" y="14180"/>
                          <a:pt x="12622" y="13609"/>
                        </a:cubicBezTo>
                        <a:cubicBezTo>
                          <a:pt x="12708" y="12267"/>
                          <a:pt x="12765" y="10583"/>
                          <a:pt x="12193" y="9041"/>
                        </a:cubicBezTo>
                        <a:cubicBezTo>
                          <a:pt x="11737" y="7642"/>
                          <a:pt x="10538" y="6642"/>
                          <a:pt x="9110" y="6414"/>
                        </a:cubicBezTo>
                        <a:cubicBezTo>
                          <a:pt x="6369" y="5786"/>
                          <a:pt x="4570" y="8555"/>
                          <a:pt x="4570" y="11154"/>
                        </a:cubicBezTo>
                        <a:cubicBezTo>
                          <a:pt x="3941" y="13038"/>
                          <a:pt x="1800" y="10011"/>
                          <a:pt x="1743" y="9041"/>
                        </a:cubicBezTo>
                        <a:cubicBezTo>
                          <a:pt x="458" y="874"/>
                          <a:pt x="11680" y="-1410"/>
                          <a:pt x="15791" y="4729"/>
                        </a:cubicBezTo>
                        <a:cubicBezTo>
                          <a:pt x="17904" y="7442"/>
                          <a:pt x="18647" y="10982"/>
                          <a:pt x="17847" y="14323"/>
                        </a:cubicBezTo>
                        <a:cubicBezTo>
                          <a:pt x="17704" y="14837"/>
                          <a:pt x="17390" y="15322"/>
                          <a:pt x="16962" y="15665"/>
                        </a:cubicBezTo>
                        <a:cubicBezTo>
                          <a:pt x="16534" y="16036"/>
                          <a:pt x="16020" y="16265"/>
                          <a:pt x="15449" y="16265"/>
                        </a:cubicBezTo>
                        <a:lnTo>
                          <a:pt x="15449" y="16265"/>
                        </a:lnTo>
                        <a:close/>
                      </a:path>
                    </a:pathLst>
                  </a:custGeom>
                  <a:grpFill/>
                  <a:ln w="2826" cap="flat">
                    <a:noFill/>
                    <a:prstDash val="solid"/>
                    <a:miter/>
                  </a:ln>
                </p:spPr>
                <p:txBody>
                  <a:bodyPr rtlCol="0" anchor="ctr"/>
                  <a:lstStyle/>
                  <a:p>
                    <a:endParaRPr lang="fr-CA"/>
                  </a:p>
                </p:txBody>
              </p:sp>
              <p:sp>
                <p:nvSpPr>
                  <p:cNvPr id="1091" name="Forme libre : forme 1090">
                    <a:extLst>
                      <a:ext uri="{FF2B5EF4-FFF2-40B4-BE49-F238E27FC236}">
                        <a16:creationId xmlns:a16="http://schemas.microsoft.com/office/drawing/2014/main" id="{1C2BE21B-82CE-41FA-7537-0F52E89C4442}"/>
                      </a:ext>
                    </a:extLst>
                  </p:cNvPr>
                  <p:cNvSpPr/>
                  <p:nvPr/>
                </p:nvSpPr>
                <p:spPr>
                  <a:xfrm>
                    <a:off x="9415068" y="3927226"/>
                    <a:ext cx="20723" cy="12695"/>
                  </a:xfrm>
                  <a:custGeom>
                    <a:avLst/>
                    <a:gdLst>
                      <a:gd name="connsiteX0" fmla="*/ 3754 w 20723"/>
                      <a:gd name="connsiteY0" fmla="*/ 13935 h 12695"/>
                      <a:gd name="connsiteX1" fmla="*/ 1641 w 20723"/>
                      <a:gd name="connsiteY1" fmla="*/ 10908 h 12695"/>
                      <a:gd name="connsiteX2" fmla="*/ 20829 w 20723"/>
                      <a:gd name="connsiteY2" fmla="*/ 6968 h 12695"/>
                      <a:gd name="connsiteX3" fmla="*/ 20972 w 20723"/>
                      <a:gd name="connsiteY3" fmla="*/ 12250 h 12695"/>
                      <a:gd name="connsiteX4" fmla="*/ 15918 w 20723"/>
                      <a:gd name="connsiteY4" fmla="*/ 10994 h 12695"/>
                      <a:gd name="connsiteX5" fmla="*/ 6181 w 20723"/>
                      <a:gd name="connsiteY5" fmla="*/ 10937 h 12695"/>
                      <a:gd name="connsiteX6" fmla="*/ 4268 w 20723"/>
                      <a:gd name="connsiteY6" fmla="*/ 13735 h 12695"/>
                      <a:gd name="connsiteX7" fmla="*/ 3754 w 20723"/>
                      <a:gd name="connsiteY7" fmla="*/ 13935 h 1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23" h="12695">
                        <a:moveTo>
                          <a:pt x="3754" y="13935"/>
                        </a:moveTo>
                        <a:cubicBezTo>
                          <a:pt x="2241" y="13649"/>
                          <a:pt x="1698" y="11936"/>
                          <a:pt x="1641" y="10908"/>
                        </a:cubicBezTo>
                        <a:cubicBezTo>
                          <a:pt x="1869" y="-28"/>
                          <a:pt x="16003" y="-2169"/>
                          <a:pt x="20829" y="6968"/>
                        </a:cubicBezTo>
                        <a:cubicBezTo>
                          <a:pt x="23342" y="7596"/>
                          <a:pt x="22314" y="10851"/>
                          <a:pt x="20972" y="12250"/>
                        </a:cubicBezTo>
                        <a:cubicBezTo>
                          <a:pt x="19516" y="13906"/>
                          <a:pt x="16489" y="13079"/>
                          <a:pt x="15918" y="10994"/>
                        </a:cubicBezTo>
                        <a:cubicBezTo>
                          <a:pt x="14376" y="5826"/>
                          <a:pt x="7865" y="5997"/>
                          <a:pt x="6181" y="10937"/>
                        </a:cubicBezTo>
                        <a:cubicBezTo>
                          <a:pt x="5724" y="11965"/>
                          <a:pt x="5067" y="12936"/>
                          <a:pt x="4268" y="13735"/>
                        </a:cubicBezTo>
                        <a:cubicBezTo>
                          <a:pt x="4125" y="13849"/>
                          <a:pt x="3925" y="13935"/>
                          <a:pt x="3754" y="13935"/>
                        </a:cubicBezTo>
                        <a:close/>
                      </a:path>
                    </a:pathLst>
                  </a:custGeom>
                  <a:grpFill/>
                  <a:ln w="2826" cap="flat">
                    <a:noFill/>
                    <a:prstDash val="solid"/>
                    <a:miter/>
                  </a:ln>
                </p:spPr>
                <p:txBody>
                  <a:bodyPr rtlCol="0" anchor="ctr"/>
                  <a:lstStyle/>
                  <a:p>
                    <a:endParaRPr lang="fr-CA"/>
                  </a:p>
                </p:txBody>
              </p:sp>
              <p:sp>
                <p:nvSpPr>
                  <p:cNvPr id="1092" name="Forme libre : forme 1091">
                    <a:extLst>
                      <a:ext uri="{FF2B5EF4-FFF2-40B4-BE49-F238E27FC236}">
                        <a16:creationId xmlns:a16="http://schemas.microsoft.com/office/drawing/2014/main" id="{D8FC94CB-40E2-1FA7-DCCF-56C2BAD671DE}"/>
                      </a:ext>
                    </a:extLst>
                  </p:cNvPr>
                  <p:cNvSpPr/>
                  <p:nvPr/>
                </p:nvSpPr>
                <p:spPr>
                  <a:xfrm>
                    <a:off x="9408469" y="3907926"/>
                    <a:ext cx="23705" cy="23030"/>
                  </a:xfrm>
                  <a:custGeom>
                    <a:avLst/>
                    <a:gdLst>
                      <a:gd name="connsiteX0" fmla="*/ 1987 w 23705"/>
                      <a:gd name="connsiteY0" fmla="*/ 24269 h 23030"/>
                      <a:gd name="connsiteX1" fmla="*/ 1730 w 23705"/>
                      <a:gd name="connsiteY1" fmla="*/ 24012 h 23030"/>
                      <a:gd name="connsiteX2" fmla="*/ 8098 w 23705"/>
                      <a:gd name="connsiteY2" fmla="*/ 5995 h 23030"/>
                      <a:gd name="connsiteX3" fmla="*/ 12923 w 23705"/>
                      <a:gd name="connsiteY3" fmla="*/ 2711 h 23030"/>
                      <a:gd name="connsiteX4" fmla="*/ 22688 w 23705"/>
                      <a:gd name="connsiteY4" fmla="*/ 2197 h 23030"/>
                      <a:gd name="connsiteX5" fmla="*/ 25230 w 23705"/>
                      <a:gd name="connsiteY5" fmla="*/ 5510 h 23030"/>
                      <a:gd name="connsiteX6" fmla="*/ 24944 w 23705"/>
                      <a:gd name="connsiteY6" fmla="*/ 7737 h 23030"/>
                      <a:gd name="connsiteX7" fmla="*/ 23145 w 23705"/>
                      <a:gd name="connsiteY7" fmla="*/ 9165 h 23030"/>
                      <a:gd name="connsiteX8" fmla="*/ 21775 w 23705"/>
                      <a:gd name="connsiteY8" fmla="*/ 9279 h 23030"/>
                      <a:gd name="connsiteX9" fmla="*/ 19262 w 23705"/>
                      <a:gd name="connsiteY9" fmla="*/ 9022 h 23030"/>
                      <a:gd name="connsiteX10" fmla="*/ 19262 w 23705"/>
                      <a:gd name="connsiteY10" fmla="*/ 9022 h 23030"/>
                      <a:gd name="connsiteX11" fmla="*/ 16721 w 23705"/>
                      <a:gd name="connsiteY11" fmla="*/ 8736 h 23030"/>
                      <a:gd name="connsiteX12" fmla="*/ 10525 w 23705"/>
                      <a:gd name="connsiteY12" fmla="*/ 10792 h 23030"/>
                      <a:gd name="connsiteX13" fmla="*/ 5043 w 23705"/>
                      <a:gd name="connsiteY13" fmla="*/ 18872 h 23030"/>
                      <a:gd name="connsiteX14" fmla="*/ 1987 w 23705"/>
                      <a:gd name="connsiteY14" fmla="*/ 24269 h 2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05" h="23030">
                        <a:moveTo>
                          <a:pt x="1987" y="24269"/>
                        </a:moveTo>
                        <a:cubicBezTo>
                          <a:pt x="1845" y="24269"/>
                          <a:pt x="1730" y="24155"/>
                          <a:pt x="1730" y="24012"/>
                        </a:cubicBezTo>
                        <a:cubicBezTo>
                          <a:pt x="1131" y="17502"/>
                          <a:pt x="3586" y="10735"/>
                          <a:pt x="8098" y="5995"/>
                        </a:cubicBezTo>
                        <a:cubicBezTo>
                          <a:pt x="9497" y="4624"/>
                          <a:pt x="11124" y="3511"/>
                          <a:pt x="12923" y="2711"/>
                        </a:cubicBezTo>
                        <a:cubicBezTo>
                          <a:pt x="15893" y="1369"/>
                          <a:pt x="19690" y="456"/>
                          <a:pt x="22688" y="2197"/>
                        </a:cubicBezTo>
                        <a:cubicBezTo>
                          <a:pt x="23888" y="2968"/>
                          <a:pt x="24773" y="4139"/>
                          <a:pt x="25230" y="5510"/>
                        </a:cubicBezTo>
                        <a:cubicBezTo>
                          <a:pt x="25458" y="6252"/>
                          <a:pt x="25344" y="7052"/>
                          <a:pt x="24944" y="7737"/>
                        </a:cubicBezTo>
                        <a:cubicBezTo>
                          <a:pt x="24573" y="8451"/>
                          <a:pt x="23916" y="8964"/>
                          <a:pt x="23145" y="9165"/>
                        </a:cubicBezTo>
                        <a:cubicBezTo>
                          <a:pt x="22688" y="9250"/>
                          <a:pt x="22232" y="9279"/>
                          <a:pt x="21775" y="9279"/>
                        </a:cubicBezTo>
                        <a:cubicBezTo>
                          <a:pt x="20918" y="9250"/>
                          <a:pt x="20090" y="9165"/>
                          <a:pt x="19262" y="9022"/>
                        </a:cubicBezTo>
                        <a:lnTo>
                          <a:pt x="19262" y="9022"/>
                        </a:lnTo>
                        <a:cubicBezTo>
                          <a:pt x="18405" y="8851"/>
                          <a:pt x="17578" y="8765"/>
                          <a:pt x="16721" y="8736"/>
                        </a:cubicBezTo>
                        <a:cubicBezTo>
                          <a:pt x="14494" y="8765"/>
                          <a:pt x="12323" y="9479"/>
                          <a:pt x="10525" y="10792"/>
                        </a:cubicBezTo>
                        <a:cubicBezTo>
                          <a:pt x="7841" y="12876"/>
                          <a:pt x="6413" y="15932"/>
                          <a:pt x="5043" y="18872"/>
                        </a:cubicBezTo>
                        <a:cubicBezTo>
                          <a:pt x="4157" y="20700"/>
                          <a:pt x="3329" y="22813"/>
                          <a:pt x="1987" y="24269"/>
                        </a:cubicBezTo>
                        <a:close/>
                      </a:path>
                    </a:pathLst>
                  </a:custGeom>
                  <a:grpFill/>
                  <a:ln w="2826" cap="flat">
                    <a:noFill/>
                    <a:prstDash val="solid"/>
                    <a:miter/>
                  </a:ln>
                </p:spPr>
                <p:txBody>
                  <a:bodyPr rtlCol="0" anchor="ctr"/>
                  <a:lstStyle/>
                  <a:p>
                    <a:endParaRPr lang="fr-CA"/>
                  </a:p>
                </p:txBody>
              </p:sp>
              <p:sp>
                <p:nvSpPr>
                  <p:cNvPr id="1093" name="Forme libre : forme 1092">
                    <a:extLst>
                      <a:ext uri="{FF2B5EF4-FFF2-40B4-BE49-F238E27FC236}">
                        <a16:creationId xmlns:a16="http://schemas.microsoft.com/office/drawing/2014/main" id="{D27ADCDB-05CB-A2AC-8CF0-C686846C671F}"/>
                      </a:ext>
                    </a:extLst>
                  </p:cNvPr>
                  <p:cNvSpPr/>
                  <p:nvPr/>
                </p:nvSpPr>
                <p:spPr>
                  <a:xfrm>
                    <a:off x="9461120" y="3907996"/>
                    <a:ext cx="26679" cy="18163"/>
                  </a:xfrm>
                  <a:custGeom>
                    <a:avLst/>
                    <a:gdLst>
                      <a:gd name="connsiteX0" fmla="*/ 24146 w 26679"/>
                      <a:gd name="connsiteY0" fmla="*/ 19403 h 18163"/>
                      <a:gd name="connsiteX1" fmla="*/ 18578 w 26679"/>
                      <a:gd name="connsiteY1" fmla="*/ 13378 h 18163"/>
                      <a:gd name="connsiteX2" fmla="*/ 1931 w 26679"/>
                      <a:gd name="connsiteY2" fmla="*/ 6896 h 18163"/>
                      <a:gd name="connsiteX3" fmla="*/ 1646 w 26679"/>
                      <a:gd name="connsiteY3" fmla="*/ 6725 h 18163"/>
                      <a:gd name="connsiteX4" fmla="*/ 2217 w 26679"/>
                      <a:gd name="connsiteY4" fmla="*/ 5754 h 18163"/>
                      <a:gd name="connsiteX5" fmla="*/ 3958 w 26679"/>
                      <a:gd name="connsiteY5" fmla="*/ 3784 h 18163"/>
                      <a:gd name="connsiteX6" fmla="*/ 25117 w 26679"/>
                      <a:gd name="connsiteY6" fmla="*/ 9466 h 18163"/>
                      <a:gd name="connsiteX7" fmla="*/ 26202 w 26679"/>
                      <a:gd name="connsiteY7" fmla="*/ 11979 h 18163"/>
                      <a:gd name="connsiteX8" fmla="*/ 28286 w 26679"/>
                      <a:gd name="connsiteY8" fmla="*/ 14948 h 18163"/>
                      <a:gd name="connsiteX9" fmla="*/ 24146 w 26679"/>
                      <a:gd name="connsiteY9" fmla="*/ 19403 h 1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79" h="18163">
                        <a:moveTo>
                          <a:pt x="24146" y="19403"/>
                        </a:moveTo>
                        <a:cubicBezTo>
                          <a:pt x="20548" y="19260"/>
                          <a:pt x="19577" y="16062"/>
                          <a:pt x="18578" y="13378"/>
                        </a:cubicBezTo>
                        <a:cubicBezTo>
                          <a:pt x="16036" y="7296"/>
                          <a:pt x="8184" y="5212"/>
                          <a:pt x="1931" y="6896"/>
                        </a:cubicBezTo>
                        <a:cubicBezTo>
                          <a:pt x="1817" y="6896"/>
                          <a:pt x="1703" y="6810"/>
                          <a:pt x="1646" y="6725"/>
                        </a:cubicBezTo>
                        <a:cubicBezTo>
                          <a:pt x="1588" y="6353"/>
                          <a:pt x="2074" y="6039"/>
                          <a:pt x="2217" y="5754"/>
                        </a:cubicBezTo>
                        <a:cubicBezTo>
                          <a:pt x="2702" y="5011"/>
                          <a:pt x="3273" y="4355"/>
                          <a:pt x="3958" y="3784"/>
                        </a:cubicBezTo>
                        <a:cubicBezTo>
                          <a:pt x="10868" y="-1641"/>
                          <a:pt x="21176" y="2242"/>
                          <a:pt x="25117" y="9466"/>
                        </a:cubicBezTo>
                        <a:cubicBezTo>
                          <a:pt x="25545" y="10294"/>
                          <a:pt x="25773" y="11179"/>
                          <a:pt x="26202" y="11979"/>
                        </a:cubicBezTo>
                        <a:cubicBezTo>
                          <a:pt x="27315" y="12607"/>
                          <a:pt x="28086" y="13720"/>
                          <a:pt x="28286" y="14948"/>
                        </a:cubicBezTo>
                        <a:cubicBezTo>
                          <a:pt x="28629" y="17290"/>
                          <a:pt x="26373" y="19403"/>
                          <a:pt x="24146" y="19403"/>
                        </a:cubicBezTo>
                        <a:close/>
                      </a:path>
                    </a:pathLst>
                  </a:custGeom>
                  <a:grpFill/>
                  <a:ln w="2826" cap="flat">
                    <a:noFill/>
                    <a:prstDash val="solid"/>
                    <a:miter/>
                  </a:ln>
                </p:spPr>
                <p:txBody>
                  <a:bodyPr rtlCol="0" anchor="ctr"/>
                  <a:lstStyle/>
                  <a:p>
                    <a:endParaRPr lang="fr-CA"/>
                  </a:p>
                </p:txBody>
              </p:sp>
            </p:grpSp>
          </p:grpSp>
        </p:grpSp>
        <p:pic>
          <p:nvPicPr>
            <p:cNvPr id="42" name="Graphique 41" descr="Fille portant un sac à dos">
              <a:extLst>
                <a:ext uri="{FF2B5EF4-FFF2-40B4-BE49-F238E27FC236}">
                  <a16:creationId xmlns:a16="http://schemas.microsoft.com/office/drawing/2014/main" id="{0286E2A3-4BB4-3432-03CE-809C16F70A1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flipH="1">
              <a:off x="4216411" y="4975122"/>
              <a:ext cx="431158" cy="1070756"/>
            </a:xfrm>
            <a:prstGeom prst="rect">
              <a:avLst/>
            </a:prstGeom>
          </p:spPr>
        </p:pic>
        <p:pic>
          <p:nvPicPr>
            <p:cNvPr id="1302" name="Graphique 1301" descr="Garçon portant un sac à dos">
              <a:extLst>
                <a:ext uri="{FF2B5EF4-FFF2-40B4-BE49-F238E27FC236}">
                  <a16:creationId xmlns:a16="http://schemas.microsoft.com/office/drawing/2014/main" id="{D1B87DEF-2C0B-8299-15EE-78335651F57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4500900" y="5097843"/>
              <a:ext cx="431158" cy="1070756"/>
            </a:xfrm>
            <a:prstGeom prst="rect">
              <a:avLst/>
            </a:prstGeom>
          </p:spPr>
        </p:pic>
        <p:pic>
          <p:nvPicPr>
            <p:cNvPr id="1306" name="Graphique 1305" descr="Homme en smoking">
              <a:extLst>
                <a:ext uri="{FF2B5EF4-FFF2-40B4-BE49-F238E27FC236}">
                  <a16:creationId xmlns:a16="http://schemas.microsoft.com/office/drawing/2014/main" id="{62E6AE2E-5314-2B72-1FB0-C6822AFE156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flipH="1">
              <a:off x="4024533" y="4213138"/>
              <a:ext cx="479699" cy="1370568"/>
            </a:xfrm>
            <a:prstGeom prst="rect">
              <a:avLst/>
            </a:prstGeom>
          </p:spPr>
        </p:pic>
        <p:pic>
          <p:nvPicPr>
            <p:cNvPr id="1312" name="Graphique 1311" descr="Homme âgé portant une veste">
              <a:extLst>
                <a:ext uri="{FF2B5EF4-FFF2-40B4-BE49-F238E27FC236}">
                  <a16:creationId xmlns:a16="http://schemas.microsoft.com/office/drawing/2014/main" id="{43A41AA5-E7AB-C030-7E46-B5CFBBFB1A07}"/>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flipH="1">
              <a:off x="4139263" y="2951037"/>
              <a:ext cx="428302" cy="1333448"/>
            </a:xfrm>
            <a:prstGeom prst="rect">
              <a:avLst/>
            </a:prstGeom>
          </p:spPr>
        </p:pic>
        <p:pic>
          <p:nvPicPr>
            <p:cNvPr id="1315" name="Graphique 1314" descr="Femme levant le doigt">
              <a:extLst>
                <a:ext uri="{FF2B5EF4-FFF2-40B4-BE49-F238E27FC236}">
                  <a16:creationId xmlns:a16="http://schemas.microsoft.com/office/drawing/2014/main" id="{CD440579-C93B-069A-1155-28B1B9DB0794}"/>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flipH="1">
              <a:off x="3501504" y="3383977"/>
              <a:ext cx="633888" cy="1230656"/>
            </a:xfrm>
            <a:prstGeom prst="rect">
              <a:avLst/>
            </a:prstGeom>
          </p:spPr>
        </p:pic>
      </p:grpSp>
      <p:grpSp>
        <p:nvGrpSpPr>
          <p:cNvPr id="1584" name="Groupe 1583">
            <a:extLst>
              <a:ext uri="{FF2B5EF4-FFF2-40B4-BE49-F238E27FC236}">
                <a16:creationId xmlns:a16="http://schemas.microsoft.com/office/drawing/2014/main" id="{7AB9FCF4-3E58-ADC3-94A9-7DBB26A99BBD}"/>
              </a:ext>
            </a:extLst>
          </p:cNvPr>
          <p:cNvGrpSpPr/>
          <p:nvPr>
            <p:custDataLst>
              <p:tags r:id="rId3"/>
            </p:custDataLst>
          </p:nvPr>
        </p:nvGrpSpPr>
        <p:grpSpPr>
          <a:xfrm>
            <a:off x="855310" y="2801259"/>
            <a:ext cx="4554890" cy="3715011"/>
            <a:chOff x="3501504" y="2643317"/>
            <a:chExt cx="4554890" cy="3715011"/>
          </a:xfrm>
        </p:grpSpPr>
        <p:pic>
          <p:nvPicPr>
            <p:cNvPr id="1585" name="Graphique 1584" descr="Homme non-voyant portant des lunettes de soleil">
              <a:extLst>
                <a:ext uri="{FF2B5EF4-FFF2-40B4-BE49-F238E27FC236}">
                  <a16:creationId xmlns:a16="http://schemas.microsoft.com/office/drawing/2014/main" id="{945D075B-16E8-70A9-2E64-926FA14DCA5E}"/>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flipH="1">
              <a:off x="4305733" y="2926313"/>
              <a:ext cx="730969" cy="1444807"/>
            </a:xfrm>
            <a:prstGeom prst="rect">
              <a:avLst/>
            </a:prstGeom>
          </p:spPr>
        </p:pic>
        <p:pic>
          <p:nvPicPr>
            <p:cNvPr id="1586" name="Graphique 1585" descr="Un bébé à quatre pattes">
              <a:extLst>
                <a:ext uri="{FF2B5EF4-FFF2-40B4-BE49-F238E27FC236}">
                  <a16:creationId xmlns:a16="http://schemas.microsoft.com/office/drawing/2014/main" id="{A1A9E4AB-4070-6BC9-EBCE-4B8B2E389CA4}"/>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flipH="1">
              <a:off x="5745541" y="4718082"/>
              <a:ext cx="396893" cy="379761"/>
            </a:xfrm>
            <a:prstGeom prst="rect">
              <a:avLst/>
            </a:prstGeom>
          </p:spPr>
        </p:pic>
        <p:pic>
          <p:nvPicPr>
            <p:cNvPr id="1587" name="Graphique 1586" descr="Garçon portant un sac à dos">
              <a:extLst>
                <a:ext uri="{FF2B5EF4-FFF2-40B4-BE49-F238E27FC236}">
                  <a16:creationId xmlns:a16="http://schemas.microsoft.com/office/drawing/2014/main" id="{CF5B0237-7FE8-96D1-46C3-E3E3AB58DEC5}"/>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flipH="1">
              <a:off x="7225782" y="5163816"/>
              <a:ext cx="431158" cy="1070756"/>
            </a:xfrm>
            <a:prstGeom prst="rect">
              <a:avLst/>
            </a:prstGeom>
          </p:spPr>
        </p:pic>
        <p:pic>
          <p:nvPicPr>
            <p:cNvPr id="1588" name="Graphique 1587" descr="Garçon portant une cape">
              <a:extLst>
                <a:ext uri="{FF2B5EF4-FFF2-40B4-BE49-F238E27FC236}">
                  <a16:creationId xmlns:a16="http://schemas.microsoft.com/office/drawing/2014/main" id="{A17041D2-9275-1000-2671-AAFF62F98CF7}"/>
                </a:ext>
              </a:extLst>
            </p:cNvPr>
            <p:cNvPicPr>
              <a:picLocks noChangeAspect="1"/>
            </p:cNvPicPr>
            <p:nvPr/>
          </p:nvPicPr>
          <p:blipFill>
            <a:blip r:embed="rId60">
              <a:extLst>
                <a:ext uri="{96DAC541-7B7A-43D3-8B79-37D633B846F1}">
                  <asvg:svgBlip xmlns:asvg="http://schemas.microsoft.com/office/drawing/2016/SVG/main" r:embed="rId61"/>
                </a:ext>
              </a:extLst>
            </a:blip>
            <a:stretch>
              <a:fillRect/>
            </a:stretch>
          </p:blipFill>
          <p:spPr>
            <a:xfrm flipH="1">
              <a:off x="7401478" y="4190813"/>
              <a:ext cx="571070" cy="1184970"/>
            </a:xfrm>
            <a:prstGeom prst="rect">
              <a:avLst/>
            </a:prstGeom>
          </p:spPr>
        </p:pic>
        <p:pic>
          <p:nvPicPr>
            <p:cNvPr id="1589" name="Graphique 1588" descr="Fille portant un sac à dos">
              <a:extLst>
                <a:ext uri="{FF2B5EF4-FFF2-40B4-BE49-F238E27FC236}">
                  <a16:creationId xmlns:a16="http://schemas.microsoft.com/office/drawing/2014/main" id="{7040B8A8-5B83-8F3D-0899-536384CAFF5B}"/>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flipH="1">
              <a:off x="7625236" y="4837482"/>
              <a:ext cx="431158" cy="1070756"/>
            </a:xfrm>
            <a:prstGeom prst="rect">
              <a:avLst/>
            </a:prstGeom>
          </p:spPr>
        </p:pic>
        <p:pic>
          <p:nvPicPr>
            <p:cNvPr id="1590" name="Graphique 1589" descr="Homme non-voyant portant des lunettes de soleil">
              <a:extLst>
                <a:ext uri="{FF2B5EF4-FFF2-40B4-BE49-F238E27FC236}">
                  <a16:creationId xmlns:a16="http://schemas.microsoft.com/office/drawing/2014/main" id="{CFAE40B1-494F-A3E4-5CBA-3F9F3DFA11BE}"/>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flipH="1">
              <a:off x="7229553" y="2934628"/>
              <a:ext cx="730969" cy="1444807"/>
            </a:xfrm>
            <a:prstGeom prst="rect">
              <a:avLst/>
            </a:prstGeom>
          </p:spPr>
        </p:pic>
        <p:pic>
          <p:nvPicPr>
            <p:cNvPr id="1591" name="Graphique 1590" descr="Homme en smoking">
              <a:extLst>
                <a:ext uri="{FF2B5EF4-FFF2-40B4-BE49-F238E27FC236}">
                  <a16:creationId xmlns:a16="http://schemas.microsoft.com/office/drawing/2014/main" id="{89F51275-AB92-8949-9665-2C389B2837EB}"/>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flipH="1">
              <a:off x="6890458" y="4259181"/>
              <a:ext cx="479699" cy="1370568"/>
            </a:xfrm>
            <a:prstGeom prst="rect">
              <a:avLst/>
            </a:prstGeom>
          </p:spPr>
        </p:pic>
        <p:pic>
          <p:nvPicPr>
            <p:cNvPr id="1592" name="Graphique 1591" descr="Homme avec un Mohawk">
              <a:extLst>
                <a:ext uri="{FF2B5EF4-FFF2-40B4-BE49-F238E27FC236}">
                  <a16:creationId xmlns:a16="http://schemas.microsoft.com/office/drawing/2014/main" id="{EBF482E3-830D-5238-9DCB-70C2317892DB}"/>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flipH="1">
              <a:off x="6365862" y="3574884"/>
              <a:ext cx="414026" cy="1322027"/>
            </a:xfrm>
            <a:prstGeom prst="rect">
              <a:avLst/>
            </a:prstGeom>
          </p:spPr>
        </p:pic>
        <p:pic>
          <p:nvPicPr>
            <p:cNvPr id="1593" name="Graphique 1592" descr="Homme portant un collier">
              <a:extLst>
                <a:ext uri="{FF2B5EF4-FFF2-40B4-BE49-F238E27FC236}">
                  <a16:creationId xmlns:a16="http://schemas.microsoft.com/office/drawing/2014/main" id="{098C2A27-0CC5-7E8A-C8F4-CDF48B06E535}"/>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flipH="1">
              <a:off x="6233703" y="4597750"/>
              <a:ext cx="582491" cy="1299184"/>
            </a:xfrm>
            <a:prstGeom prst="rect">
              <a:avLst/>
            </a:prstGeom>
          </p:spPr>
        </p:pic>
        <p:pic>
          <p:nvPicPr>
            <p:cNvPr id="1594" name="Graphique 1593" descr="Homme avec bras prothétique">
              <a:extLst>
                <a:ext uri="{FF2B5EF4-FFF2-40B4-BE49-F238E27FC236}">
                  <a16:creationId xmlns:a16="http://schemas.microsoft.com/office/drawing/2014/main" id="{47B68DAB-5209-1F2B-651F-C57D1E448EE4}"/>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flipH="1">
              <a:off x="5687165" y="2922124"/>
              <a:ext cx="414026" cy="1384845"/>
            </a:xfrm>
            <a:prstGeom prst="rect">
              <a:avLst/>
            </a:prstGeom>
          </p:spPr>
        </p:pic>
        <p:pic>
          <p:nvPicPr>
            <p:cNvPr id="1595" name="Graphique 1594" descr="Homme portant une chemise avec motif">
              <a:extLst>
                <a:ext uri="{FF2B5EF4-FFF2-40B4-BE49-F238E27FC236}">
                  <a16:creationId xmlns:a16="http://schemas.microsoft.com/office/drawing/2014/main" id="{51185481-7FC5-235B-603A-062856895E57}"/>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flipH="1">
              <a:off x="5344090" y="3927422"/>
              <a:ext cx="559649" cy="1362002"/>
            </a:xfrm>
            <a:prstGeom prst="rect">
              <a:avLst/>
            </a:prstGeom>
          </p:spPr>
        </p:pic>
        <p:pic>
          <p:nvPicPr>
            <p:cNvPr id="1596" name="Graphique 1595" descr="Homme roulant sur un scooter">
              <a:extLst>
                <a:ext uri="{FF2B5EF4-FFF2-40B4-BE49-F238E27FC236}">
                  <a16:creationId xmlns:a16="http://schemas.microsoft.com/office/drawing/2014/main" id="{5C3DBDF1-7761-B21C-115D-400AA9FD9446}"/>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flipH="1">
              <a:off x="4849169" y="4750256"/>
              <a:ext cx="533950" cy="1461939"/>
            </a:xfrm>
            <a:prstGeom prst="rect">
              <a:avLst/>
            </a:prstGeom>
          </p:spPr>
        </p:pic>
        <p:pic>
          <p:nvPicPr>
            <p:cNvPr id="1597" name="Graphique 1596" descr="Homme âgé portant une veste">
              <a:extLst>
                <a:ext uri="{FF2B5EF4-FFF2-40B4-BE49-F238E27FC236}">
                  <a16:creationId xmlns:a16="http://schemas.microsoft.com/office/drawing/2014/main" id="{7D5B5576-6DBB-D216-DB74-1F6C27C7FECF}"/>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flipH="1">
              <a:off x="6964465" y="2975647"/>
              <a:ext cx="428302" cy="1333448"/>
            </a:xfrm>
            <a:prstGeom prst="rect">
              <a:avLst/>
            </a:prstGeom>
          </p:spPr>
        </p:pic>
        <p:pic>
          <p:nvPicPr>
            <p:cNvPr id="1598" name="Graphique 1597" descr="Homme portant une tunique">
              <a:extLst>
                <a:ext uri="{FF2B5EF4-FFF2-40B4-BE49-F238E27FC236}">
                  <a16:creationId xmlns:a16="http://schemas.microsoft.com/office/drawing/2014/main" id="{410BF42C-475C-A126-EC90-C58E92B8297B}"/>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flipH="1">
              <a:off x="4258678" y="4089671"/>
              <a:ext cx="753812" cy="1362002"/>
            </a:xfrm>
            <a:prstGeom prst="rect">
              <a:avLst/>
            </a:prstGeom>
          </p:spPr>
        </p:pic>
        <p:pic>
          <p:nvPicPr>
            <p:cNvPr id="1599" name="Graphique 1598" descr="Femme non-voyante utilisant un bâton">
              <a:extLst>
                <a:ext uri="{FF2B5EF4-FFF2-40B4-BE49-F238E27FC236}">
                  <a16:creationId xmlns:a16="http://schemas.microsoft.com/office/drawing/2014/main" id="{3E137FE6-05E6-3892-6AE2-5828495C381C}"/>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flipH="1">
              <a:off x="6017699" y="4075281"/>
              <a:ext cx="476843" cy="1441951"/>
            </a:xfrm>
            <a:prstGeom prst="rect">
              <a:avLst/>
            </a:prstGeom>
          </p:spPr>
        </p:pic>
        <p:pic>
          <p:nvPicPr>
            <p:cNvPr id="1600" name="Graphique 1599" descr="Femme avec les mains sur la hanche">
              <a:extLst>
                <a:ext uri="{FF2B5EF4-FFF2-40B4-BE49-F238E27FC236}">
                  <a16:creationId xmlns:a16="http://schemas.microsoft.com/office/drawing/2014/main" id="{9406CC31-B4D5-2DED-A6B4-0050F6630A6F}"/>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flipH="1">
              <a:off x="6041392" y="2780928"/>
              <a:ext cx="513963" cy="1259209"/>
            </a:xfrm>
            <a:prstGeom prst="rect">
              <a:avLst/>
            </a:prstGeom>
          </p:spPr>
        </p:pic>
        <p:pic>
          <p:nvPicPr>
            <p:cNvPr id="1601" name="Graphique 1600" descr="Femme portant une robe longue">
              <a:extLst>
                <a:ext uri="{FF2B5EF4-FFF2-40B4-BE49-F238E27FC236}">
                  <a16:creationId xmlns:a16="http://schemas.microsoft.com/office/drawing/2014/main" id="{447E2FE9-037C-3EBD-3B82-9EF9C104B7D5}"/>
                </a:ext>
              </a:extLst>
            </p:cNvPr>
            <p:cNvPicPr>
              <a:picLocks noChangeAspect="1"/>
            </p:cNvPicPr>
            <p:nvPr/>
          </p:nvPicPr>
          <p:blipFill>
            <a:blip r:embed="rId84">
              <a:extLst>
                <a:ext uri="{96DAC541-7B7A-43D3-8B79-37D633B846F1}">
                  <asvg:svgBlip xmlns:asvg="http://schemas.microsoft.com/office/drawing/2016/SVG/main" r:embed="rId85"/>
                </a:ext>
              </a:extLst>
            </a:blip>
            <a:stretch>
              <a:fillRect/>
            </a:stretch>
          </p:blipFill>
          <p:spPr>
            <a:xfrm flipH="1">
              <a:off x="4868488" y="2643317"/>
              <a:ext cx="725259" cy="1421964"/>
            </a:xfrm>
            <a:prstGeom prst="rect">
              <a:avLst/>
            </a:prstGeom>
          </p:spPr>
        </p:pic>
        <p:pic>
          <p:nvPicPr>
            <p:cNvPr id="1602" name="Graphique 1601" descr="Femme avec main prothétique">
              <a:extLst>
                <a:ext uri="{FF2B5EF4-FFF2-40B4-BE49-F238E27FC236}">
                  <a16:creationId xmlns:a16="http://schemas.microsoft.com/office/drawing/2014/main" id="{C583EA2B-48CE-F3C1-ED09-1F93CA280DE3}"/>
                </a:ext>
              </a:extLst>
            </p:cNvPr>
            <p:cNvPicPr>
              <a:picLocks noChangeAspect="1"/>
            </p:cNvPicPr>
            <p:nvPr/>
          </p:nvPicPr>
          <p:blipFill>
            <a:blip r:embed="rId86">
              <a:extLst>
                <a:ext uri="{96DAC541-7B7A-43D3-8B79-37D633B846F1}">
                  <asvg:svgBlip xmlns:asvg="http://schemas.microsoft.com/office/drawing/2016/SVG/main" r:embed="rId87"/>
                </a:ext>
              </a:extLst>
            </a:blip>
            <a:stretch>
              <a:fillRect/>
            </a:stretch>
          </p:blipFill>
          <p:spPr>
            <a:xfrm flipH="1">
              <a:off x="4378646" y="4741492"/>
              <a:ext cx="365485" cy="1344870"/>
            </a:xfrm>
            <a:prstGeom prst="rect">
              <a:avLst/>
            </a:prstGeom>
          </p:spPr>
        </p:pic>
        <p:pic>
          <p:nvPicPr>
            <p:cNvPr id="1603" name="Graphique 1602" descr="Femme portant un blazer">
              <a:extLst>
                <a:ext uri="{FF2B5EF4-FFF2-40B4-BE49-F238E27FC236}">
                  <a16:creationId xmlns:a16="http://schemas.microsoft.com/office/drawing/2014/main" id="{818B0B0C-EA18-C321-3F70-71A29F53BFE8}"/>
                </a:ext>
              </a:extLst>
            </p:cNvPr>
            <p:cNvPicPr>
              <a:picLocks noChangeAspect="1"/>
            </p:cNvPicPr>
            <p:nvPr/>
          </p:nvPicPr>
          <p:blipFill>
            <a:blip r:embed="rId88">
              <a:extLst>
                <a:ext uri="{96DAC541-7B7A-43D3-8B79-37D633B846F1}">
                  <asvg:svgBlip xmlns:asvg="http://schemas.microsoft.com/office/drawing/2016/SVG/main" r:embed="rId89"/>
                </a:ext>
              </a:extLst>
            </a:blip>
            <a:stretch>
              <a:fillRect/>
            </a:stretch>
          </p:blipFill>
          <p:spPr>
            <a:xfrm flipH="1">
              <a:off x="5367734" y="4812568"/>
              <a:ext cx="508253" cy="1324883"/>
            </a:xfrm>
            <a:prstGeom prst="rect">
              <a:avLst/>
            </a:prstGeom>
          </p:spPr>
        </p:pic>
        <p:pic>
          <p:nvPicPr>
            <p:cNvPr id="1604" name="Graphique 1603" descr="Homme âgé utilisant une cane">
              <a:extLst>
                <a:ext uri="{FF2B5EF4-FFF2-40B4-BE49-F238E27FC236}">
                  <a16:creationId xmlns:a16="http://schemas.microsoft.com/office/drawing/2014/main" id="{58553290-0FAD-D095-37DB-70074B2B4D27}"/>
                </a:ext>
              </a:extLst>
            </p:cNvPr>
            <p:cNvPicPr>
              <a:picLocks noChangeAspect="1"/>
            </p:cNvPicPr>
            <p:nvPr/>
          </p:nvPicPr>
          <p:blipFill>
            <a:blip r:embed="rId90">
              <a:extLst>
                <a:ext uri="{96DAC541-7B7A-43D3-8B79-37D633B846F1}">
                  <asvg:svgBlip xmlns:asvg="http://schemas.microsoft.com/office/drawing/2016/SVG/main" r:embed="rId91"/>
                </a:ext>
              </a:extLst>
            </a:blip>
            <a:stretch>
              <a:fillRect/>
            </a:stretch>
          </p:blipFill>
          <p:spPr>
            <a:xfrm flipH="1">
              <a:off x="4900482" y="3507428"/>
              <a:ext cx="651020" cy="1379134"/>
            </a:xfrm>
            <a:prstGeom prst="rect">
              <a:avLst/>
            </a:prstGeom>
          </p:spPr>
        </p:pic>
        <p:grpSp>
          <p:nvGrpSpPr>
            <p:cNvPr id="1605" name="Graphique 35" descr="Garçon dans un fauteuil roulant">
              <a:extLst>
                <a:ext uri="{FF2B5EF4-FFF2-40B4-BE49-F238E27FC236}">
                  <a16:creationId xmlns:a16="http://schemas.microsoft.com/office/drawing/2014/main" id="{DA55A274-ECB2-F63A-3459-989DC27CACE4}"/>
                </a:ext>
              </a:extLst>
            </p:cNvPr>
            <p:cNvGrpSpPr/>
            <p:nvPr/>
          </p:nvGrpSpPr>
          <p:grpSpPr>
            <a:xfrm>
              <a:off x="6596747" y="5481226"/>
              <a:ext cx="751062" cy="877102"/>
              <a:chOff x="9153323" y="3832116"/>
              <a:chExt cx="751062" cy="877102"/>
            </a:xfrm>
          </p:grpSpPr>
          <p:grpSp>
            <p:nvGrpSpPr>
              <p:cNvPr id="1611" name="Graphique 35" descr="Garçon dans un fauteuil roulant">
                <a:extLst>
                  <a:ext uri="{FF2B5EF4-FFF2-40B4-BE49-F238E27FC236}">
                    <a16:creationId xmlns:a16="http://schemas.microsoft.com/office/drawing/2014/main" id="{01B2E75A-A7D0-61D8-8475-A7EC693920D7}"/>
                  </a:ext>
                </a:extLst>
              </p:cNvPr>
              <p:cNvGrpSpPr/>
              <p:nvPr/>
            </p:nvGrpSpPr>
            <p:grpSpPr>
              <a:xfrm>
                <a:off x="9153323" y="3985440"/>
                <a:ext cx="751062" cy="723778"/>
                <a:chOff x="9153323" y="3985440"/>
                <a:chExt cx="751062" cy="723778"/>
              </a:xfrm>
            </p:grpSpPr>
            <p:sp>
              <p:nvSpPr>
                <p:cNvPr id="1624" name="Forme libre : forme 1623">
                  <a:extLst>
                    <a:ext uri="{FF2B5EF4-FFF2-40B4-BE49-F238E27FC236}">
                      <a16:creationId xmlns:a16="http://schemas.microsoft.com/office/drawing/2014/main" id="{60A78003-B5A7-E286-1999-537D045FF2B6}"/>
                    </a:ext>
                  </a:extLst>
                </p:cNvPr>
                <p:cNvSpPr/>
                <p:nvPr/>
              </p:nvSpPr>
              <p:spPr>
                <a:xfrm>
                  <a:off x="9156791" y="3985719"/>
                  <a:ext cx="746079" cy="721501"/>
                </a:xfrm>
                <a:custGeom>
                  <a:avLst/>
                  <a:gdLst>
                    <a:gd name="connsiteX0" fmla="*/ 725289 w 746079"/>
                    <a:gd name="connsiteY0" fmla="*/ 643256 h 721501"/>
                    <a:gd name="connsiteX1" fmla="*/ 726086 w 746079"/>
                    <a:gd name="connsiteY1" fmla="*/ 638168 h 721501"/>
                    <a:gd name="connsiteX2" fmla="*/ 744217 w 746079"/>
                    <a:gd name="connsiteY2" fmla="*/ 637691 h 721501"/>
                    <a:gd name="connsiteX3" fmla="*/ 744694 w 746079"/>
                    <a:gd name="connsiteY3" fmla="*/ 626398 h 721501"/>
                    <a:gd name="connsiteX4" fmla="*/ 726403 w 746079"/>
                    <a:gd name="connsiteY4" fmla="*/ 626238 h 721501"/>
                    <a:gd name="connsiteX5" fmla="*/ 723222 w 746079"/>
                    <a:gd name="connsiteY5" fmla="*/ 622581 h 721501"/>
                    <a:gd name="connsiteX6" fmla="*/ 690936 w 746079"/>
                    <a:gd name="connsiteY6" fmla="*/ 624648 h 721501"/>
                    <a:gd name="connsiteX7" fmla="*/ 679963 w 746079"/>
                    <a:gd name="connsiteY7" fmla="*/ 611764 h 721501"/>
                    <a:gd name="connsiteX8" fmla="*/ 622308 w 746079"/>
                    <a:gd name="connsiteY8" fmla="*/ 388228 h 721501"/>
                    <a:gd name="connsiteX9" fmla="*/ 602109 w 746079"/>
                    <a:gd name="connsiteY9" fmla="*/ 375187 h 721501"/>
                    <a:gd name="connsiteX10" fmla="*/ 604893 w 746079"/>
                    <a:gd name="connsiteY10" fmla="*/ 342982 h 721501"/>
                    <a:gd name="connsiteX11" fmla="*/ 576203 w 746079"/>
                    <a:gd name="connsiteY11" fmla="*/ 293430 h 721501"/>
                    <a:gd name="connsiteX12" fmla="*/ 573976 w 746079"/>
                    <a:gd name="connsiteY12" fmla="*/ 250965 h 721501"/>
                    <a:gd name="connsiteX13" fmla="*/ 557594 w 746079"/>
                    <a:gd name="connsiteY13" fmla="*/ 248261 h 721501"/>
                    <a:gd name="connsiteX14" fmla="*/ 440060 w 746079"/>
                    <a:gd name="connsiteY14" fmla="*/ 214542 h 721501"/>
                    <a:gd name="connsiteX15" fmla="*/ 396321 w 746079"/>
                    <a:gd name="connsiteY15" fmla="*/ 127226 h 721501"/>
                    <a:gd name="connsiteX16" fmla="*/ 367200 w 746079"/>
                    <a:gd name="connsiteY16" fmla="*/ 65764 h 721501"/>
                    <a:gd name="connsiteX17" fmla="*/ 314239 w 746079"/>
                    <a:gd name="connsiteY17" fmla="*/ 42545 h 721501"/>
                    <a:gd name="connsiteX18" fmla="*/ 302064 w 746079"/>
                    <a:gd name="connsiteY18" fmla="*/ 24747 h 721501"/>
                    <a:gd name="connsiteX19" fmla="*/ 231933 w 746079"/>
                    <a:gd name="connsiteY19" fmla="*/ 0 h 721501"/>
                    <a:gd name="connsiteX20" fmla="*/ 231536 w 746079"/>
                    <a:gd name="connsiteY20" fmla="*/ 17812 h 721501"/>
                    <a:gd name="connsiteX21" fmla="*/ 214995 w 746079"/>
                    <a:gd name="connsiteY21" fmla="*/ 45883 h 721501"/>
                    <a:gd name="connsiteX22" fmla="*/ 190422 w 746079"/>
                    <a:gd name="connsiteY22" fmla="*/ 59720 h 721501"/>
                    <a:gd name="connsiteX23" fmla="*/ 167203 w 746079"/>
                    <a:gd name="connsiteY23" fmla="*/ 83896 h 721501"/>
                    <a:gd name="connsiteX24" fmla="*/ 124101 w 746079"/>
                    <a:gd name="connsiteY24" fmla="*/ 78965 h 721501"/>
                    <a:gd name="connsiteX25" fmla="*/ 65255 w 746079"/>
                    <a:gd name="connsiteY25" fmla="*/ 58766 h 721501"/>
                    <a:gd name="connsiteX26" fmla="*/ 63665 w 746079"/>
                    <a:gd name="connsiteY26" fmla="*/ 73557 h 721501"/>
                    <a:gd name="connsiteX27" fmla="*/ 96427 w 746079"/>
                    <a:gd name="connsiteY27" fmla="*/ 77214 h 721501"/>
                    <a:gd name="connsiteX28" fmla="*/ 111209 w 746079"/>
                    <a:gd name="connsiteY28" fmla="*/ 101882 h 721501"/>
                    <a:gd name="connsiteX29" fmla="*/ 121237 w 746079"/>
                    <a:gd name="connsiteY29" fmla="*/ 259640 h 721501"/>
                    <a:gd name="connsiteX30" fmla="*/ 117103 w 746079"/>
                    <a:gd name="connsiteY30" fmla="*/ 268865 h 721501"/>
                    <a:gd name="connsiteX31" fmla="*/ 75911 w 746079"/>
                    <a:gd name="connsiteY31" fmla="*/ 271093 h 721501"/>
                    <a:gd name="connsiteX32" fmla="*/ 14362 w 746079"/>
                    <a:gd name="connsiteY32" fmla="*/ 360157 h 721501"/>
                    <a:gd name="connsiteX33" fmla="*/ 365 w 746079"/>
                    <a:gd name="connsiteY33" fmla="*/ 435544 h 721501"/>
                    <a:gd name="connsiteX34" fmla="*/ 4659 w 746079"/>
                    <a:gd name="connsiteY34" fmla="*/ 511250 h 721501"/>
                    <a:gd name="connsiteX35" fmla="*/ 90385 w 746079"/>
                    <a:gd name="connsiteY35" fmla="*/ 647394 h 721501"/>
                    <a:gd name="connsiteX36" fmla="*/ 130623 w 746079"/>
                    <a:gd name="connsiteY36" fmla="*/ 663775 h 721501"/>
                    <a:gd name="connsiteX37" fmla="*/ 196150 w 746079"/>
                    <a:gd name="connsiteY37" fmla="*/ 625445 h 721501"/>
                    <a:gd name="connsiteX38" fmla="*/ 234480 w 746079"/>
                    <a:gd name="connsiteY38" fmla="*/ 631806 h 721501"/>
                    <a:gd name="connsiteX39" fmla="*/ 241159 w 746079"/>
                    <a:gd name="connsiteY39" fmla="*/ 631170 h 721501"/>
                    <a:gd name="connsiteX40" fmla="*/ 224938 w 746079"/>
                    <a:gd name="connsiteY40" fmla="*/ 689062 h 721501"/>
                    <a:gd name="connsiteX41" fmla="*/ 260724 w 746079"/>
                    <a:gd name="connsiteY41" fmla="*/ 720234 h 721501"/>
                    <a:gd name="connsiteX42" fmla="*/ 314798 w 746079"/>
                    <a:gd name="connsiteY42" fmla="*/ 700352 h 721501"/>
                    <a:gd name="connsiteX43" fmla="*/ 301758 w 746079"/>
                    <a:gd name="connsiteY43" fmla="*/ 627669 h 721501"/>
                    <a:gd name="connsiteX44" fmla="*/ 310415 w 746079"/>
                    <a:gd name="connsiteY44" fmla="*/ 606848 h 721501"/>
                    <a:gd name="connsiteX45" fmla="*/ 315595 w 746079"/>
                    <a:gd name="connsiteY45" fmla="*/ 580590 h 721501"/>
                    <a:gd name="connsiteX46" fmla="*/ 377782 w 746079"/>
                    <a:gd name="connsiteY46" fmla="*/ 594587 h 721501"/>
                    <a:gd name="connsiteX47" fmla="*/ 384620 w 746079"/>
                    <a:gd name="connsiteY47" fmla="*/ 652796 h 721501"/>
                    <a:gd name="connsiteX48" fmla="*/ 400208 w 746079"/>
                    <a:gd name="connsiteY48" fmla="*/ 661545 h 721501"/>
                    <a:gd name="connsiteX49" fmla="*/ 403388 w 746079"/>
                    <a:gd name="connsiteY49" fmla="*/ 678880 h 721501"/>
                    <a:gd name="connsiteX50" fmla="*/ 407523 w 746079"/>
                    <a:gd name="connsiteY50" fmla="*/ 678880 h 721501"/>
                    <a:gd name="connsiteX51" fmla="*/ 411500 w 746079"/>
                    <a:gd name="connsiteY51" fmla="*/ 686195 h 721501"/>
                    <a:gd name="connsiteX52" fmla="*/ 415635 w 746079"/>
                    <a:gd name="connsiteY52" fmla="*/ 672835 h 721501"/>
                    <a:gd name="connsiteX53" fmla="*/ 454125 w 746079"/>
                    <a:gd name="connsiteY53" fmla="*/ 665359 h 721501"/>
                    <a:gd name="connsiteX54" fmla="*/ 457783 w 746079"/>
                    <a:gd name="connsiteY54" fmla="*/ 660748 h 721501"/>
                    <a:gd name="connsiteX55" fmla="*/ 471303 w 746079"/>
                    <a:gd name="connsiteY55" fmla="*/ 662498 h 721501"/>
                    <a:gd name="connsiteX56" fmla="*/ 501681 w 746079"/>
                    <a:gd name="connsiteY56" fmla="*/ 654546 h 721501"/>
                    <a:gd name="connsiteX57" fmla="*/ 496901 w 746079"/>
                    <a:gd name="connsiteY57" fmla="*/ 668477 h 721501"/>
                    <a:gd name="connsiteX58" fmla="*/ 509625 w 746079"/>
                    <a:gd name="connsiteY58" fmla="*/ 676033 h 721501"/>
                    <a:gd name="connsiteX59" fmla="*/ 561164 w 746079"/>
                    <a:gd name="connsiteY59" fmla="*/ 674111 h 721501"/>
                    <a:gd name="connsiteX60" fmla="*/ 582636 w 746079"/>
                    <a:gd name="connsiteY60" fmla="*/ 666476 h 721501"/>
                    <a:gd name="connsiteX61" fmla="*/ 581839 w 746079"/>
                    <a:gd name="connsiteY61" fmla="*/ 675542 h 721501"/>
                    <a:gd name="connsiteX62" fmla="*/ 662951 w 746079"/>
                    <a:gd name="connsiteY62" fmla="*/ 665839 h 721501"/>
                    <a:gd name="connsiteX63" fmla="*/ 724501 w 746079"/>
                    <a:gd name="connsiteY63" fmla="*/ 650729 h 721501"/>
                    <a:gd name="connsiteX64" fmla="*/ 737541 w 746079"/>
                    <a:gd name="connsiteY64" fmla="*/ 644684 h 721501"/>
                    <a:gd name="connsiteX65" fmla="*/ 725289 w 746079"/>
                    <a:gd name="connsiteY65" fmla="*/ 643256 h 721501"/>
                    <a:gd name="connsiteX66" fmla="*/ 305730 w 746079"/>
                    <a:gd name="connsiteY66" fmla="*/ 403415 h 721501"/>
                    <a:gd name="connsiteX67" fmla="*/ 306047 w 746079"/>
                    <a:gd name="connsiteY67" fmla="*/ 411051 h 721501"/>
                    <a:gd name="connsiteX68" fmla="*/ 285531 w 746079"/>
                    <a:gd name="connsiteY68" fmla="*/ 409143 h 721501"/>
                    <a:gd name="connsiteX69" fmla="*/ 282510 w 746079"/>
                    <a:gd name="connsiteY69" fmla="*/ 399917 h 721501"/>
                    <a:gd name="connsiteX70" fmla="*/ 305730 w 746079"/>
                    <a:gd name="connsiteY70" fmla="*/ 403415 h 721501"/>
                    <a:gd name="connsiteX71" fmla="*/ 191376 w 746079"/>
                    <a:gd name="connsiteY71" fmla="*/ 604132 h 721501"/>
                    <a:gd name="connsiteX72" fmla="*/ 107240 w 746079"/>
                    <a:gd name="connsiteY72" fmla="*/ 586478 h 721501"/>
                    <a:gd name="connsiteX73" fmla="*/ 98492 w 746079"/>
                    <a:gd name="connsiteY73" fmla="*/ 601268 h 721501"/>
                    <a:gd name="connsiteX74" fmla="*/ 150570 w 746079"/>
                    <a:gd name="connsiteY74" fmla="*/ 616393 h 721501"/>
                    <a:gd name="connsiteX75" fmla="*/ 180083 w 746079"/>
                    <a:gd name="connsiteY75" fmla="*/ 620833 h 721501"/>
                    <a:gd name="connsiteX76" fmla="*/ 147161 w 746079"/>
                    <a:gd name="connsiteY76" fmla="*/ 644053 h 721501"/>
                    <a:gd name="connsiteX77" fmla="*/ 100473 w 746079"/>
                    <a:gd name="connsiteY77" fmla="*/ 637468 h 721501"/>
                    <a:gd name="connsiteX78" fmla="*/ 28039 w 746079"/>
                    <a:gd name="connsiteY78" fmla="*/ 525884 h 721501"/>
                    <a:gd name="connsiteX79" fmla="*/ 15315 w 746079"/>
                    <a:gd name="connsiteY79" fmla="*/ 459720 h 721501"/>
                    <a:gd name="connsiteX80" fmla="*/ 14601 w 746079"/>
                    <a:gd name="connsiteY80" fmla="*/ 432206 h 721501"/>
                    <a:gd name="connsiteX81" fmla="*/ 35834 w 746079"/>
                    <a:gd name="connsiteY81" fmla="*/ 334236 h 721501"/>
                    <a:gd name="connsiteX82" fmla="*/ 51570 w 746079"/>
                    <a:gd name="connsiteY82" fmla="*/ 310634 h 721501"/>
                    <a:gd name="connsiteX83" fmla="*/ 54442 w 746079"/>
                    <a:gd name="connsiteY83" fmla="*/ 305237 h 721501"/>
                    <a:gd name="connsiteX84" fmla="*/ 117637 w 746079"/>
                    <a:gd name="connsiteY84" fmla="*/ 287000 h 721501"/>
                    <a:gd name="connsiteX85" fmla="*/ 121243 w 746079"/>
                    <a:gd name="connsiteY85" fmla="*/ 351254 h 721501"/>
                    <a:gd name="connsiteX86" fmla="*/ 123998 w 746079"/>
                    <a:gd name="connsiteY86" fmla="*/ 352950 h 721501"/>
                    <a:gd name="connsiteX87" fmla="*/ 125483 w 746079"/>
                    <a:gd name="connsiteY87" fmla="*/ 375005 h 721501"/>
                    <a:gd name="connsiteX88" fmla="*/ 124264 w 746079"/>
                    <a:gd name="connsiteY88" fmla="*/ 443978 h 721501"/>
                    <a:gd name="connsiteX89" fmla="*/ 115995 w 746079"/>
                    <a:gd name="connsiteY89" fmla="*/ 457498 h 721501"/>
                    <a:gd name="connsiteX90" fmla="*/ 103271 w 746079"/>
                    <a:gd name="connsiteY90" fmla="*/ 454158 h 721501"/>
                    <a:gd name="connsiteX91" fmla="*/ 86730 w 746079"/>
                    <a:gd name="connsiteY91" fmla="*/ 466564 h 721501"/>
                    <a:gd name="connsiteX92" fmla="*/ 101204 w 746079"/>
                    <a:gd name="connsiteY92" fmla="*/ 482785 h 721501"/>
                    <a:gd name="connsiteX93" fmla="*/ 106612 w 746079"/>
                    <a:gd name="connsiteY93" fmla="*/ 473560 h 721501"/>
                    <a:gd name="connsiteX94" fmla="*/ 117428 w 746079"/>
                    <a:gd name="connsiteY94" fmla="*/ 471016 h 721501"/>
                    <a:gd name="connsiteX95" fmla="*/ 127924 w 746079"/>
                    <a:gd name="connsiteY95" fmla="*/ 481512 h 721501"/>
                    <a:gd name="connsiteX96" fmla="*/ 138264 w 746079"/>
                    <a:gd name="connsiteY96" fmla="*/ 456065 h 721501"/>
                    <a:gd name="connsiteX97" fmla="*/ 142241 w 746079"/>
                    <a:gd name="connsiteY97" fmla="*/ 377177 h 721501"/>
                    <a:gd name="connsiteX98" fmla="*/ 199497 w 746079"/>
                    <a:gd name="connsiteY98" fmla="*/ 387674 h 721501"/>
                    <a:gd name="connsiteX99" fmla="*/ 214607 w 746079"/>
                    <a:gd name="connsiteY99" fmla="*/ 457972 h 721501"/>
                    <a:gd name="connsiteX100" fmla="*/ 191376 w 746079"/>
                    <a:gd name="connsiteY100" fmla="*/ 604132 h 721501"/>
                    <a:gd name="connsiteX101" fmla="*/ 240519 w 746079"/>
                    <a:gd name="connsiteY101" fmla="*/ 667589 h 721501"/>
                    <a:gd name="connsiteX102" fmla="*/ 261992 w 746079"/>
                    <a:gd name="connsiteY102" fmla="*/ 669657 h 721501"/>
                    <a:gd name="connsiteX103" fmla="*/ 257697 w 746079"/>
                    <a:gd name="connsiteY103" fmla="*/ 681107 h 721501"/>
                    <a:gd name="connsiteX104" fmla="*/ 264059 w 746079"/>
                    <a:gd name="connsiteY104" fmla="*/ 682857 h 721501"/>
                    <a:gd name="connsiteX105" fmla="*/ 255541 w 746079"/>
                    <a:gd name="connsiteY105" fmla="*/ 695118 h 721501"/>
                    <a:gd name="connsiteX106" fmla="*/ 240519 w 746079"/>
                    <a:gd name="connsiteY106" fmla="*/ 667589 h 721501"/>
                    <a:gd name="connsiteX107" fmla="*/ 266923 w 746079"/>
                    <a:gd name="connsiteY107" fmla="*/ 638645 h 721501"/>
                    <a:gd name="connsiteX108" fmla="*/ 268673 w 746079"/>
                    <a:gd name="connsiteY108" fmla="*/ 653435 h 721501"/>
                    <a:gd name="connsiteX109" fmla="*/ 263265 w 746079"/>
                    <a:gd name="connsiteY109" fmla="*/ 668066 h 721501"/>
                    <a:gd name="connsiteX110" fmla="*/ 241624 w 746079"/>
                    <a:gd name="connsiteY110" fmla="*/ 661322 h 721501"/>
                    <a:gd name="connsiteX111" fmla="*/ 266923 w 746079"/>
                    <a:gd name="connsiteY111" fmla="*/ 638645 h 721501"/>
                    <a:gd name="connsiteX112" fmla="*/ 250699 w 746079"/>
                    <a:gd name="connsiteY112" fmla="*/ 624968 h 721501"/>
                    <a:gd name="connsiteX113" fmla="*/ 263739 w 746079"/>
                    <a:gd name="connsiteY113" fmla="*/ 591092 h 721501"/>
                    <a:gd name="connsiteX114" fmla="*/ 290616 w 746079"/>
                    <a:gd name="connsiteY114" fmla="*/ 575187 h 721501"/>
                    <a:gd name="connsiteX115" fmla="*/ 291413 w 746079"/>
                    <a:gd name="connsiteY115" fmla="*/ 588228 h 721501"/>
                    <a:gd name="connsiteX116" fmla="*/ 295231 w 746079"/>
                    <a:gd name="connsiteY116" fmla="*/ 589978 h 721501"/>
                    <a:gd name="connsiteX117" fmla="*/ 282824 w 746079"/>
                    <a:gd name="connsiteY117" fmla="*/ 620196 h 721501"/>
                    <a:gd name="connsiteX118" fmla="*/ 250699 w 746079"/>
                    <a:gd name="connsiteY118" fmla="*/ 624968 h 721501"/>
                    <a:gd name="connsiteX119" fmla="*/ 261038 w 746079"/>
                    <a:gd name="connsiteY119" fmla="*/ 697174 h 721501"/>
                    <a:gd name="connsiteX120" fmla="*/ 271057 w 746079"/>
                    <a:gd name="connsiteY120" fmla="*/ 681746 h 721501"/>
                    <a:gd name="connsiteX121" fmla="*/ 282350 w 746079"/>
                    <a:gd name="connsiteY121" fmla="*/ 678565 h 721501"/>
                    <a:gd name="connsiteX122" fmla="*/ 292210 w 746079"/>
                    <a:gd name="connsiteY122" fmla="*/ 696060 h 721501"/>
                    <a:gd name="connsiteX123" fmla="*/ 261038 w 746079"/>
                    <a:gd name="connsiteY123" fmla="*/ 697174 h 721501"/>
                    <a:gd name="connsiteX124" fmla="*/ 305253 w 746079"/>
                    <a:gd name="connsiteY124" fmla="*/ 659003 h 721501"/>
                    <a:gd name="connsiteX125" fmla="*/ 302072 w 746079"/>
                    <a:gd name="connsiteY125" fmla="*/ 687471 h 721501"/>
                    <a:gd name="connsiteX126" fmla="*/ 296496 w 746079"/>
                    <a:gd name="connsiteY126" fmla="*/ 689950 h 721501"/>
                    <a:gd name="connsiteX127" fmla="*/ 283304 w 746079"/>
                    <a:gd name="connsiteY127" fmla="*/ 675542 h 721501"/>
                    <a:gd name="connsiteX128" fmla="*/ 286708 w 746079"/>
                    <a:gd name="connsiteY128" fmla="*/ 667264 h 721501"/>
                    <a:gd name="connsiteX129" fmla="*/ 305253 w 746079"/>
                    <a:gd name="connsiteY129" fmla="*/ 659003 h 721501"/>
                    <a:gd name="connsiteX130" fmla="*/ 288552 w 746079"/>
                    <a:gd name="connsiteY130" fmla="*/ 557053 h 721501"/>
                    <a:gd name="connsiteX131" fmla="*/ 271534 w 746079"/>
                    <a:gd name="connsiteY131" fmla="*/ 554189 h 721501"/>
                    <a:gd name="connsiteX132" fmla="*/ 250539 w 746079"/>
                    <a:gd name="connsiteY132" fmla="*/ 582817 h 721501"/>
                    <a:gd name="connsiteX133" fmla="*/ 241633 w 746079"/>
                    <a:gd name="connsiteY133" fmla="*/ 604129 h 721501"/>
                    <a:gd name="connsiteX134" fmla="*/ 220321 w 746079"/>
                    <a:gd name="connsiteY134" fmla="*/ 609537 h 721501"/>
                    <a:gd name="connsiteX135" fmla="*/ 207914 w 746079"/>
                    <a:gd name="connsiteY135" fmla="*/ 607150 h 721501"/>
                    <a:gd name="connsiteX136" fmla="*/ 219524 w 746079"/>
                    <a:gd name="connsiteY136" fmla="*/ 579316 h 721501"/>
                    <a:gd name="connsiteX137" fmla="*/ 229067 w 746079"/>
                    <a:gd name="connsiteY137" fmla="*/ 540032 h 721501"/>
                    <a:gd name="connsiteX138" fmla="*/ 232724 w 746079"/>
                    <a:gd name="connsiteY138" fmla="*/ 476572 h 721501"/>
                    <a:gd name="connsiteX139" fmla="*/ 224455 w 746079"/>
                    <a:gd name="connsiteY139" fmla="*/ 421861 h 721501"/>
                    <a:gd name="connsiteX140" fmla="*/ 223890 w 746079"/>
                    <a:gd name="connsiteY140" fmla="*/ 415619 h 721501"/>
                    <a:gd name="connsiteX141" fmla="*/ 288232 w 746079"/>
                    <a:gd name="connsiteY141" fmla="*/ 422498 h 721501"/>
                    <a:gd name="connsiteX142" fmla="*/ 306681 w 746079"/>
                    <a:gd name="connsiteY142" fmla="*/ 424088 h 721501"/>
                    <a:gd name="connsiteX143" fmla="*/ 309702 w 746079"/>
                    <a:gd name="connsiteY143" fmla="*/ 546394 h 721501"/>
                    <a:gd name="connsiteX144" fmla="*/ 288552 w 746079"/>
                    <a:gd name="connsiteY144" fmla="*/ 557053 h 721501"/>
                    <a:gd name="connsiteX145" fmla="*/ 323065 w 746079"/>
                    <a:gd name="connsiteY145" fmla="*/ 394352 h 721501"/>
                    <a:gd name="connsiteX146" fmla="*/ 340399 w 746079"/>
                    <a:gd name="connsiteY146" fmla="*/ 390535 h 721501"/>
                    <a:gd name="connsiteX147" fmla="*/ 341990 w 746079"/>
                    <a:gd name="connsiteY147" fmla="*/ 411210 h 721501"/>
                    <a:gd name="connsiteX148" fmla="*/ 341673 w 746079"/>
                    <a:gd name="connsiteY148" fmla="*/ 415028 h 721501"/>
                    <a:gd name="connsiteX149" fmla="*/ 323701 w 746079"/>
                    <a:gd name="connsiteY149" fmla="*/ 412324 h 721501"/>
                    <a:gd name="connsiteX150" fmla="*/ 323065 w 746079"/>
                    <a:gd name="connsiteY150" fmla="*/ 394352 h 721501"/>
                    <a:gd name="connsiteX151" fmla="*/ 328313 w 746079"/>
                    <a:gd name="connsiteY151" fmla="*/ 566756 h 721501"/>
                    <a:gd name="connsiteX152" fmla="*/ 324858 w 746079"/>
                    <a:gd name="connsiteY152" fmla="*/ 510668 h 721501"/>
                    <a:gd name="connsiteX153" fmla="*/ 324495 w 746079"/>
                    <a:gd name="connsiteY153" fmla="*/ 425841 h 721501"/>
                    <a:gd name="connsiteX154" fmla="*/ 334355 w 746079"/>
                    <a:gd name="connsiteY154" fmla="*/ 427272 h 721501"/>
                    <a:gd name="connsiteX155" fmla="*/ 343420 w 746079"/>
                    <a:gd name="connsiteY155" fmla="*/ 433157 h 721501"/>
                    <a:gd name="connsiteX156" fmla="*/ 353280 w 746079"/>
                    <a:gd name="connsiteY156" fmla="*/ 483893 h 721501"/>
                    <a:gd name="connsiteX157" fmla="*/ 366320 w 746079"/>
                    <a:gd name="connsiteY157" fmla="*/ 515065 h 721501"/>
                    <a:gd name="connsiteX158" fmla="*/ 363139 w 746079"/>
                    <a:gd name="connsiteY158" fmla="*/ 535741 h 721501"/>
                    <a:gd name="connsiteX159" fmla="*/ 371568 w 746079"/>
                    <a:gd name="connsiteY159" fmla="*/ 556257 h 721501"/>
                    <a:gd name="connsiteX160" fmla="*/ 381428 w 746079"/>
                    <a:gd name="connsiteY160" fmla="*/ 561188 h 721501"/>
                    <a:gd name="connsiteX161" fmla="*/ 384292 w 746079"/>
                    <a:gd name="connsiteY161" fmla="*/ 578046 h 721501"/>
                    <a:gd name="connsiteX162" fmla="*/ 328313 w 746079"/>
                    <a:gd name="connsiteY162" fmla="*/ 566756 h 721501"/>
                    <a:gd name="connsiteX163" fmla="*/ 517737 w 746079"/>
                    <a:gd name="connsiteY163" fmla="*/ 605723 h 721501"/>
                    <a:gd name="connsiteX164" fmla="*/ 503106 w 746079"/>
                    <a:gd name="connsiteY164" fmla="*/ 599521 h 721501"/>
                    <a:gd name="connsiteX165" fmla="*/ 506447 w 746079"/>
                    <a:gd name="connsiteY165" fmla="*/ 616539 h 721501"/>
                    <a:gd name="connsiteX166" fmla="*/ 506923 w 746079"/>
                    <a:gd name="connsiteY166" fmla="*/ 633240 h 721501"/>
                    <a:gd name="connsiteX167" fmla="*/ 487042 w 746079"/>
                    <a:gd name="connsiteY167" fmla="*/ 639441 h 721501"/>
                    <a:gd name="connsiteX168" fmla="*/ 468116 w 746079"/>
                    <a:gd name="connsiteY168" fmla="*/ 609860 h 721501"/>
                    <a:gd name="connsiteX169" fmla="*/ 437261 w 746079"/>
                    <a:gd name="connsiteY169" fmla="*/ 573280 h 721501"/>
                    <a:gd name="connsiteX170" fmla="*/ 433444 w 746079"/>
                    <a:gd name="connsiteY170" fmla="*/ 558966 h 721501"/>
                    <a:gd name="connsiteX171" fmla="*/ 431853 w 746079"/>
                    <a:gd name="connsiteY171" fmla="*/ 551651 h 721501"/>
                    <a:gd name="connsiteX172" fmla="*/ 442510 w 746079"/>
                    <a:gd name="connsiteY172" fmla="*/ 533679 h 721501"/>
                    <a:gd name="connsiteX173" fmla="*/ 432082 w 746079"/>
                    <a:gd name="connsiteY173" fmla="*/ 512221 h 721501"/>
                    <a:gd name="connsiteX174" fmla="*/ 434238 w 746079"/>
                    <a:gd name="connsiteY174" fmla="*/ 377337 h 721501"/>
                    <a:gd name="connsiteX175" fmla="*/ 488949 w 746079"/>
                    <a:gd name="connsiteY175" fmla="*/ 371136 h 721501"/>
                    <a:gd name="connsiteX176" fmla="*/ 512805 w 746079"/>
                    <a:gd name="connsiteY176" fmla="*/ 378294 h 721501"/>
                    <a:gd name="connsiteX177" fmla="*/ 517260 w 746079"/>
                    <a:gd name="connsiteY177" fmla="*/ 442071 h 721501"/>
                    <a:gd name="connsiteX178" fmla="*/ 511535 w 746079"/>
                    <a:gd name="connsiteY178" fmla="*/ 524297 h 721501"/>
                    <a:gd name="connsiteX179" fmla="*/ 518365 w 746079"/>
                    <a:gd name="connsiteY179" fmla="*/ 555166 h 721501"/>
                    <a:gd name="connsiteX180" fmla="*/ 519327 w 746079"/>
                    <a:gd name="connsiteY180" fmla="*/ 577101 h 721501"/>
                    <a:gd name="connsiteX181" fmla="*/ 522031 w 746079"/>
                    <a:gd name="connsiteY181" fmla="*/ 585370 h 721501"/>
                    <a:gd name="connsiteX182" fmla="*/ 517737 w 746079"/>
                    <a:gd name="connsiteY182" fmla="*/ 605723 h 721501"/>
                    <a:gd name="connsiteX183" fmla="*/ 596621 w 746079"/>
                    <a:gd name="connsiteY183" fmla="*/ 575981 h 721501"/>
                    <a:gd name="connsiteX184" fmla="*/ 587079 w 746079"/>
                    <a:gd name="connsiteY184" fmla="*/ 563258 h 721501"/>
                    <a:gd name="connsiteX185" fmla="*/ 588032 w 746079"/>
                    <a:gd name="connsiteY185" fmla="*/ 552919 h 721501"/>
                    <a:gd name="connsiteX186" fmla="*/ 597735 w 746079"/>
                    <a:gd name="connsiteY186" fmla="*/ 544650 h 721501"/>
                    <a:gd name="connsiteX187" fmla="*/ 596621 w 746079"/>
                    <a:gd name="connsiteY187" fmla="*/ 575981 h 721501"/>
                    <a:gd name="connsiteX188" fmla="*/ 604097 w 746079"/>
                    <a:gd name="connsiteY188" fmla="*/ 497254 h 721501"/>
                    <a:gd name="connsiteX189" fmla="*/ 593123 w 746079"/>
                    <a:gd name="connsiteY189" fmla="*/ 488665 h 721501"/>
                    <a:gd name="connsiteX190" fmla="*/ 601236 w 746079"/>
                    <a:gd name="connsiteY190" fmla="*/ 393239 h 721501"/>
                    <a:gd name="connsiteX191" fmla="*/ 621274 w 746079"/>
                    <a:gd name="connsiteY191" fmla="*/ 430296 h 721501"/>
                    <a:gd name="connsiteX192" fmla="*/ 645131 w 746079"/>
                    <a:gd name="connsiteY192" fmla="*/ 523974 h 721501"/>
                    <a:gd name="connsiteX193" fmla="*/ 605530 w 746079"/>
                    <a:gd name="connsiteY193" fmla="*/ 520316 h 721501"/>
                    <a:gd name="connsiteX194" fmla="*/ 607437 w 746079"/>
                    <a:gd name="connsiteY194" fmla="*/ 503775 h 721501"/>
                    <a:gd name="connsiteX195" fmla="*/ 604097 w 746079"/>
                    <a:gd name="connsiteY195" fmla="*/ 497254 h 721501"/>
                    <a:gd name="connsiteX196" fmla="*/ 639566 w 746079"/>
                    <a:gd name="connsiteY196" fmla="*/ 612721 h 721501"/>
                    <a:gd name="connsiteX197" fmla="*/ 614279 w 746079"/>
                    <a:gd name="connsiteY197" fmla="*/ 601588 h 721501"/>
                    <a:gd name="connsiteX198" fmla="*/ 612052 w 746079"/>
                    <a:gd name="connsiteY198" fmla="*/ 536697 h 721501"/>
                    <a:gd name="connsiteX199" fmla="*/ 648951 w 746079"/>
                    <a:gd name="connsiteY199" fmla="*/ 540832 h 721501"/>
                    <a:gd name="connsiteX200" fmla="*/ 666446 w 746079"/>
                    <a:gd name="connsiteY200" fmla="*/ 610177 h 721501"/>
                    <a:gd name="connsiteX201" fmla="*/ 639566 w 746079"/>
                    <a:gd name="connsiteY201" fmla="*/ 612721 h 72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746079" h="721501">
                      <a:moveTo>
                        <a:pt x="725289" y="643256"/>
                      </a:moveTo>
                      <a:lnTo>
                        <a:pt x="726086" y="638168"/>
                      </a:lnTo>
                      <a:cubicBezTo>
                        <a:pt x="726086" y="638168"/>
                        <a:pt x="740876" y="639441"/>
                        <a:pt x="744217" y="637691"/>
                      </a:cubicBezTo>
                      <a:cubicBezTo>
                        <a:pt x="746444" y="636526"/>
                        <a:pt x="746761" y="628308"/>
                        <a:pt x="744694" y="626398"/>
                      </a:cubicBezTo>
                      <a:cubicBezTo>
                        <a:pt x="742627" y="624491"/>
                        <a:pt x="726403" y="626238"/>
                        <a:pt x="726403" y="626238"/>
                      </a:cubicBezTo>
                      <a:lnTo>
                        <a:pt x="723222" y="622581"/>
                      </a:lnTo>
                      <a:lnTo>
                        <a:pt x="690936" y="624648"/>
                      </a:lnTo>
                      <a:cubicBezTo>
                        <a:pt x="689983" y="614309"/>
                        <a:pt x="682225" y="610608"/>
                        <a:pt x="679963" y="611764"/>
                      </a:cubicBezTo>
                      <a:cubicBezTo>
                        <a:pt x="672417" y="583953"/>
                        <a:pt x="631454" y="401665"/>
                        <a:pt x="622308" y="388228"/>
                      </a:cubicBezTo>
                      <a:cubicBezTo>
                        <a:pt x="617434" y="381064"/>
                        <a:pt x="602109" y="375187"/>
                        <a:pt x="602109" y="375187"/>
                      </a:cubicBezTo>
                      <a:lnTo>
                        <a:pt x="604893" y="342982"/>
                      </a:lnTo>
                      <a:cubicBezTo>
                        <a:pt x="601315" y="308786"/>
                        <a:pt x="576203" y="293430"/>
                        <a:pt x="576203" y="293430"/>
                      </a:cubicBezTo>
                      <a:cubicBezTo>
                        <a:pt x="576203" y="293430"/>
                        <a:pt x="575660" y="265002"/>
                        <a:pt x="573976" y="250965"/>
                      </a:cubicBezTo>
                      <a:cubicBezTo>
                        <a:pt x="573499" y="246988"/>
                        <a:pt x="557594" y="248261"/>
                        <a:pt x="557594" y="248261"/>
                      </a:cubicBezTo>
                      <a:cubicBezTo>
                        <a:pt x="560444" y="222200"/>
                        <a:pt x="440060" y="214542"/>
                        <a:pt x="440060" y="214542"/>
                      </a:cubicBezTo>
                      <a:lnTo>
                        <a:pt x="396321" y="127226"/>
                      </a:lnTo>
                      <a:cubicBezTo>
                        <a:pt x="396321" y="127226"/>
                        <a:pt x="387079" y="99163"/>
                        <a:pt x="367200" y="65764"/>
                      </a:cubicBezTo>
                      <a:cubicBezTo>
                        <a:pt x="347318" y="32365"/>
                        <a:pt x="314239" y="42545"/>
                        <a:pt x="314239" y="42545"/>
                      </a:cubicBezTo>
                      <a:lnTo>
                        <a:pt x="302064" y="24747"/>
                      </a:lnTo>
                      <a:cubicBezTo>
                        <a:pt x="288147" y="2481"/>
                        <a:pt x="231933" y="0"/>
                        <a:pt x="231933" y="0"/>
                      </a:cubicBezTo>
                      <a:lnTo>
                        <a:pt x="231536" y="17812"/>
                      </a:lnTo>
                      <a:cubicBezTo>
                        <a:pt x="231536" y="17812"/>
                        <a:pt x="218176" y="19642"/>
                        <a:pt x="214995" y="45883"/>
                      </a:cubicBezTo>
                      <a:cubicBezTo>
                        <a:pt x="214995" y="45883"/>
                        <a:pt x="202749" y="49223"/>
                        <a:pt x="190422" y="59720"/>
                      </a:cubicBezTo>
                      <a:lnTo>
                        <a:pt x="167203" y="83896"/>
                      </a:lnTo>
                      <a:lnTo>
                        <a:pt x="124101" y="78965"/>
                      </a:lnTo>
                      <a:cubicBezTo>
                        <a:pt x="124101" y="78965"/>
                        <a:pt x="114876" y="49383"/>
                        <a:pt x="65255" y="58766"/>
                      </a:cubicBezTo>
                      <a:cubicBezTo>
                        <a:pt x="65255" y="58766"/>
                        <a:pt x="54294" y="67506"/>
                        <a:pt x="63665" y="73557"/>
                      </a:cubicBezTo>
                      <a:cubicBezTo>
                        <a:pt x="68690" y="76803"/>
                        <a:pt x="79409" y="75464"/>
                        <a:pt x="96427" y="77214"/>
                      </a:cubicBezTo>
                      <a:cubicBezTo>
                        <a:pt x="96427" y="77214"/>
                        <a:pt x="109151" y="76738"/>
                        <a:pt x="111209" y="101882"/>
                      </a:cubicBezTo>
                      <a:cubicBezTo>
                        <a:pt x="113716" y="132488"/>
                        <a:pt x="121237" y="259640"/>
                        <a:pt x="121237" y="259640"/>
                      </a:cubicBezTo>
                      <a:lnTo>
                        <a:pt x="117103" y="268865"/>
                      </a:lnTo>
                      <a:cubicBezTo>
                        <a:pt x="100890" y="266201"/>
                        <a:pt x="87250" y="266473"/>
                        <a:pt x="75911" y="271093"/>
                      </a:cubicBezTo>
                      <a:cubicBezTo>
                        <a:pt x="36813" y="287017"/>
                        <a:pt x="21360" y="336460"/>
                        <a:pt x="14362" y="360157"/>
                      </a:cubicBezTo>
                      <a:cubicBezTo>
                        <a:pt x="7486" y="383439"/>
                        <a:pt x="2069" y="405009"/>
                        <a:pt x="365" y="435544"/>
                      </a:cubicBezTo>
                      <a:cubicBezTo>
                        <a:pt x="-1543" y="469739"/>
                        <a:pt x="4653" y="511213"/>
                        <a:pt x="4659" y="511250"/>
                      </a:cubicBezTo>
                      <a:cubicBezTo>
                        <a:pt x="20837" y="588628"/>
                        <a:pt x="59530" y="625921"/>
                        <a:pt x="90385" y="647394"/>
                      </a:cubicBezTo>
                      <a:cubicBezTo>
                        <a:pt x="111086" y="661799"/>
                        <a:pt x="130623" y="663775"/>
                        <a:pt x="130623" y="663775"/>
                      </a:cubicBezTo>
                      <a:cubicBezTo>
                        <a:pt x="162157" y="663058"/>
                        <a:pt x="181017" y="646882"/>
                        <a:pt x="196150" y="625445"/>
                      </a:cubicBezTo>
                      <a:lnTo>
                        <a:pt x="234480" y="631806"/>
                      </a:lnTo>
                      <a:lnTo>
                        <a:pt x="241159" y="631170"/>
                      </a:lnTo>
                      <a:cubicBezTo>
                        <a:pt x="215712" y="649061"/>
                        <a:pt x="221597" y="679996"/>
                        <a:pt x="224938" y="689062"/>
                      </a:cubicBezTo>
                      <a:cubicBezTo>
                        <a:pt x="226605" y="693587"/>
                        <a:pt x="236039" y="714840"/>
                        <a:pt x="260724" y="720234"/>
                      </a:cubicBezTo>
                      <a:cubicBezTo>
                        <a:pt x="284740" y="725482"/>
                        <a:pt x="305676" y="713583"/>
                        <a:pt x="314798" y="700352"/>
                      </a:cubicBezTo>
                      <a:cubicBezTo>
                        <a:pt x="328207" y="680913"/>
                        <a:pt x="328119" y="648818"/>
                        <a:pt x="301758" y="627669"/>
                      </a:cubicBezTo>
                      <a:lnTo>
                        <a:pt x="310415" y="606848"/>
                      </a:lnTo>
                      <a:cubicBezTo>
                        <a:pt x="314162" y="598244"/>
                        <a:pt x="315301" y="584307"/>
                        <a:pt x="315595" y="580590"/>
                      </a:cubicBezTo>
                      <a:lnTo>
                        <a:pt x="377782" y="594587"/>
                      </a:lnTo>
                      <a:cubicBezTo>
                        <a:pt x="374124" y="616376"/>
                        <a:pt x="382236" y="643653"/>
                        <a:pt x="384620" y="652796"/>
                      </a:cubicBezTo>
                      <a:cubicBezTo>
                        <a:pt x="387004" y="661939"/>
                        <a:pt x="400208" y="661545"/>
                        <a:pt x="400208" y="661545"/>
                      </a:cubicBezTo>
                      <a:lnTo>
                        <a:pt x="403388" y="678880"/>
                      </a:lnTo>
                      <a:lnTo>
                        <a:pt x="407523" y="678880"/>
                      </a:lnTo>
                      <a:cubicBezTo>
                        <a:pt x="407523" y="678880"/>
                        <a:pt x="406726" y="686355"/>
                        <a:pt x="411500" y="686195"/>
                      </a:cubicBezTo>
                      <a:cubicBezTo>
                        <a:pt x="417303" y="686001"/>
                        <a:pt x="415013" y="675567"/>
                        <a:pt x="415635" y="672835"/>
                      </a:cubicBezTo>
                      <a:cubicBezTo>
                        <a:pt x="415635" y="672835"/>
                        <a:pt x="450308" y="667267"/>
                        <a:pt x="454125" y="665359"/>
                      </a:cubicBezTo>
                      <a:cubicBezTo>
                        <a:pt x="457943" y="663452"/>
                        <a:pt x="457783" y="660748"/>
                        <a:pt x="457783" y="660748"/>
                      </a:cubicBezTo>
                      <a:cubicBezTo>
                        <a:pt x="457783" y="660748"/>
                        <a:pt x="461917" y="664089"/>
                        <a:pt x="471303" y="662498"/>
                      </a:cubicBezTo>
                      <a:cubicBezTo>
                        <a:pt x="480688" y="660908"/>
                        <a:pt x="501681" y="654546"/>
                        <a:pt x="501681" y="654546"/>
                      </a:cubicBezTo>
                      <a:lnTo>
                        <a:pt x="496901" y="668477"/>
                      </a:lnTo>
                      <a:cubicBezTo>
                        <a:pt x="496901" y="668477"/>
                        <a:pt x="495779" y="674774"/>
                        <a:pt x="509625" y="676033"/>
                      </a:cubicBezTo>
                      <a:cubicBezTo>
                        <a:pt x="523470" y="677292"/>
                        <a:pt x="561164" y="674111"/>
                        <a:pt x="561164" y="674111"/>
                      </a:cubicBezTo>
                      <a:lnTo>
                        <a:pt x="582636" y="666476"/>
                      </a:lnTo>
                      <a:cubicBezTo>
                        <a:pt x="582636" y="666476"/>
                        <a:pt x="580092" y="673474"/>
                        <a:pt x="581839" y="675542"/>
                      </a:cubicBezTo>
                      <a:cubicBezTo>
                        <a:pt x="583589" y="677609"/>
                        <a:pt x="662951" y="665839"/>
                        <a:pt x="662951" y="665839"/>
                      </a:cubicBezTo>
                      <a:cubicBezTo>
                        <a:pt x="662951" y="665839"/>
                        <a:pt x="711777" y="653909"/>
                        <a:pt x="724501" y="650729"/>
                      </a:cubicBezTo>
                      <a:cubicBezTo>
                        <a:pt x="737224" y="647548"/>
                        <a:pt x="737541" y="644684"/>
                        <a:pt x="737541" y="644684"/>
                      </a:cubicBezTo>
                      <a:lnTo>
                        <a:pt x="725289" y="643256"/>
                      </a:lnTo>
                      <a:close/>
                      <a:moveTo>
                        <a:pt x="305730" y="403415"/>
                      </a:moveTo>
                      <a:cubicBezTo>
                        <a:pt x="307480" y="404689"/>
                        <a:pt x="307480" y="410254"/>
                        <a:pt x="306047" y="411051"/>
                      </a:cubicBezTo>
                      <a:cubicBezTo>
                        <a:pt x="304613" y="411847"/>
                        <a:pt x="293163" y="408663"/>
                        <a:pt x="285531" y="409143"/>
                      </a:cubicBezTo>
                      <a:cubicBezTo>
                        <a:pt x="283461" y="409272"/>
                        <a:pt x="282510" y="399917"/>
                        <a:pt x="282510" y="399917"/>
                      </a:cubicBezTo>
                      <a:cubicBezTo>
                        <a:pt x="282510" y="399917"/>
                        <a:pt x="303980" y="402145"/>
                        <a:pt x="305730" y="403415"/>
                      </a:cubicBezTo>
                      <a:close/>
                      <a:moveTo>
                        <a:pt x="191376" y="604132"/>
                      </a:moveTo>
                      <a:cubicBezTo>
                        <a:pt x="160310" y="597488"/>
                        <a:pt x="117888" y="588211"/>
                        <a:pt x="107240" y="586478"/>
                      </a:cubicBezTo>
                      <a:cubicBezTo>
                        <a:pt x="90142" y="583694"/>
                        <a:pt x="98492" y="601268"/>
                        <a:pt x="98492" y="601268"/>
                      </a:cubicBezTo>
                      <a:lnTo>
                        <a:pt x="150570" y="616393"/>
                      </a:lnTo>
                      <a:lnTo>
                        <a:pt x="180083" y="620833"/>
                      </a:lnTo>
                      <a:cubicBezTo>
                        <a:pt x="169196" y="632483"/>
                        <a:pt x="158191" y="641406"/>
                        <a:pt x="147161" y="644053"/>
                      </a:cubicBezTo>
                      <a:cubicBezTo>
                        <a:pt x="122896" y="649881"/>
                        <a:pt x="100473" y="637468"/>
                        <a:pt x="100473" y="637468"/>
                      </a:cubicBezTo>
                      <a:cubicBezTo>
                        <a:pt x="46487" y="590932"/>
                        <a:pt x="41079" y="558487"/>
                        <a:pt x="28039" y="525884"/>
                      </a:cubicBezTo>
                      <a:cubicBezTo>
                        <a:pt x="21006" y="508304"/>
                        <a:pt x="17223" y="485170"/>
                        <a:pt x="15315" y="459720"/>
                      </a:cubicBezTo>
                      <a:cubicBezTo>
                        <a:pt x="14681" y="451271"/>
                        <a:pt x="14676" y="441331"/>
                        <a:pt x="14601" y="432206"/>
                      </a:cubicBezTo>
                      <a:cubicBezTo>
                        <a:pt x="14316" y="397756"/>
                        <a:pt x="23639" y="359757"/>
                        <a:pt x="35834" y="334236"/>
                      </a:cubicBezTo>
                      <a:lnTo>
                        <a:pt x="51570" y="310634"/>
                      </a:lnTo>
                      <a:lnTo>
                        <a:pt x="54442" y="305237"/>
                      </a:lnTo>
                      <a:cubicBezTo>
                        <a:pt x="81745" y="277009"/>
                        <a:pt x="109242" y="283853"/>
                        <a:pt x="117637" y="287000"/>
                      </a:cubicBezTo>
                      <a:lnTo>
                        <a:pt x="121243" y="351254"/>
                      </a:lnTo>
                      <a:lnTo>
                        <a:pt x="123998" y="352950"/>
                      </a:lnTo>
                      <a:cubicBezTo>
                        <a:pt x="123998" y="352950"/>
                        <a:pt x="121109" y="369437"/>
                        <a:pt x="125483" y="375005"/>
                      </a:cubicBezTo>
                      <a:lnTo>
                        <a:pt x="124264" y="443978"/>
                      </a:lnTo>
                      <a:cubicBezTo>
                        <a:pt x="121243" y="443342"/>
                        <a:pt x="115995" y="457498"/>
                        <a:pt x="115995" y="457498"/>
                      </a:cubicBezTo>
                      <a:cubicBezTo>
                        <a:pt x="115995" y="457498"/>
                        <a:pt x="111383" y="450183"/>
                        <a:pt x="103271" y="454158"/>
                      </a:cubicBezTo>
                      <a:cubicBezTo>
                        <a:pt x="103271" y="454158"/>
                        <a:pt x="92695" y="433165"/>
                        <a:pt x="86730" y="466564"/>
                      </a:cubicBezTo>
                      <a:cubicBezTo>
                        <a:pt x="86730" y="466564"/>
                        <a:pt x="93252" y="489547"/>
                        <a:pt x="101204" y="482785"/>
                      </a:cubicBezTo>
                      <a:lnTo>
                        <a:pt x="106612" y="473560"/>
                      </a:lnTo>
                      <a:cubicBezTo>
                        <a:pt x="106612" y="473560"/>
                        <a:pt x="112337" y="475310"/>
                        <a:pt x="117428" y="471016"/>
                      </a:cubicBezTo>
                      <a:lnTo>
                        <a:pt x="127924" y="481512"/>
                      </a:lnTo>
                      <a:cubicBezTo>
                        <a:pt x="137627" y="481672"/>
                        <a:pt x="141761" y="469425"/>
                        <a:pt x="138264" y="456065"/>
                      </a:cubicBezTo>
                      <a:lnTo>
                        <a:pt x="142241" y="377177"/>
                      </a:lnTo>
                      <a:lnTo>
                        <a:pt x="199497" y="387674"/>
                      </a:lnTo>
                      <a:cubicBezTo>
                        <a:pt x="206609" y="413223"/>
                        <a:pt x="212163" y="436626"/>
                        <a:pt x="214607" y="457972"/>
                      </a:cubicBezTo>
                      <a:cubicBezTo>
                        <a:pt x="222476" y="526795"/>
                        <a:pt x="207900" y="574311"/>
                        <a:pt x="191376" y="604132"/>
                      </a:cubicBezTo>
                      <a:close/>
                      <a:moveTo>
                        <a:pt x="240519" y="667589"/>
                      </a:moveTo>
                      <a:cubicBezTo>
                        <a:pt x="241642" y="663997"/>
                        <a:pt x="261992" y="669657"/>
                        <a:pt x="261992" y="669657"/>
                      </a:cubicBezTo>
                      <a:lnTo>
                        <a:pt x="257697" y="681107"/>
                      </a:lnTo>
                      <a:lnTo>
                        <a:pt x="264059" y="682857"/>
                      </a:lnTo>
                      <a:cubicBezTo>
                        <a:pt x="264059" y="682857"/>
                        <a:pt x="259747" y="695929"/>
                        <a:pt x="255541" y="695118"/>
                      </a:cubicBezTo>
                      <a:cubicBezTo>
                        <a:pt x="251335" y="694310"/>
                        <a:pt x="239397" y="671184"/>
                        <a:pt x="240519" y="667589"/>
                      </a:cubicBezTo>
                      <a:close/>
                      <a:moveTo>
                        <a:pt x="266923" y="638645"/>
                      </a:moveTo>
                      <a:cubicBezTo>
                        <a:pt x="269475" y="640381"/>
                        <a:pt x="268673" y="653435"/>
                        <a:pt x="268673" y="653435"/>
                      </a:cubicBezTo>
                      <a:lnTo>
                        <a:pt x="263265" y="668066"/>
                      </a:lnTo>
                      <a:cubicBezTo>
                        <a:pt x="263265" y="668066"/>
                        <a:pt x="243049" y="666028"/>
                        <a:pt x="241624" y="661322"/>
                      </a:cubicBezTo>
                      <a:cubicBezTo>
                        <a:pt x="240202" y="656616"/>
                        <a:pt x="264367" y="636909"/>
                        <a:pt x="266923" y="638645"/>
                      </a:cubicBezTo>
                      <a:close/>
                      <a:moveTo>
                        <a:pt x="250699" y="624968"/>
                      </a:moveTo>
                      <a:cubicBezTo>
                        <a:pt x="250699" y="624968"/>
                        <a:pt x="254197" y="617332"/>
                        <a:pt x="263739" y="591092"/>
                      </a:cubicBezTo>
                      <a:cubicBezTo>
                        <a:pt x="273282" y="564848"/>
                        <a:pt x="290616" y="575187"/>
                        <a:pt x="290616" y="575187"/>
                      </a:cubicBezTo>
                      <a:lnTo>
                        <a:pt x="291413" y="588228"/>
                      </a:lnTo>
                      <a:lnTo>
                        <a:pt x="295231" y="589978"/>
                      </a:lnTo>
                      <a:lnTo>
                        <a:pt x="282824" y="620196"/>
                      </a:lnTo>
                      <a:cubicBezTo>
                        <a:pt x="272808" y="615742"/>
                        <a:pt x="250699" y="624968"/>
                        <a:pt x="250699" y="624968"/>
                      </a:cubicBezTo>
                      <a:close/>
                      <a:moveTo>
                        <a:pt x="261038" y="697174"/>
                      </a:moveTo>
                      <a:cubicBezTo>
                        <a:pt x="259607" y="693356"/>
                        <a:pt x="271057" y="681746"/>
                        <a:pt x="271057" y="681746"/>
                      </a:cubicBezTo>
                      <a:cubicBezTo>
                        <a:pt x="278655" y="681746"/>
                        <a:pt x="282216" y="679796"/>
                        <a:pt x="282350" y="678565"/>
                      </a:cubicBezTo>
                      <a:cubicBezTo>
                        <a:pt x="282350" y="678565"/>
                        <a:pt x="295702" y="691223"/>
                        <a:pt x="292210" y="696060"/>
                      </a:cubicBezTo>
                      <a:cubicBezTo>
                        <a:pt x="288718" y="700897"/>
                        <a:pt x="262468" y="700991"/>
                        <a:pt x="261038" y="697174"/>
                      </a:cubicBezTo>
                      <a:close/>
                      <a:moveTo>
                        <a:pt x="305253" y="659003"/>
                      </a:moveTo>
                      <a:lnTo>
                        <a:pt x="302072" y="687471"/>
                      </a:lnTo>
                      <a:lnTo>
                        <a:pt x="296496" y="689950"/>
                      </a:lnTo>
                      <a:lnTo>
                        <a:pt x="283304" y="675542"/>
                      </a:lnTo>
                      <a:cubicBezTo>
                        <a:pt x="284043" y="672195"/>
                        <a:pt x="285251" y="669474"/>
                        <a:pt x="286708" y="667264"/>
                      </a:cubicBezTo>
                      <a:cubicBezTo>
                        <a:pt x="292452" y="658544"/>
                        <a:pt x="305253" y="659003"/>
                        <a:pt x="305253" y="659003"/>
                      </a:cubicBezTo>
                      <a:close/>
                      <a:moveTo>
                        <a:pt x="288552" y="557053"/>
                      </a:moveTo>
                      <a:cubicBezTo>
                        <a:pt x="288552" y="557056"/>
                        <a:pt x="281899" y="553867"/>
                        <a:pt x="271534" y="554189"/>
                      </a:cubicBezTo>
                      <a:cubicBezTo>
                        <a:pt x="261355" y="554506"/>
                        <a:pt x="254982" y="571081"/>
                        <a:pt x="250539" y="582817"/>
                      </a:cubicBezTo>
                      <a:cubicBezTo>
                        <a:pt x="248215" y="590681"/>
                        <a:pt x="245479" y="599546"/>
                        <a:pt x="241633" y="604129"/>
                      </a:cubicBezTo>
                      <a:cubicBezTo>
                        <a:pt x="234660" y="612433"/>
                        <a:pt x="226682" y="610651"/>
                        <a:pt x="220321" y="609537"/>
                      </a:cubicBezTo>
                      <a:cubicBezTo>
                        <a:pt x="217582" y="609058"/>
                        <a:pt x="211540" y="607930"/>
                        <a:pt x="207914" y="607150"/>
                      </a:cubicBezTo>
                      <a:cubicBezTo>
                        <a:pt x="210638" y="601554"/>
                        <a:pt x="219524" y="579316"/>
                        <a:pt x="219524" y="579316"/>
                      </a:cubicBezTo>
                      <a:cubicBezTo>
                        <a:pt x="223073" y="567704"/>
                        <a:pt x="227445" y="552445"/>
                        <a:pt x="229067" y="540032"/>
                      </a:cubicBezTo>
                      <a:cubicBezTo>
                        <a:pt x="229067" y="540032"/>
                        <a:pt x="233287" y="500018"/>
                        <a:pt x="232724" y="476572"/>
                      </a:cubicBezTo>
                      <a:cubicBezTo>
                        <a:pt x="231733" y="458275"/>
                        <a:pt x="227533" y="438025"/>
                        <a:pt x="224455" y="421861"/>
                      </a:cubicBezTo>
                      <a:lnTo>
                        <a:pt x="223890" y="415619"/>
                      </a:lnTo>
                      <a:cubicBezTo>
                        <a:pt x="223890" y="415619"/>
                        <a:pt x="253751" y="421133"/>
                        <a:pt x="288232" y="422498"/>
                      </a:cubicBezTo>
                      <a:cubicBezTo>
                        <a:pt x="288178" y="422560"/>
                        <a:pt x="306735" y="424022"/>
                        <a:pt x="306681" y="424088"/>
                      </a:cubicBezTo>
                      <a:lnTo>
                        <a:pt x="309702" y="546394"/>
                      </a:lnTo>
                      <a:cubicBezTo>
                        <a:pt x="295551" y="543696"/>
                        <a:pt x="288618" y="556870"/>
                        <a:pt x="288552" y="557053"/>
                      </a:cubicBezTo>
                      <a:close/>
                      <a:moveTo>
                        <a:pt x="323065" y="394352"/>
                      </a:moveTo>
                      <a:lnTo>
                        <a:pt x="340399" y="390535"/>
                      </a:lnTo>
                      <a:lnTo>
                        <a:pt x="341990" y="411210"/>
                      </a:lnTo>
                      <a:lnTo>
                        <a:pt x="341673" y="415028"/>
                      </a:lnTo>
                      <a:lnTo>
                        <a:pt x="323701" y="412324"/>
                      </a:lnTo>
                      <a:lnTo>
                        <a:pt x="323065" y="394352"/>
                      </a:lnTo>
                      <a:close/>
                      <a:moveTo>
                        <a:pt x="328313" y="566756"/>
                      </a:moveTo>
                      <a:cubicBezTo>
                        <a:pt x="328321" y="562370"/>
                        <a:pt x="323259" y="513218"/>
                        <a:pt x="324858" y="510668"/>
                      </a:cubicBezTo>
                      <a:cubicBezTo>
                        <a:pt x="323450" y="490064"/>
                        <a:pt x="323673" y="446762"/>
                        <a:pt x="324495" y="425841"/>
                      </a:cubicBezTo>
                      <a:cubicBezTo>
                        <a:pt x="329335" y="426369"/>
                        <a:pt x="333175" y="426649"/>
                        <a:pt x="334355" y="427272"/>
                      </a:cubicBezTo>
                      <a:lnTo>
                        <a:pt x="343420" y="433157"/>
                      </a:lnTo>
                      <a:cubicBezTo>
                        <a:pt x="347324" y="452265"/>
                        <a:pt x="348266" y="464942"/>
                        <a:pt x="353280" y="483893"/>
                      </a:cubicBezTo>
                      <a:lnTo>
                        <a:pt x="366320" y="515065"/>
                      </a:lnTo>
                      <a:cubicBezTo>
                        <a:pt x="366320" y="515065"/>
                        <a:pt x="363368" y="525736"/>
                        <a:pt x="363139" y="535741"/>
                      </a:cubicBezTo>
                      <a:cubicBezTo>
                        <a:pt x="362911" y="545746"/>
                        <a:pt x="371568" y="556257"/>
                        <a:pt x="371568" y="556257"/>
                      </a:cubicBezTo>
                      <a:lnTo>
                        <a:pt x="381428" y="561188"/>
                      </a:lnTo>
                      <a:lnTo>
                        <a:pt x="384292" y="578046"/>
                      </a:lnTo>
                      <a:lnTo>
                        <a:pt x="328313" y="566756"/>
                      </a:lnTo>
                      <a:close/>
                      <a:moveTo>
                        <a:pt x="517737" y="605723"/>
                      </a:moveTo>
                      <a:cubicBezTo>
                        <a:pt x="517737" y="605723"/>
                        <a:pt x="506921" y="594750"/>
                        <a:pt x="503106" y="599521"/>
                      </a:cubicBezTo>
                      <a:cubicBezTo>
                        <a:pt x="499291" y="604292"/>
                        <a:pt x="505173" y="609700"/>
                        <a:pt x="506447" y="616539"/>
                      </a:cubicBezTo>
                      <a:cubicBezTo>
                        <a:pt x="507720" y="623377"/>
                        <a:pt x="506923" y="633240"/>
                        <a:pt x="506923" y="633240"/>
                      </a:cubicBezTo>
                      <a:lnTo>
                        <a:pt x="487042" y="639441"/>
                      </a:lnTo>
                      <a:cubicBezTo>
                        <a:pt x="484632" y="628788"/>
                        <a:pt x="487610" y="615274"/>
                        <a:pt x="468116" y="609860"/>
                      </a:cubicBezTo>
                      <a:cubicBezTo>
                        <a:pt x="453802" y="605882"/>
                        <a:pt x="437261" y="573280"/>
                        <a:pt x="437261" y="573280"/>
                      </a:cubicBezTo>
                      <a:cubicBezTo>
                        <a:pt x="432173" y="567078"/>
                        <a:pt x="433444" y="558966"/>
                        <a:pt x="433444" y="558966"/>
                      </a:cubicBezTo>
                      <a:lnTo>
                        <a:pt x="431853" y="551651"/>
                      </a:lnTo>
                      <a:cubicBezTo>
                        <a:pt x="431853" y="551651"/>
                        <a:pt x="444100" y="548787"/>
                        <a:pt x="442510" y="533679"/>
                      </a:cubicBezTo>
                      <a:cubicBezTo>
                        <a:pt x="442510" y="533679"/>
                        <a:pt x="433584" y="520191"/>
                        <a:pt x="432082" y="512221"/>
                      </a:cubicBezTo>
                      <a:cubicBezTo>
                        <a:pt x="430580" y="504255"/>
                        <a:pt x="437102" y="416938"/>
                        <a:pt x="434238" y="377337"/>
                      </a:cubicBezTo>
                      <a:cubicBezTo>
                        <a:pt x="434238" y="377337"/>
                        <a:pt x="468670" y="369942"/>
                        <a:pt x="488949" y="371136"/>
                      </a:cubicBezTo>
                      <a:lnTo>
                        <a:pt x="512805" y="378294"/>
                      </a:lnTo>
                      <a:cubicBezTo>
                        <a:pt x="512805" y="378294"/>
                        <a:pt x="517188" y="409152"/>
                        <a:pt x="517260" y="442071"/>
                      </a:cubicBezTo>
                      <a:cubicBezTo>
                        <a:pt x="517337" y="477980"/>
                        <a:pt x="511124" y="516830"/>
                        <a:pt x="511535" y="524297"/>
                      </a:cubicBezTo>
                      <a:cubicBezTo>
                        <a:pt x="512320" y="538610"/>
                        <a:pt x="518365" y="555166"/>
                        <a:pt x="518365" y="555166"/>
                      </a:cubicBezTo>
                      <a:lnTo>
                        <a:pt x="519327" y="577101"/>
                      </a:lnTo>
                      <a:cubicBezTo>
                        <a:pt x="519327" y="577101"/>
                        <a:pt x="521714" y="580758"/>
                        <a:pt x="522031" y="585370"/>
                      </a:cubicBezTo>
                      <a:cubicBezTo>
                        <a:pt x="522348" y="589981"/>
                        <a:pt x="517737" y="605723"/>
                        <a:pt x="517737" y="605723"/>
                      </a:cubicBezTo>
                      <a:close/>
                      <a:moveTo>
                        <a:pt x="596621" y="575981"/>
                      </a:moveTo>
                      <a:lnTo>
                        <a:pt x="587079" y="563258"/>
                      </a:lnTo>
                      <a:lnTo>
                        <a:pt x="588032" y="552919"/>
                      </a:lnTo>
                      <a:lnTo>
                        <a:pt x="597735" y="544650"/>
                      </a:lnTo>
                      <a:lnTo>
                        <a:pt x="596621" y="575981"/>
                      </a:lnTo>
                      <a:close/>
                      <a:moveTo>
                        <a:pt x="604097" y="497254"/>
                      </a:moveTo>
                      <a:cubicBezTo>
                        <a:pt x="602823" y="485804"/>
                        <a:pt x="593123" y="488665"/>
                        <a:pt x="593123" y="488665"/>
                      </a:cubicBezTo>
                      <a:lnTo>
                        <a:pt x="601236" y="393239"/>
                      </a:lnTo>
                      <a:cubicBezTo>
                        <a:pt x="608728" y="396000"/>
                        <a:pt x="614813" y="411156"/>
                        <a:pt x="621274" y="430296"/>
                      </a:cubicBezTo>
                      <a:cubicBezTo>
                        <a:pt x="634366" y="469063"/>
                        <a:pt x="645131" y="523974"/>
                        <a:pt x="645131" y="523974"/>
                      </a:cubicBezTo>
                      <a:lnTo>
                        <a:pt x="605530" y="520316"/>
                      </a:lnTo>
                      <a:lnTo>
                        <a:pt x="607437" y="503775"/>
                      </a:lnTo>
                      <a:lnTo>
                        <a:pt x="604097" y="497254"/>
                      </a:lnTo>
                      <a:close/>
                      <a:moveTo>
                        <a:pt x="639566" y="612721"/>
                      </a:moveTo>
                      <a:cubicBezTo>
                        <a:pt x="625729" y="610814"/>
                        <a:pt x="614279" y="601588"/>
                        <a:pt x="614279" y="601588"/>
                      </a:cubicBezTo>
                      <a:cubicBezTo>
                        <a:pt x="608077" y="567392"/>
                        <a:pt x="614439" y="543696"/>
                        <a:pt x="612052" y="536697"/>
                      </a:cubicBezTo>
                      <a:lnTo>
                        <a:pt x="648951" y="540832"/>
                      </a:lnTo>
                      <a:lnTo>
                        <a:pt x="666446" y="610177"/>
                      </a:lnTo>
                      <a:cubicBezTo>
                        <a:pt x="666443" y="610174"/>
                        <a:pt x="653403" y="614628"/>
                        <a:pt x="639566" y="612721"/>
                      </a:cubicBezTo>
                      <a:close/>
                    </a:path>
                  </a:pathLst>
                </a:custGeom>
                <a:solidFill>
                  <a:srgbClr val="FFFFFF"/>
                </a:solidFill>
                <a:ln w="2826" cap="flat">
                  <a:noFill/>
                  <a:prstDash val="solid"/>
                  <a:miter/>
                </a:ln>
              </p:spPr>
              <p:txBody>
                <a:bodyPr rtlCol="0" anchor="ctr"/>
                <a:lstStyle/>
                <a:p>
                  <a:endParaRPr lang="fr-CA"/>
                </a:p>
              </p:txBody>
            </p:sp>
            <p:grpSp>
              <p:nvGrpSpPr>
                <p:cNvPr id="1625" name="Graphique 35" descr="Garçon dans un fauteuil roulant">
                  <a:extLst>
                    <a:ext uri="{FF2B5EF4-FFF2-40B4-BE49-F238E27FC236}">
                      <a16:creationId xmlns:a16="http://schemas.microsoft.com/office/drawing/2014/main" id="{B97A187A-65B0-43CE-DFF9-BD4998513071}"/>
                    </a:ext>
                  </a:extLst>
                </p:cNvPr>
                <p:cNvGrpSpPr/>
                <p:nvPr/>
              </p:nvGrpSpPr>
              <p:grpSpPr>
                <a:xfrm>
                  <a:off x="9291701" y="4005701"/>
                  <a:ext cx="288140" cy="253089"/>
                  <a:chOff x="9291701" y="4005701"/>
                  <a:chExt cx="288140" cy="253089"/>
                </a:xfrm>
                <a:solidFill>
                  <a:srgbClr val="FFFFFF"/>
                </a:solidFill>
              </p:grpSpPr>
              <p:sp>
                <p:nvSpPr>
                  <p:cNvPr id="1672" name="Forme libre : forme 1671">
                    <a:extLst>
                      <a:ext uri="{FF2B5EF4-FFF2-40B4-BE49-F238E27FC236}">
                        <a16:creationId xmlns:a16="http://schemas.microsoft.com/office/drawing/2014/main" id="{C234A202-4456-C42C-F970-165378867C0D}"/>
                      </a:ext>
                    </a:extLst>
                  </p:cNvPr>
                  <p:cNvSpPr/>
                  <p:nvPr/>
                </p:nvSpPr>
                <p:spPr>
                  <a:xfrm>
                    <a:off x="9291701" y="4005701"/>
                    <a:ext cx="288140" cy="238713"/>
                  </a:xfrm>
                  <a:custGeom>
                    <a:avLst/>
                    <a:gdLst>
                      <a:gd name="connsiteX0" fmla="*/ 259505 w 288140"/>
                      <a:gd name="connsiteY0" fmla="*/ 102633 h 238713"/>
                      <a:gd name="connsiteX1" fmla="*/ 179983 w 288140"/>
                      <a:gd name="connsiteY1" fmla="*/ 21838 h 238713"/>
                      <a:gd name="connsiteX2" fmla="*/ 167308 w 288140"/>
                      <a:gd name="connsiteY2" fmla="*/ 9334 h 238713"/>
                      <a:gd name="connsiteX3" fmla="*/ 165852 w 288140"/>
                      <a:gd name="connsiteY3" fmla="*/ 8926 h 238713"/>
                      <a:gd name="connsiteX4" fmla="*/ 163965 w 288140"/>
                      <a:gd name="connsiteY4" fmla="*/ 10788 h 238713"/>
                      <a:gd name="connsiteX5" fmla="*/ 162917 w 288140"/>
                      <a:gd name="connsiteY5" fmla="*/ 14922 h 238713"/>
                      <a:gd name="connsiteX6" fmla="*/ 165869 w 288140"/>
                      <a:gd name="connsiteY6" fmla="*/ 58344 h 238713"/>
                      <a:gd name="connsiteX7" fmla="*/ 163417 w 288140"/>
                      <a:gd name="connsiteY7" fmla="*/ 71067 h 238713"/>
                      <a:gd name="connsiteX8" fmla="*/ 93763 w 288140"/>
                      <a:gd name="connsiteY8" fmla="*/ 10711 h 238713"/>
                      <a:gd name="connsiteX9" fmla="*/ 96373 w 288140"/>
                      <a:gd name="connsiteY9" fmla="*/ 1833 h 238713"/>
                      <a:gd name="connsiteX10" fmla="*/ 93772 w 288140"/>
                      <a:gd name="connsiteY10" fmla="*/ 97 h 238713"/>
                      <a:gd name="connsiteX11" fmla="*/ 78193 w 288140"/>
                      <a:gd name="connsiteY11" fmla="*/ 25656 h 238713"/>
                      <a:gd name="connsiteX12" fmla="*/ 7577 w 288140"/>
                      <a:gd name="connsiteY12" fmla="*/ 110905 h 238713"/>
                      <a:gd name="connsiteX13" fmla="*/ 927 w 288140"/>
                      <a:gd name="connsiteY13" fmla="*/ 219408 h 238713"/>
                      <a:gd name="connsiteX14" fmla="*/ 5590 w 288140"/>
                      <a:gd name="connsiteY14" fmla="*/ 220422 h 238713"/>
                      <a:gd name="connsiteX15" fmla="*/ 73482 w 288140"/>
                      <a:gd name="connsiteY15" fmla="*/ 208407 h 238713"/>
                      <a:gd name="connsiteX16" fmla="*/ 165512 w 288140"/>
                      <a:gd name="connsiteY16" fmla="*/ 215082 h 238713"/>
                      <a:gd name="connsiteX17" fmla="*/ 221020 w 288140"/>
                      <a:gd name="connsiteY17" fmla="*/ 215322 h 238713"/>
                      <a:gd name="connsiteX18" fmla="*/ 238595 w 288140"/>
                      <a:gd name="connsiteY18" fmla="*/ 235361 h 238713"/>
                      <a:gd name="connsiteX19" fmla="*/ 240531 w 288140"/>
                      <a:gd name="connsiteY19" fmla="*/ 237083 h 238713"/>
                      <a:gd name="connsiteX20" fmla="*/ 286548 w 288140"/>
                      <a:gd name="connsiteY20" fmla="*/ 228705 h 238713"/>
                      <a:gd name="connsiteX21" fmla="*/ 263328 w 288140"/>
                      <a:gd name="connsiteY21" fmla="*/ 170707 h 238713"/>
                      <a:gd name="connsiteX22" fmla="*/ 288138 w 288140"/>
                      <a:gd name="connsiteY22" fmla="*/ 160848 h 238713"/>
                      <a:gd name="connsiteX23" fmla="*/ 259505 w 288140"/>
                      <a:gd name="connsiteY23" fmla="*/ 102633 h 23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140" h="238713">
                        <a:moveTo>
                          <a:pt x="259505" y="102633"/>
                        </a:moveTo>
                        <a:cubicBezTo>
                          <a:pt x="245131" y="68926"/>
                          <a:pt x="227453" y="13292"/>
                          <a:pt x="179983" y="21838"/>
                        </a:cubicBezTo>
                        <a:cubicBezTo>
                          <a:pt x="175458" y="16356"/>
                          <a:pt x="171312" y="12769"/>
                          <a:pt x="167308" y="9334"/>
                        </a:cubicBezTo>
                        <a:cubicBezTo>
                          <a:pt x="166909" y="8989"/>
                          <a:pt x="166375" y="8840"/>
                          <a:pt x="165852" y="8926"/>
                        </a:cubicBezTo>
                        <a:cubicBezTo>
                          <a:pt x="164841" y="9060"/>
                          <a:pt x="164484" y="10040"/>
                          <a:pt x="163965" y="10788"/>
                        </a:cubicBezTo>
                        <a:cubicBezTo>
                          <a:pt x="163297" y="11916"/>
                          <a:pt x="161815" y="13577"/>
                          <a:pt x="162917" y="14922"/>
                        </a:cubicBezTo>
                        <a:cubicBezTo>
                          <a:pt x="172371" y="26461"/>
                          <a:pt x="170646" y="44906"/>
                          <a:pt x="165869" y="58344"/>
                        </a:cubicBezTo>
                        <a:cubicBezTo>
                          <a:pt x="163891" y="62875"/>
                          <a:pt x="164213" y="63749"/>
                          <a:pt x="163417" y="71067"/>
                        </a:cubicBezTo>
                        <a:cubicBezTo>
                          <a:pt x="148323" y="47028"/>
                          <a:pt x="104157" y="37245"/>
                          <a:pt x="93763" y="10711"/>
                        </a:cubicBezTo>
                        <a:cubicBezTo>
                          <a:pt x="96661" y="10240"/>
                          <a:pt x="95739" y="4443"/>
                          <a:pt x="96373" y="1833"/>
                        </a:cubicBezTo>
                        <a:cubicBezTo>
                          <a:pt x="96524" y="508"/>
                          <a:pt x="95085" y="-288"/>
                          <a:pt x="93772" y="97"/>
                        </a:cubicBezTo>
                        <a:cubicBezTo>
                          <a:pt x="79900" y="4166"/>
                          <a:pt x="78781" y="26055"/>
                          <a:pt x="78193" y="25656"/>
                        </a:cubicBezTo>
                        <a:cubicBezTo>
                          <a:pt x="40522" y="42631"/>
                          <a:pt x="17857" y="75256"/>
                          <a:pt x="7577" y="110905"/>
                        </a:cubicBezTo>
                        <a:cubicBezTo>
                          <a:pt x="-2499" y="145846"/>
                          <a:pt x="82" y="185050"/>
                          <a:pt x="927" y="219408"/>
                        </a:cubicBezTo>
                        <a:cubicBezTo>
                          <a:pt x="1273" y="222212"/>
                          <a:pt x="3817" y="220973"/>
                          <a:pt x="5590" y="220422"/>
                        </a:cubicBezTo>
                        <a:cubicBezTo>
                          <a:pt x="36533" y="210822"/>
                          <a:pt x="55053" y="207133"/>
                          <a:pt x="73482" y="208407"/>
                        </a:cubicBezTo>
                        <a:cubicBezTo>
                          <a:pt x="119239" y="211565"/>
                          <a:pt x="131222" y="225601"/>
                          <a:pt x="165512" y="215082"/>
                        </a:cubicBezTo>
                        <a:cubicBezTo>
                          <a:pt x="186145" y="208752"/>
                          <a:pt x="202315" y="206445"/>
                          <a:pt x="221020" y="215322"/>
                        </a:cubicBezTo>
                        <a:cubicBezTo>
                          <a:pt x="230697" y="219914"/>
                          <a:pt x="236765" y="228046"/>
                          <a:pt x="238595" y="235361"/>
                        </a:cubicBezTo>
                        <a:cubicBezTo>
                          <a:pt x="238695" y="235758"/>
                          <a:pt x="240111" y="236954"/>
                          <a:pt x="240531" y="237083"/>
                        </a:cubicBezTo>
                        <a:cubicBezTo>
                          <a:pt x="260513" y="243336"/>
                          <a:pt x="287184" y="229662"/>
                          <a:pt x="286548" y="228705"/>
                        </a:cubicBezTo>
                        <a:cubicBezTo>
                          <a:pt x="284175" y="225145"/>
                          <a:pt x="262494" y="176075"/>
                          <a:pt x="263328" y="170707"/>
                        </a:cubicBezTo>
                        <a:cubicBezTo>
                          <a:pt x="263354" y="170196"/>
                          <a:pt x="287835" y="161353"/>
                          <a:pt x="288138" y="160848"/>
                        </a:cubicBezTo>
                        <a:cubicBezTo>
                          <a:pt x="288438" y="160334"/>
                          <a:pt x="259753" y="103170"/>
                          <a:pt x="259505" y="102633"/>
                        </a:cubicBezTo>
                        <a:close/>
                      </a:path>
                    </a:pathLst>
                  </a:custGeom>
                  <a:solidFill>
                    <a:srgbClr val="FFFFFF"/>
                  </a:solidFill>
                  <a:ln w="2826" cap="flat">
                    <a:noFill/>
                    <a:prstDash val="solid"/>
                    <a:miter/>
                  </a:ln>
                </p:spPr>
                <p:txBody>
                  <a:bodyPr rtlCol="0" anchor="ctr"/>
                  <a:lstStyle/>
                  <a:p>
                    <a:endParaRPr lang="fr-CA"/>
                  </a:p>
                </p:txBody>
              </p:sp>
              <p:sp>
                <p:nvSpPr>
                  <p:cNvPr id="1673" name="Forme libre : forme 1672">
                    <a:extLst>
                      <a:ext uri="{FF2B5EF4-FFF2-40B4-BE49-F238E27FC236}">
                        <a16:creationId xmlns:a16="http://schemas.microsoft.com/office/drawing/2014/main" id="{74706C7C-A2E9-35F2-9791-E25F75FDF6A3}"/>
                      </a:ext>
                    </a:extLst>
                  </p:cNvPr>
                  <p:cNvSpPr/>
                  <p:nvPr/>
                </p:nvSpPr>
                <p:spPr>
                  <a:xfrm>
                    <a:off x="9435421" y="4249248"/>
                    <a:ext cx="26083" cy="9542"/>
                  </a:xfrm>
                  <a:custGeom>
                    <a:avLst/>
                    <a:gdLst>
                      <a:gd name="connsiteX0" fmla="*/ 26084 w 26083"/>
                      <a:gd name="connsiteY0" fmla="*/ 9543 h 9542"/>
                      <a:gd name="connsiteX1" fmla="*/ 26084 w 26083"/>
                      <a:gd name="connsiteY1" fmla="*/ 0 h 9542"/>
                      <a:gd name="connsiteX2" fmla="*/ 0 w 26083"/>
                      <a:gd name="connsiteY2" fmla="*/ 3181 h 9542"/>
                    </a:gdLst>
                    <a:ahLst/>
                    <a:cxnLst>
                      <a:cxn ang="0">
                        <a:pos x="connsiteX0" y="connsiteY0"/>
                      </a:cxn>
                      <a:cxn ang="0">
                        <a:pos x="connsiteX1" y="connsiteY1"/>
                      </a:cxn>
                      <a:cxn ang="0">
                        <a:pos x="connsiteX2" y="connsiteY2"/>
                      </a:cxn>
                    </a:cxnLst>
                    <a:rect l="l" t="t" r="r" b="b"/>
                    <a:pathLst>
                      <a:path w="26083" h="9542">
                        <a:moveTo>
                          <a:pt x="26084" y="9543"/>
                        </a:moveTo>
                        <a:lnTo>
                          <a:pt x="26084" y="0"/>
                        </a:lnTo>
                        <a:lnTo>
                          <a:pt x="0" y="3181"/>
                        </a:lnTo>
                        <a:close/>
                      </a:path>
                    </a:pathLst>
                  </a:custGeom>
                  <a:solidFill>
                    <a:srgbClr val="FFFFFF"/>
                  </a:solidFill>
                  <a:ln w="2826" cap="flat">
                    <a:noFill/>
                    <a:prstDash val="solid"/>
                    <a:miter/>
                  </a:ln>
                </p:spPr>
                <p:txBody>
                  <a:bodyPr rtlCol="0" anchor="ctr"/>
                  <a:lstStyle/>
                  <a:p>
                    <a:endParaRPr lang="fr-CA"/>
                  </a:p>
                </p:txBody>
              </p:sp>
            </p:grpSp>
            <p:grpSp>
              <p:nvGrpSpPr>
                <p:cNvPr id="1626" name="Graphique 35" descr="Garçon dans un fauteuil roulant">
                  <a:extLst>
                    <a:ext uri="{FF2B5EF4-FFF2-40B4-BE49-F238E27FC236}">
                      <a16:creationId xmlns:a16="http://schemas.microsoft.com/office/drawing/2014/main" id="{6378CFA5-1D8A-5864-5BB7-A583B4C322D3}"/>
                    </a:ext>
                  </a:extLst>
                </p:cNvPr>
                <p:cNvGrpSpPr/>
                <p:nvPr/>
              </p:nvGrpSpPr>
              <p:grpSpPr>
                <a:xfrm>
                  <a:off x="9539751" y="4603234"/>
                  <a:ext cx="304846" cy="57173"/>
                  <a:chOff x="9539751" y="4603234"/>
                  <a:chExt cx="304846" cy="57173"/>
                </a:xfrm>
                <a:solidFill>
                  <a:srgbClr val="FFFFFF"/>
                </a:solidFill>
              </p:grpSpPr>
              <p:sp>
                <p:nvSpPr>
                  <p:cNvPr id="1669" name="Forme libre : forme 1668">
                    <a:extLst>
                      <a:ext uri="{FF2B5EF4-FFF2-40B4-BE49-F238E27FC236}">
                        <a16:creationId xmlns:a16="http://schemas.microsoft.com/office/drawing/2014/main" id="{9713F9A6-CEF7-087C-E777-D80B7670E8BD}"/>
                      </a:ext>
                    </a:extLst>
                  </p:cNvPr>
                  <p:cNvSpPr/>
                  <p:nvPr/>
                </p:nvSpPr>
                <p:spPr>
                  <a:xfrm>
                    <a:off x="9655750" y="4603234"/>
                    <a:ext cx="188847" cy="57173"/>
                  </a:xfrm>
                  <a:custGeom>
                    <a:avLst/>
                    <a:gdLst>
                      <a:gd name="connsiteX0" fmla="*/ 188620 w 188847"/>
                      <a:gd name="connsiteY0" fmla="*/ 2704 h 57173"/>
                      <a:gd name="connsiteX1" fmla="*/ 185065 w 188847"/>
                      <a:gd name="connsiteY1" fmla="*/ 140 h 57173"/>
                      <a:gd name="connsiteX2" fmla="*/ 121040 w 188847"/>
                      <a:gd name="connsiteY2" fmla="*/ 24873 h 57173"/>
                      <a:gd name="connsiteX3" fmla="*/ 26453 w 188847"/>
                      <a:gd name="connsiteY3" fmla="*/ 33865 h 57173"/>
                      <a:gd name="connsiteX4" fmla="*/ 24146 w 188847"/>
                      <a:gd name="connsiteY4" fmla="*/ 31803 h 57173"/>
                      <a:gd name="connsiteX5" fmla="*/ 7254 w 188847"/>
                      <a:gd name="connsiteY5" fmla="*/ 36295 h 57173"/>
                      <a:gd name="connsiteX6" fmla="*/ 1720 w 188847"/>
                      <a:gd name="connsiteY6" fmla="*/ 45209 h 57173"/>
                      <a:gd name="connsiteX7" fmla="*/ 5090 w 188847"/>
                      <a:gd name="connsiteY7" fmla="*/ 55594 h 57173"/>
                      <a:gd name="connsiteX8" fmla="*/ 71885 w 188847"/>
                      <a:gd name="connsiteY8" fmla="*/ 51282 h 57173"/>
                      <a:gd name="connsiteX9" fmla="*/ 169578 w 188847"/>
                      <a:gd name="connsiteY9" fmla="*/ 15782 h 57173"/>
                      <a:gd name="connsiteX10" fmla="*/ 187829 w 188847"/>
                      <a:gd name="connsiteY10" fmla="*/ 5186 h 57173"/>
                      <a:gd name="connsiteX11" fmla="*/ 188620 w 188847"/>
                      <a:gd name="connsiteY11" fmla="*/ 2704 h 5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847" h="57173">
                        <a:moveTo>
                          <a:pt x="188620" y="2704"/>
                        </a:moveTo>
                        <a:cubicBezTo>
                          <a:pt x="187818" y="1371"/>
                          <a:pt x="186815" y="-534"/>
                          <a:pt x="185065" y="140"/>
                        </a:cubicBezTo>
                        <a:cubicBezTo>
                          <a:pt x="163790" y="9220"/>
                          <a:pt x="142249" y="17541"/>
                          <a:pt x="121040" y="24873"/>
                        </a:cubicBezTo>
                        <a:cubicBezTo>
                          <a:pt x="88703" y="37285"/>
                          <a:pt x="62491" y="26189"/>
                          <a:pt x="26453" y="33865"/>
                        </a:cubicBezTo>
                        <a:cubicBezTo>
                          <a:pt x="26590" y="32608"/>
                          <a:pt x="25417" y="31420"/>
                          <a:pt x="24146" y="31803"/>
                        </a:cubicBezTo>
                        <a:cubicBezTo>
                          <a:pt x="17102" y="33753"/>
                          <a:pt x="10937" y="35344"/>
                          <a:pt x="7254" y="36295"/>
                        </a:cubicBezTo>
                        <a:cubicBezTo>
                          <a:pt x="-887" y="38005"/>
                          <a:pt x="5786" y="38747"/>
                          <a:pt x="1720" y="45209"/>
                        </a:cubicBezTo>
                        <a:cubicBezTo>
                          <a:pt x="-875" y="49669"/>
                          <a:pt x="-1107" y="54863"/>
                          <a:pt x="5090" y="55594"/>
                        </a:cubicBezTo>
                        <a:cubicBezTo>
                          <a:pt x="26519" y="57935"/>
                          <a:pt x="50010" y="58523"/>
                          <a:pt x="71885" y="51282"/>
                        </a:cubicBezTo>
                        <a:cubicBezTo>
                          <a:pt x="104590" y="40181"/>
                          <a:pt x="140379" y="35558"/>
                          <a:pt x="169578" y="15782"/>
                        </a:cubicBezTo>
                        <a:cubicBezTo>
                          <a:pt x="175443" y="12067"/>
                          <a:pt x="181510" y="8229"/>
                          <a:pt x="187829" y="5186"/>
                        </a:cubicBezTo>
                        <a:cubicBezTo>
                          <a:pt x="188737" y="4774"/>
                          <a:pt x="189134" y="3567"/>
                          <a:pt x="188620" y="2704"/>
                        </a:cubicBezTo>
                        <a:close/>
                      </a:path>
                    </a:pathLst>
                  </a:custGeom>
                  <a:solidFill>
                    <a:srgbClr val="FFFFFF"/>
                  </a:solidFill>
                  <a:ln w="2826" cap="flat">
                    <a:noFill/>
                    <a:prstDash val="solid"/>
                    <a:miter/>
                  </a:ln>
                </p:spPr>
                <p:txBody>
                  <a:bodyPr rtlCol="0" anchor="ctr"/>
                  <a:lstStyle/>
                  <a:p>
                    <a:endParaRPr lang="fr-CA"/>
                  </a:p>
                </p:txBody>
              </p:sp>
              <p:sp>
                <p:nvSpPr>
                  <p:cNvPr id="1670" name="Forme libre : forme 1669">
                    <a:extLst>
                      <a:ext uri="{FF2B5EF4-FFF2-40B4-BE49-F238E27FC236}">
                        <a16:creationId xmlns:a16="http://schemas.microsoft.com/office/drawing/2014/main" id="{2B189C77-D8BB-7A85-939E-725AD1F8206B}"/>
                      </a:ext>
                    </a:extLst>
                  </p:cNvPr>
                  <p:cNvSpPr/>
                  <p:nvPr/>
                </p:nvSpPr>
                <p:spPr>
                  <a:xfrm>
                    <a:off x="9585773" y="4608277"/>
                    <a:ext cx="56215" cy="21346"/>
                  </a:xfrm>
                  <a:custGeom>
                    <a:avLst/>
                    <a:gdLst>
                      <a:gd name="connsiteX0" fmla="*/ 55536 w 56215"/>
                      <a:gd name="connsiteY0" fmla="*/ 7652 h 21346"/>
                      <a:gd name="connsiteX1" fmla="*/ 13965 w 56215"/>
                      <a:gd name="connsiteY1" fmla="*/ 8563 h 21346"/>
                      <a:gd name="connsiteX2" fmla="*/ 1261 w 56215"/>
                      <a:gd name="connsiteY2" fmla="*/ 15290 h 21346"/>
                      <a:gd name="connsiteX3" fmla="*/ 16 w 56215"/>
                      <a:gd name="connsiteY3" fmla="*/ 17240 h 21346"/>
                      <a:gd name="connsiteX4" fmla="*/ 9519 w 56215"/>
                      <a:gd name="connsiteY4" fmla="*/ 17680 h 21346"/>
                      <a:gd name="connsiteX5" fmla="*/ 23136 w 56215"/>
                      <a:gd name="connsiteY5" fmla="*/ 17714 h 21346"/>
                      <a:gd name="connsiteX6" fmla="*/ 24826 w 56215"/>
                      <a:gd name="connsiteY6" fmla="*/ 18625 h 21346"/>
                      <a:gd name="connsiteX7" fmla="*/ 38935 w 56215"/>
                      <a:gd name="connsiteY7" fmla="*/ 18500 h 21346"/>
                      <a:gd name="connsiteX8" fmla="*/ 44768 w 56215"/>
                      <a:gd name="connsiteY8" fmla="*/ 21346 h 21346"/>
                      <a:gd name="connsiteX9" fmla="*/ 53680 w 56215"/>
                      <a:gd name="connsiteY9" fmla="*/ 17460 h 21346"/>
                      <a:gd name="connsiteX10" fmla="*/ 54739 w 56215"/>
                      <a:gd name="connsiteY10" fmla="*/ 16344 h 21346"/>
                      <a:gd name="connsiteX11" fmla="*/ 55536 w 56215"/>
                      <a:gd name="connsiteY11" fmla="*/ 7652 h 2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5" h="21346">
                        <a:moveTo>
                          <a:pt x="55536" y="7652"/>
                        </a:moveTo>
                        <a:cubicBezTo>
                          <a:pt x="45962" y="-4797"/>
                          <a:pt x="25015" y="-269"/>
                          <a:pt x="13965" y="8563"/>
                        </a:cubicBezTo>
                        <a:cubicBezTo>
                          <a:pt x="9750" y="11304"/>
                          <a:pt x="5773" y="13894"/>
                          <a:pt x="1261" y="15290"/>
                        </a:cubicBezTo>
                        <a:cubicBezTo>
                          <a:pt x="425" y="15547"/>
                          <a:pt x="-101" y="16372"/>
                          <a:pt x="16" y="17240"/>
                        </a:cubicBezTo>
                        <a:cubicBezTo>
                          <a:pt x="967" y="20441"/>
                          <a:pt x="6130" y="17989"/>
                          <a:pt x="9519" y="17680"/>
                        </a:cubicBezTo>
                        <a:cubicBezTo>
                          <a:pt x="14381" y="16695"/>
                          <a:pt x="21731" y="15207"/>
                          <a:pt x="23136" y="17714"/>
                        </a:cubicBezTo>
                        <a:cubicBezTo>
                          <a:pt x="23476" y="18320"/>
                          <a:pt x="24130" y="18671"/>
                          <a:pt x="24826" y="18625"/>
                        </a:cubicBezTo>
                        <a:cubicBezTo>
                          <a:pt x="29655" y="18640"/>
                          <a:pt x="34586" y="17380"/>
                          <a:pt x="38935" y="18500"/>
                        </a:cubicBezTo>
                        <a:cubicBezTo>
                          <a:pt x="43252" y="18580"/>
                          <a:pt x="42096" y="20667"/>
                          <a:pt x="44768" y="21346"/>
                        </a:cubicBezTo>
                        <a:cubicBezTo>
                          <a:pt x="47723" y="20353"/>
                          <a:pt x="50330" y="18568"/>
                          <a:pt x="53680" y="17460"/>
                        </a:cubicBezTo>
                        <a:cubicBezTo>
                          <a:pt x="54182" y="17266"/>
                          <a:pt x="54571" y="16855"/>
                          <a:pt x="54739" y="16344"/>
                        </a:cubicBezTo>
                        <a:cubicBezTo>
                          <a:pt x="55633" y="13668"/>
                          <a:pt x="57080" y="10916"/>
                          <a:pt x="55536" y="7652"/>
                        </a:cubicBezTo>
                        <a:close/>
                      </a:path>
                    </a:pathLst>
                  </a:custGeom>
                  <a:solidFill>
                    <a:srgbClr val="FFFFFF"/>
                  </a:solidFill>
                  <a:ln w="2826" cap="flat">
                    <a:noFill/>
                    <a:prstDash val="solid"/>
                    <a:miter/>
                  </a:ln>
                </p:spPr>
                <p:txBody>
                  <a:bodyPr rtlCol="0" anchor="ctr"/>
                  <a:lstStyle/>
                  <a:p>
                    <a:endParaRPr lang="fr-CA"/>
                  </a:p>
                </p:txBody>
              </p:sp>
              <p:sp>
                <p:nvSpPr>
                  <p:cNvPr id="1671" name="Forme libre : forme 1670">
                    <a:extLst>
                      <a:ext uri="{FF2B5EF4-FFF2-40B4-BE49-F238E27FC236}">
                        <a16:creationId xmlns:a16="http://schemas.microsoft.com/office/drawing/2014/main" id="{B2E61FA1-21D1-8B26-E02A-6CF46362E873}"/>
                      </a:ext>
                    </a:extLst>
                  </p:cNvPr>
                  <p:cNvSpPr/>
                  <p:nvPr/>
                </p:nvSpPr>
                <p:spPr>
                  <a:xfrm>
                    <a:off x="9539751" y="4627716"/>
                    <a:ext cx="15875" cy="17897"/>
                  </a:xfrm>
                  <a:custGeom>
                    <a:avLst/>
                    <a:gdLst>
                      <a:gd name="connsiteX0" fmla="*/ 14019 w 15875"/>
                      <a:gd name="connsiteY0" fmla="*/ 4903 h 17897"/>
                      <a:gd name="connsiteX1" fmla="*/ 12286 w 15875"/>
                      <a:gd name="connsiteY1" fmla="*/ 3435 h 17897"/>
                      <a:gd name="connsiteX2" fmla="*/ 2697 w 15875"/>
                      <a:gd name="connsiteY2" fmla="*/ 248 h 17897"/>
                      <a:gd name="connsiteX3" fmla="*/ 19 w 15875"/>
                      <a:gd name="connsiteY3" fmla="*/ 2004 h 17897"/>
                      <a:gd name="connsiteX4" fmla="*/ 14027 w 15875"/>
                      <a:gd name="connsiteY4" fmla="*/ 17886 h 17897"/>
                      <a:gd name="connsiteX5" fmla="*/ 15538 w 15875"/>
                      <a:gd name="connsiteY5" fmla="*/ 17335 h 17897"/>
                      <a:gd name="connsiteX6" fmla="*/ 14019 w 15875"/>
                      <a:gd name="connsiteY6" fmla="*/ 4903 h 1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5" h="17897">
                        <a:moveTo>
                          <a:pt x="14019" y="4903"/>
                        </a:moveTo>
                        <a:cubicBezTo>
                          <a:pt x="13865" y="4063"/>
                          <a:pt x="13139" y="3449"/>
                          <a:pt x="12286" y="3435"/>
                        </a:cubicBezTo>
                        <a:cubicBezTo>
                          <a:pt x="9393" y="3389"/>
                          <a:pt x="6347" y="2376"/>
                          <a:pt x="2697" y="248"/>
                        </a:cubicBezTo>
                        <a:cubicBezTo>
                          <a:pt x="1487" y="-511"/>
                          <a:pt x="-198" y="585"/>
                          <a:pt x="19" y="2004"/>
                        </a:cubicBezTo>
                        <a:cubicBezTo>
                          <a:pt x="307" y="9799"/>
                          <a:pt x="5319" y="17206"/>
                          <a:pt x="14027" y="17886"/>
                        </a:cubicBezTo>
                        <a:cubicBezTo>
                          <a:pt x="14584" y="17951"/>
                          <a:pt x="15150" y="17749"/>
                          <a:pt x="15538" y="17335"/>
                        </a:cubicBezTo>
                        <a:cubicBezTo>
                          <a:pt x="16786" y="14708"/>
                          <a:pt x="14182" y="8186"/>
                          <a:pt x="14019" y="4903"/>
                        </a:cubicBezTo>
                        <a:close/>
                      </a:path>
                    </a:pathLst>
                  </a:custGeom>
                  <a:solidFill>
                    <a:srgbClr val="FFFFFF"/>
                  </a:solidFill>
                  <a:ln w="2826" cap="flat">
                    <a:noFill/>
                    <a:prstDash val="solid"/>
                    <a:miter/>
                  </a:ln>
                </p:spPr>
                <p:txBody>
                  <a:bodyPr rtlCol="0" anchor="ctr"/>
                  <a:lstStyle/>
                  <a:p>
                    <a:endParaRPr lang="fr-CA"/>
                  </a:p>
                </p:txBody>
              </p:sp>
            </p:grpSp>
            <p:grpSp>
              <p:nvGrpSpPr>
                <p:cNvPr id="1627" name="Graphique 35" descr="Garçon dans un fauteuil roulant">
                  <a:extLst>
                    <a:ext uri="{FF2B5EF4-FFF2-40B4-BE49-F238E27FC236}">
                      <a16:creationId xmlns:a16="http://schemas.microsoft.com/office/drawing/2014/main" id="{17B20C78-A347-6D64-9D96-3F6A0C9BB100}"/>
                    </a:ext>
                  </a:extLst>
                </p:cNvPr>
                <p:cNvGrpSpPr/>
                <p:nvPr/>
              </p:nvGrpSpPr>
              <p:grpSpPr>
                <a:xfrm>
                  <a:off x="9534091" y="4553221"/>
                  <a:ext cx="305352" cy="84981"/>
                  <a:chOff x="9534091" y="4553221"/>
                  <a:chExt cx="305352" cy="84981"/>
                </a:xfrm>
                <a:solidFill>
                  <a:srgbClr val="FFFFFF"/>
                </a:solidFill>
              </p:grpSpPr>
              <p:sp>
                <p:nvSpPr>
                  <p:cNvPr id="1666" name="Forme libre : forme 1665">
                    <a:extLst>
                      <a:ext uri="{FF2B5EF4-FFF2-40B4-BE49-F238E27FC236}">
                        <a16:creationId xmlns:a16="http://schemas.microsoft.com/office/drawing/2014/main" id="{97451339-972C-E64D-2180-74A50040BCF5}"/>
                      </a:ext>
                    </a:extLst>
                  </p:cNvPr>
                  <p:cNvSpPr/>
                  <p:nvPr/>
                </p:nvSpPr>
                <p:spPr>
                  <a:xfrm>
                    <a:off x="9659469" y="4553221"/>
                    <a:ext cx="179974" cy="84981"/>
                  </a:xfrm>
                  <a:custGeom>
                    <a:avLst/>
                    <a:gdLst>
                      <a:gd name="connsiteX0" fmla="*/ 178782 w 179974"/>
                      <a:gd name="connsiteY0" fmla="*/ 47523 h 84981"/>
                      <a:gd name="connsiteX1" fmla="*/ 118200 w 179974"/>
                      <a:gd name="connsiteY1" fmla="*/ 40322 h 84981"/>
                      <a:gd name="connsiteX2" fmla="*/ 99003 w 179974"/>
                      <a:gd name="connsiteY2" fmla="*/ 26762 h 84981"/>
                      <a:gd name="connsiteX3" fmla="*/ 95705 w 179974"/>
                      <a:gd name="connsiteY3" fmla="*/ 22927 h 84981"/>
                      <a:gd name="connsiteX4" fmla="*/ 89218 w 179974"/>
                      <a:gd name="connsiteY4" fmla="*/ 10575 h 84981"/>
                      <a:gd name="connsiteX5" fmla="*/ 83410 w 179974"/>
                      <a:gd name="connsiteY5" fmla="*/ 19 h 84981"/>
                      <a:gd name="connsiteX6" fmla="*/ 77637 w 179974"/>
                      <a:gd name="connsiteY6" fmla="*/ 9279 h 84981"/>
                      <a:gd name="connsiteX7" fmla="*/ 59708 w 179974"/>
                      <a:gd name="connsiteY7" fmla="*/ 20809 h 84981"/>
                      <a:gd name="connsiteX8" fmla="*/ 44369 w 179974"/>
                      <a:gd name="connsiteY8" fmla="*/ 32156 h 84981"/>
                      <a:gd name="connsiteX9" fmla="*/ 10293 w 179974"/>
                      <a:gd name="connsiteY9" fmla="*/ 37638 h 84981"/>
                      <a:gd name="connsiteX10" fmla="*/ 5125 w 179974"/>
                      <a:gd name="connsiteY10" fmla="*/ 32678 h 84981"/>
                      <a:gd name="connsiteX11" fmla="*/ 91 w 179974"/>
                      <a:gd name="connsiteY11" fmla="*/ 38552 h 84981"/>
                      <a:gd name="connsiteX12" fmla="*/ 5353 w 179974"/>
                      <a:gd name="connsiteY12" fmla="*/ 48677 h 84981"/>
                      <a:gd name="connsiteX13" fmla="*/ 3572 w 179974"/>
                      <a:gd name="connsiteY13" fmla="*/ 61597 h 84981"/>
                      <a:gd name="connsiteX14" fmla="*/ 3677 w 179974"/>
                      <a:gd name="connsiteY14" fmla="*/ 63776 h 84981"/>
                      <a:gd name="connsiteX15" fmla="*/ 45688 w 179974"/>
                      <a:gd name="connsiteY15" fmla="*/ 59513 h 84981"/>
                      <a:gd name="connsiteX16" fmla="*/ 58574 w 179974"/>
                      <a:gd name="connsiteY16" fmla="*/ 59227 h 84981"/>
                      <a:gd name="connsiteX17" fmla="*/ 68848 w 179974"/>
                      <a:gd name="connsiteY17" fmla="*/ 62731 h 84981"/>
                      <a:gd name="connsiteX18" fmla="*/ 19342 w 179974"/>
                      <a:gd name="connsiteY18" fmla="*/ 82664 h 84981"/>
                      <a:gd name="connsiteX19" fmla="*/ 20675 w 179974"/>
                      <a:gd name="connsiteY19" fmla="*/ 84980 h 84981"/>
                      <a:gd name="connsiteX20" fmla="*/ 90760 w 179974"/>
                      <a:gd name="connsiteY20" fmla="*/ 80845 h 84981"/>
                      <a:gd name="connsiteX21" fmla="*/ 155139 w 179974"/>
                      <a:gd name="connsiteY21" fmla="*/ 60430 h 84981"/>
                      <a:gd name="connsiteX22" fmla="*/ 178830 w 179974"/>
                      <a:gd name="connsiteY22" fmla="*/ 50898 h 84981"/>
                      <a:gd name="connsiteX23" fmla="*/ 178782 w 179974"/>
                      <a:gd name="connsiteY23" fmla="*/ 47523 h 84981"/>
                      <a:gd name="connsiteX24" fmla="*/ 106161 w 179974"/>
                      <a:gd name="connsiteY24" fmla="*/ 46087 h 84981"/>
                      <a:gd name="connsiteX25" fmla="*/ 106161 w 179974"/>
                      <a:gd name="connsiteY25" fmla="*/ 46087 h 84981"/>
                      <a:gd name="connsiteX26" fmla="*/ 106161 w 179974"/>
                      <a:gd name="connsiteY26" fmla="*/ 46087 h 84981"/>
                      <a:gd name="connsiteX27" fmla="*/ 106161 w 179974"/>
                      <a:gd name="connsiteY27" fmla="*/ 46087 h 8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974" h="84981">
                        <a:moveTo>
                          <a:pt x="178782" y="47523"/>
                        </a:moveTo>
                        <a:cubicBezTo>
                          <a:pt x="153780" y="40468"/>
                          <a:pt x="146853" y="54987"/>
                          <a:pt x="118200" y="40322"/>
                        </a:cubicBezTo>
                        <a:cubicBezTo>
                          <a:pt x="115867" y="39803"/>
                          <a:pt x="100174" y="28507"/>
                          <a:pt x="99003" y="26762"/>
                        </a:cubicBezTo>
                        <a:cubicBezTo>
                          <a:pt x="98472" y="26203"/>
                          <a:pt x="96705" y="24001"/>
                          <a:pt x="95705" y="22927"/>
                        </a:cubicBezTo>
                        <a:cubicBezTo>
                          <a:pt x="92641" y="19381"/>
                          <a:pt x="90977" y="15104"/>
                          <a:pt x="89218" y="10575"/>
                        </a:cubicBezTo>
                        <a:cubicBezTo>
                          <a:pt x="87713" y="7674"/>
                          <a:pt x="86494" y="1421"/>
                          <a:pt x="83410" y="19"/>
                        </a:cubicBezTo>
                        <a:cubicBezTo>
                          <a:pt x="81431" y="-444"/>
                          <a:pt x="77128" y="7700"/>
                          <a:pt x="77637" y="9279"/>
                        </a:cubicBezTo>
                        <a:cubicBezTo>
                          <a:pt x="77839" y="9776"/>
                          <a:pt x="65030" y="16820"/>
                          <a:pt x="59708" y="20809"/>
                        </a:cubicBezTo>
                        <a:cubicBezTo>
                          <a:pt x="54394" y="24347"/>
                          <a:pt x="49740" y="27259"/>
                          <a:pt x="44369" y="32156"/>
                        </a:cubicBezTo>
                        <a:cubicBezTo>
                          <a:pt x="33093" y="42607"/>
                          <a:pt x="19984" y="50861"/>
                          <a:pt x="10293" y="37638"/>
                        </a:cubicBezTo>
                        <a:cubicBezTo>
                          <a:pt x="8751" y="35888"/>
                          <a:pt x="7155" y="34075"/>
                          <a:pt x="5125" y="32678"/>
                        </a:cubicBezTo>
                        <a:cubicBezTo>
                          <a:pt x="1833" y="30985"/>
                          <a:pt x="-497" y="36014"/>
                          <a:pt x="91" y="38552"/>
                        </a:cubicBezTo>
                        <a:cubicBezTo>
                          <a:pt x="876" y="42452"/>
                          <a:pt x="4608" y="44985"/>
                          <a:pt x="5353" y="48677"/>
                        </a:cubicBezTo>
                        <a:cubicBezTo>
                          <a:pt x="6301" y="51938"/>
                          <a:pt x="5442" y="58117"/>
                          <a:pt x="3572" y="61597"/>
                        </a:cubicBezTo>
                        <a:cubicBezTo>
                          <a:pt x="3186" y="62308"/>
                          <a:pt x="3229" y="63142"/>
                          <a:pt x="3677" y="63776"/>
                        </a:cubicBezTo>
                        <a:cubicBezTo>
                          <a:pt x="6427" y="67080"/>
                          <a:pt x="36402" y="59165"/>
                          <a:pt x="45688" y="59513"/>
                        </a:cubicBezTo>
                        <a:cubicBezTo>
                          <a:pt x="50531" y="58985"/>
                          <a:pt x="54745" y="58893"/>
                          <a:pt x="58574" y="59227"/>
                        </a:cubicBezTo>
                        <a:cubicBezTo>
                          <a:pt x="62523" y="58063"/>
                          <a:pt x="66572" y="59739"/>
                          <a:pt x="68848" y="62731"/>
                        </a:cubicBezTo>
                        <a:cubicBezTo>
                          <a:pt x="69633" y="64818"/>
                          <a:pt x="57438" y="70849"/>
                          <a:pt x="19342" y="82664"/>
                        </a:cubicBezTo>
                        <a:cubicBezTo>
                          <a:pt x="18674" y="83829"/>
                          <a:pt x="19288" y="85023"/>
                          <a:pt x="20675" y="84980"/>
                        </a:cubicBezTo>
                        <a:cubicBezTo>
                          <a:pt x="52615" y="77981"/>
                          <a:pt x="70278" y="82170"/>
                          <a:pt x="90760" y="80845"/>
                        </a:cubicBezTo>
                        <a:cubicBezTo>
                          <a:pt x="107344" y="79772"/>
                          <a:pt x="124370" y="72256"/>
                          <a:pt x="155139" y="60430"/>
                        </a:cubicBezTo>
                        <a:cubicBezTo>
                          <a:pt x="163020" y="57400"/>
                          <a:pt x="170989" y="53819"/>
                          <a:pt x="178830" y="50898"/>
                        </a:cubicBezTo>
                        <a:cubicBezTo>
                          <a:pt x="180355" y="50384"/>
                          <a:pt x="180372" y="47989"/>
                          <a:pt x="178782" y="47523"/>
                        </a:cubicBezTo>
                        <a:close/>
                        <a:moveTo>
                          <a:pt x="106161" y="46087"/>
                        </a:moveTo>
                        <a:cubicBezTo>
                          <a:pt x="106161" y="46087"/>
                          <a:pt x="106161" y="46087"/>
                          <a:pt x="106161" y="46087"/>
                        </a:cubicBezTo>
                        <a:lnTo>
                          <a:pt x="106161" y="46087"/>
                        </a:lnTo>
                        <a:cubicBezTo>
                          <a:pt x="106161" y="46087"/>
                          <a:pt x="106161" y="46087"/>
                          <a:pt x="106161" y="46087"/>
                        </a:cubicBezTo>
                        <a:close/>
                      </a:path>
                    </a:pathLst>
                  </a:custGeom>
                  <a:solidFill>
                    <a:srgbClr val="FFFFFF"/>
                  </a:solidFill>
                  <a:ln w="2826" cap="flat">
                    <a:noFill/>
                    <a:prstDash val="solid"/>
                    <a:miter/>
                  </a:ln>
                </p:spPr>
                <p:txBody>
                  <a:bodyPr rtlCol="0" anchor="ctr"/>
                  <a:lstStyle/>
                  <a:p>
                    <a:endParaRPr lang="fr-CA"/>
                  </a:p>
                </p:txBody>
              </p:sp>
              <p:sp>
                <p:nvSpPr>
                  <p:cNvPr id="1667" name="Forme libre : forme 1666">
                    <a:extLst>
                      <a:ext uri="{FF2B5EF4-FFF2-40B4-BE49-F238E27FC236}">
                        <a16:creationId xmlns:a16="http://schemas.microsoft.com/office/drawing/2014/main" id="{B125B2CA-25AE-ADF1-D9C4-CF4CA6ADC17F}"/>
                      </a:ext>
                    </a:extLst>
                  </p:cNvPr>
                  <p:cNvSpPr/>
                  <p:nvPr/>
                </p:nvSpPr>
                <p:spPr>
                  <a:xfrm>
                    <a:off x="9555305" y="4555380"/>
                    <a:ext cx="83122" cy="73897"/>
                  </a:xfrm>
                  <a:custGeom>
                    <a:avLst/>
                    <a:gdLst>
                      <a:gd name="connsiteX0" fmla="*/ 69165 w 83122"/>
                      <a:gd name="connsiteY0" fmla="*/ 41321 h 73897"/>
                      <a:gd name="connsiteX1" fmla="*/ 49766 w 83122"/>
                      <a:gd name="connsiteY1" fmla="*/ 23286 h 73897"/>
                      <a:gd name="connsiteX2" fmla="*/ 36472 w 83122"/>
                      <a:gd name="connsiteY2" fmla="*/ 2023 h 73897"/>
                      <a:gd name="connsiteX3" fmla="*/ 30921 w 83122"/>
                      <a:gd name="connsiteY3" fmla="*/ 218 h 73897"/>
                      <a:gd name="connsiteX4" fmla="*/ 37 w 83122"/>
                      <a:gd name="connsiteY4" fmla="*/ 7742 h 73897"/>
                      <a:gd name="connsiteX5" fmla="*/ 11710 w 83122"/>
                      <a:gd name="connsiteY5" fmla="*/ 72427 h 73897"/>
                      <a:gd name="connsiteX6" fmla="*/ 13472 w 83122"/>
                      <a:gd name="connsiteY6" fmla="*/ 73897 h 73897"/>
                      <a:gd name="connsiteX7" fmla="*/ 26981 w 83122"/>
                      <a:gd name="connsiteY7" fmla="*/ 72427 h 73897"/>
                      <a:gd name="connsiteX8" fmla="*/ 32951 w 83122"/>
                      <a:gd name="connsiteY8" fmla="*/ 67216 h 73897"/>
                      <a:gd name="connsiteX9" fmla="*/ 74534 w 83122"/>
                      <a:gd name="connsiteY9" fmla="*/ 51683 h 73897"/>
                      <a:gd name="connsiteX10" fmla="*/ 83071 w 83122"/>
                      <a:gd name="connsiteY10" fmla="*/ 51300 h 73897"/>
                      <a:gd name="connsiteX11" fmla="*/ 69165 w 83122"/>
                      <a:gd name="connsiteY11" fmla="*/ 41321 h 7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122" h="73897">
                        <a:moveTo>
                          <a:pt x="69165" y="41321"/>
                        </a:moveTo>
                        <a:cubicBezTo>
                          <a:pt x="60203" y="38802"/>
                          <a:pt x="54852" y="30970"/>
                          <a:pt x="49766" y="23286"/>
                        </a:cubicBezTo>
                        <a:cubicBezTo>
                          <a:pt x="45075" y="16331"/>
                          <a:pt x="40218" y="9746"/>
                          <a:pt x="36472" y="2023"/>
                        </a:cubicBezTo>
                        <a:cubicBezTo>
                          <a:pt x="35812" y="503"/>
                          <a:pt x="31749" y="-453"/>
                          <a:pt x="30921" y="218"/>
                        </a:cubicBezTo>
                        <a:cubicBezTo>
                          <a:pt x="15910" y="12536"/>
                          <a:pt x="-899" y="2202"/>
                          <a:pt x="37" y="7742"/>
                        </a:cubicBezTo>
                        <a:cubicBezTo>
                          <a:pt x="3432" y="25611"/>
                          <a:pt x="7399" y="48593"/>
                          <a:pt x="11710" y="72427"/>
                        </a:cubicBezTo>
                        <a:cubicBezTo>
                          <a:pt x="11847" y="73261"/>
                          <a:pt x="12630" y="73912"/>
                          <a:pt x="13472" y="73897"/>
                        </a:cubicBezTo>
                        <a:cubicBezTo>
                          <a:pt x="16330" y="73166"/>
                          <a:pt x="23794" y="72712"/>
                          <a:pt x="26981" y="72427"/>
                        </a:cubicBezTo>
                        <a:cubicBezTo>
                          <a:pt x="29056" y="71999"/>
                          <a:pt x="31683" y="67993"/>
                          <a:pt x="32951" y="67216"/>
                        </a:cubicBezTo>
                        <a:cubicBezTo>
                          <a:pt x="46317" y="59047"/>
                          <a:pt x="56065" y="47597"/>
                          <a:pt x="74534" y="51683"/>
                        </a:cubicBezTo>
                        <a:cubicBezTo>
                          <a:pt x="77255" y="51671"/>
                          <a:pt x="83765" y="56537"/>
                          <a:pt x="83071" y="51300"/>
                        </a:cubicBezTo>
                        <a:cubicBezTo>
                          <a:pt x="80367" y="45315"/>
                          <a:pt x="74416" y="43194"/>
                          <a:pt x="69165" y="41321"/>
                        </a:cubicBezTo>
                        <a:close/>
                      </a:path>
                    </a:pathLst>
                  </a:custGeom>
                  <a:solidFill>
                    <a:srgbClr val="FFFFFF"/>
                  </a:solidFill>
                  <a:ln w="2826" cap="flat">
                    <a:noFill/>
                    <a:prstDash val="solid"/>
                    <a:miter/>
                  </a:ln>
                </p:spPr>
                <p:txBody>
                  <a:bodyPr rtlCol="0" anchor="ctr"/>
                  <a:lstStyle/>
                  <a:p>
                    <a:endParaRPr lang="fr-CA"/>
                  </a:p>
                </p:txBody>
              </p:sp>
              <p:sp>
                <p:nvSpPr>
                  <p:cNvPr id="1668" name="Forme libre : forme 1667">
                    <a:extLst>
                      <a:ext uri="{FF2B5EF4-FFF2-40B4-BE49-F238E27FC236}">
                        <a16:creationId xmlns:a16="http://schemas.microsoft.com/office/drawing/2014/main" id="{D12236A8-316B-F92C-2CF6-6FC5906FF79D}"/>
                      </a:ext>
                    </a:extLst>
                  </p:cNvPr>
                  <p:cNvSpPr/>
                  <p:nvPr/>
                </p:nvSpPr>
                <p:spPr>
                  <a:xfrm>
                    <a:off x="9534091" y="4580752"/>
                    <a:ext cx="18419" cy="49443"/>
                  </a:xfrm>
                  <a:custGeom>
                    <a:avLst/>
                    <a:gdLst>
                      <a:gd name="connsiteX0" fmla="*/ 10496 w 18419"/>
                      <a:gd name="connsiteY0" fmla="*/ 2632 h 49443"/>
                      <a:gd name="connsiteX1" fmla="*/ 5305 w 18419"/>
                      <a:gd name="connsiteY1" fmla="*/ 559 h 49443"/>
                      <a:gd name="connsiteX2" fmla="*/ 1404 w 18419"/>
                      <a:gd name="connsiteY2" fmla="*/ 339 h 49443"/>
                      <a:gd name="connsiteX3" fmla="*/ 3891 w 18419"/>
                      <a:gd name="connsiteY3" fmla="*/ 37407 h 49443"/>
                      <a:gd name="connsiteX4" fmla="*/ 6010 w 18419"/>
                      <a:gd name="connsiteY4" fmla="*/ 46079 h 49443"/>
                      <a:gd name="connsiteX5" fmla="*/ 18419 w 18419"/>
                      <a:gd name="connsiteY5" fmla="*/ 48954 h 49443"/>
                      <a:gd name="connsiteX6" fmla="*/ 10496 w 18419"/>
                      <a:gd name="connsiteY6" fmla="*/ 2632 h 4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19" h="49443">
                        <a:moveTo>
                          <a:pt x="10496" y="2632"/>
                        </a:moveTo>
                        <a:cubicBezTo>
                          <a:pt x="9876" y="407"/>
                          <a:pt x="7106" y="1381"/>
                          <a:pt x="5305" y="559"/>
                        </a:cubicBezTo>
                        <a:cubicBezTo>
                          <a:pt x="4080" y="376"/>
                          <a:pt x="2569" y="-458"/>
                          <a:pt x="1404" y="339"/>
                        </a:cubicBezTo>
                        <a:cubicBezTo>
                          <a:pt x="-2122" y="12257"/>
                          <a:pt x="1861" y="25617"/>
                          <a:pt x="3891" y="37407"/>
                        </a:cubicBezTo>
                        <a:cubicBezTo>
                          <a:pt x="4705" y="39477"/>
                          <a:pt x="4414" y="44931"/>
                          <a:pt x="6010" y="46079"/>
                        </a:cubicBezTo>
                        <a:cubicBezTo>
                          <a:pt x="9034" y="47589"/>
                          <a:pt x="15136" y="50630"/>
                          <a:pt x="18419" y="48954"/>
                        </a:cubicBezTo>
                        <a:cubicBezTo>
                          <a:pt x="17851" y="34794"/>
                          <a:pt x="13068" y="19715"/>
                          <a:pt x="10496" y="2632"/>
                        </a:cubicBezTo>
                        <a:close/>
                      </a:path>
                    </a:pathLst>
                  </a:custGeom>
                  <a:solidFill>
                    <a:srgbClr val="FFFFFF"/>
                  </a:solidFill>
                  <a:ln w="2826" cap="flat">
                    <a:noFill/>
                    <a:prstDash val="solid"/>
                    <a:miter/>
                  </a:ln>
                </p:spPr>
                <p:txBody>
                  <a:bodyPr rtlCol="0" anchor="ctr"/>
                  <a:lstStyle/>
                  <a:p>
                    <a:endParaRPr lang="fr-CA"/>
                  </a:p>
                </p:txBody>
              </p:sp>
            </p:grpSp>
            <p:grpSp>
              <p:nvGrpSpPr>
                <p:cNvPr id="1628" name="Graphique 35" descr="Garçon dans un fauteuil roulant">
                  <a:extLst>
                    <a:ext uri="{FF2B5EF4-FFF2-40B4-BE49-F238E27FC236}">
                      <a16:creationId xmlns:a16="http://schemas.microsoft.com/office/drawing/2014/main" id="{68DF00E5-F58F-8CD0-E3C6-A89A6986AFE0}"/>
                    </a:ext>
                  </a:extLst>
                </p:cNvPr>
                <p:cNvGrpSpPr/>
                <p:nvPr/>
              </p:nvGrpSpPr>
              <p:grpSpPr>
                <a:xfrm>
                  <a:off x="9273740" y="4065232"/>
                  <a:ext cx="445587" cy="302515"/>
                  <a:chOff x="9273740" y="4065232"/>
                  <a:chExt cx="445587" cy="302515"/>
                </a:xfrm>
                <a:solidFill>
                  <a:srgbClr val="FFFFFF"/>
                </a:solidFill>
              </p:grpSpPr>
              <p:sp>
                <p:nvSpPr>
                  <p:cNvPr id="1662" name="Forme libre : forme 1661">
                    <a:extLst>
                      <a:ext uri="{FF2B5EF4-FFF2-40B4-BE49-F238E27FC236}">
                        <a16:creationId xmlns:a16="http://schemas.microsoft.com/office/drawing/2014/main" id="{59815F88-6C6F-8D84-BDD3-2C42C6E33D1C}"/>
                      </a:ext>
                    </a:extLst>
                  </p:cNvPr>
                  <p:cNvSpPr/>
                  <p:nvPr/>
                </p:nvSpPr>
                <p:spPr>
                  <a:xfrm>
                    <a:off x="9576589" y="4227399"/>
                    <a:ext cx="142737" cy="40853"/>
                  </a:xfrm>
                  <a:custGeom>
                    <a:avLst/>
                    <a:gdLst>
                      <a:gd name="connsiteX0" fmla="*/ 139752 w 142737"/>
                      <a:gd name="connsiteY0" fmla="*/ 23231 h 40853"/>
                      <a:gd name="connsiteX1" fmla="*/ 122846 w 142737"/>
                      <a:gd name="connsiteY1" fmla="*/ 15062 h 40853"/>
                      <a:gd name="connsiteX2" fmla="*/ 100155 w 142737"/>
                      <a:gd name="connsiteY2" fmla="*/ 13577 h 40853"/>
                      <a:gd name="connsiteX3" fmla="*/ 911 w 142737"/>
                      <a:gd name="connsiteY3" fmla="*/ 6 h 40853"/>
                      <a:gd name="connsiteX4" fmla="*/ 3455 w 142737"/>
                      <a:gd name="connsiteY4" fmla="*/ 7641 h 40853"/>
                      <a:gd name="connsiteX5" fmla="*/ 95920 w 142737"/>
                      <a:gd name="connsiteY5" fmla="*/ 28905 h 40853"/>
                      <a:gd name="connsiteX6" fmla="*/ 139752 w 142737"/>
                      <a:gd name="connsiteY6" fmla="*/ 23231 h 4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37" h="40853">
                        <a:moveTo>
                          <a:pt x="139752" y="23231"/>
                        </a:moveTo>
                        <a:cubicBezTo>
                          <a:pt x="136629" y="9123"/>
                          <a:pt x="141294" y="13577"/>
                          <a:pt x="122846" y="15062"/>
                        </a:cubicBezTo>
                        <a:cubicBezTo>
                          <a:pt x="121447" y="15173"/>
                          <a:pt x="100803" y="13392"/>
                          <a:pt x="100155" y="13577"/>
                        </a:cubicBezTo>
                        <a:cubicBezTo>
                          <a:pt x="96474" y="14605"/>
                          <a:pt x="4874" y="-337"/>
                          <a:pt x="911" y="6"/>
                        </a:cubicBezTo>
                        <a:cubicBezTo>
                          <a:pt x="-1473" y="668"/>
                          <a:pt x="1337" y="3823"/>
                          <a:pt x="3455" y="7641"/>
                        </a:cubicBezTo>
                        <a:cubicBezTo>
                          <a:pt x="3884" y="8412"/>
                          <a:pt x="95049" y="28768"/>
                          <a:pt x="95920" y="28905"/>
                        </a:cubicBezTo>
                        <a:cubicBezTo>
                          <a:pt x="144264" y="36480"/>
                          <a:pt x="146948" y="54206"/>
                          <a:pt x="139752" y="23231"/>
                        </a:cubicBezTo>
                        <a:close/>
                      </a:path>
                    </a:pathLst>
                  </a:custGeom>
                  <a:solidFill>
                    <a:srgbClr val="FFFFFF"/>
                  </a:solidFill>
                  <a:ln w="2826" cap="flat">
                    <a:noFill/>
                    <a:prstDash val="solid"/>
                    <a:miter/>
                  </a:ln>
                </p:spPr>
                <p:txBody>
                  <a:bodyPr rtlCol="0" anchor="ctr"/>
                  <a:lstStyle/>
                  <a:p>
                    <a:endParaRPr lang="fr-CA"/>
                  </a:p>
                </p:txBody>
              </p:sp>
              <p:sp>
                <p:nvSpPr>
                  <p:cNvPr id="1663" name="Forme libre : forme 1662">
                    <a:extLst>
                      <a:ext uri="{FF2B5EF4-FFF2-40B4-BE49-F238E27FC236}">
                        <a16:creationId xmlns:a16="http://schemas.microsoft.com/office/drawing/2014/main" id="{07141AAC-7BD9-39C7-8565-35C9207FC3CF}"/>
                      </a:ext>
                    </a:extLst>
                  </p:cNvPr>
                  <p:cNvSpPr/>
                  <p:nvPr/>
                </p:nvSpPr>
                <p:spPr>
                  <a:xfrm>
                    <a:off x="9301435" y="4261725"/>
                    <a:ext cx="160284" cy="106022"/>
                  </a:xfrm>
                  <a:custGeom>
                    <a:avLst/>
                    <a:gdLst>
                      <a:gd name="connsiteX0" fmla="*/ 158654 w 160284"/>
                      <a:gd name="connsiteY0" fmla="*/ 3150 h 106022"/>
                      <a:gd name="connsiteX1" fmla="*/ 142473 w 160284"/>
                      <a:gd name="connsiteY1" fmla="*/ 860 h 106022"/>
                      <a:gd name="connsiteX2" fmla="*/ 135457 w 160284"/>
                      <a:gd name="connsiteY2" fmla="*/ 1111 h 106022"/>
                      <a:gd name="connsiteX3" fmla="*/ 92493 w 160284"/>
                      <a:gd name="connsiteY3" fmla="*/ 11833 h 106022"/>
                      <a:gd name="connsiteX4" fmla="*/ 2175 w 160284"/>
                      <a:gd name="connsiteY4" fmla="*/ 3413 h 106022"/>
                      <a:gd name="connsiteX5" fmla="*/ 759 w 160284"/>
                      <a:gd name="connsiteY5" fmla="*/ 6625 h 106022"/>
                      <a:gd name="connsiteX6" fmla="*/ 62768 w 160284"/>
                      <a:gd name="connsiteY6" fmla="*/ 90238 h 106022"/>
                      <a:gd name="connsiteX7" fmla="*/ 155373 w 160284"/>
                      <a:gd name="connsiteY7" fmla="*/ 106022 h 106022"/>
                      <a:gd name="connsiteX8" fmla="*/ 159145 w 160284"/>
                      <a:gd name="connsiteY8" fmla="*/ 90806 h 106022"/>
                      <a:gd name="connsiteX9" fmla="*/ 160284 w 160284"/>
                      <a:gd name="connsiteY9" fmla="*/ 4960 h 106022"/>
                      <a:gd name="connsiteX10" fmla="*/ 158654 w 160284"/>
                      <a:gd name="connsiteY10" fmla="*/ 3150 h 10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284" h="106022">
                        <a:moveTo>
                          <a:pt x="158654" y="3150"/>
                        </a:moveTo>
                        <a:cubicBezTo>
                          <a:pt x="153203" y="2670"/>
                          <a:pt x="147992" y="1791"/>
                          <a:pt x="142473" y="860"/>
                        </a:cubicBezTo>
                        <a:cubicBezTo>
                          <a:pt x="140328" y="891"/>
                          <a:pt x="136833" y="-1250"/>
                          <a:pt x="135457" y="1111"/>
                        </a:cubicBezTo>
                        <a:cubicBezTo>
                          <a:pt x="128721" y="17704"/>
                          <a:pt x="107663" y="14143"/>
                          <a:pt x="92493" y="11833"/>
                        </a:cubicBezTo>
                        <a:cubicBezTo>
                          <a:pt x="62320" y="9449"/>
                          <a:pt x="31999" y="10068"/>
                          <a:pt x="2175" y="3413"/>
                        </a:cubicBezTo>
                        <a:cubicBezTo>
                          <a:pt x="370" y="2953"/>
                          <a:pt x="-872" y="5568"/>
                          <a:pt x="759" y="6625"/>
                        </a:cubicBezTo>
                        <a:cubicBezTo>
                          <a:pt x="32025" y="28471"/>
                          <a:pt x="51738" y="64152"/>
                          <a:pt x="62768" y="90238"/>
                        </a:cubicBezTo>
                        <a:cubicBezTo>
                          <a:pt x="92935" y="96583"/>
                          <a:pt x="124658" y="100280"/>
                          <a:pt x="155373" y="106022"/>
                        </a:cubicBezTo>
                        <a:cubicBezTo>
                          <a:pt x="159522" y="106011"/>
                          <a:pt x="158934" y="93850"/>
                          <a:pt x="159145" y="90806"/>
                        </a:cubicBezTo>
                        <a:cubicBezTo>
                          <a:pt x="159042" y="61944"/>
                          <a:pt x="159827" y="33594"/>
                          <a:pt x="160284" y="4960"/>
                        </a:cubicBezTo>
                        <a:cubicBezTo>
                          <a:pt x="160301" y="4021"/>
                          <a:pt x="159587" y="3230"/>
                          <a:pt x="158654" y="3150"/>
                        </a:cubicBezTo>
                        <a:close/>
                      </a:path>
                    </a:pathLst>
                  </a:custGeom>
                  <a:solidFill>
                    <a:srgbClr val="FFFFFF"/>
                  </a:solidFill>
                  <a:ln w="2826" cap="flat">
                    <a:noFill/>
                    <a:prstDash val="solid"/>
                    <a:miter/>
                  </a:ln>
                </p:spPr>
                <p:txBody>
                  <a:bodyPr rtlCol="0" anchor="ctr"/>
                  <a:lstStyle/>
                  <a:p>
                    <a:endParaRPr lang="fr-CA"/>
                  </a:p>
                </p:txBody>
              </p:sp>
              <p:sp>
                <p:nvSpPr>
                  <p:cNvPr id="1664" name="Forme libre : forme 1663">
                    <a:extLst>
                      <a:ext uri="{FF2B5EF4-FFF2-40B4-BE49-F238E27FC236}">
                        <a16:creationId xmlns:a16="http://schemas.microsoft.com/office/drawing/2014/main" id="{01F7E7DA-3E1E-6481-2B86-6ADB42037F7F}"/>
                      </a:ext>
                    </a:extLst>
                  </p:cNvPr>
                  <p:cNvSpPr/>
                  <p:nvPr/>
                </p:nvSpPr>
                <p:spPr>
                  <a:xfrm>
                    <a:off x="9282459" y="4065232"/>
                    <a:ext cx="37648" cy="64890"/>
                  </a:xfrm>
                  <a:custGeom>
                    <a:avLst/>
                    <a:gdLst>
                      <a:gd name="connsiteX0" fmla="*/ 37648 w 37648"/>
                      <a:gd name="connsiteY0" fmla="*/ 5336 h 64890"/>
                      <a:gd name="connsiteX1" fmla="*/ 22492 w 37648"/>
                      <a:gd name="connsiteY1" fmla="*/ 2649 h 64890"/>
                      <a:gd name="connsiteX2" fmla="*/ 2091 w 37648"/>
                      <a:gd name="connsiteY2" fmla="*/ 31 h 64890"/>
                      <a:gd name="connsiteX3" fmla="*/ 126 w 37648"/>
                      <a:gd name="connsiteY3" fmla="*/ 2438 h 64890"/>
                      <a:gd name="connsiteX4" fmla="*/ 7316 w 37648"/>
                      <a:gd name="connsiteY4" fmla="*/ 63257 h 64890"/>
                      <a:gd name="connsiteX5" fmla="*/ 10857 w 37648"/>
                      <a:gd name="connsiteY5" fmla="*/ 63488 h 64890"/>
                      <a:gd name="connsiteX6" fmla="*/ 37648 w 37648"/>
                      <a:gd name="connsiteY6" fmla="*/ 5336 h 6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48" h="64890">
                        <a:moveTo>
                          <a:pt x="37648" y="5336"/>
                        </a:moveTo>
                        <a:cubicBezTo>
                          <a:pt x="36266" y="3118"/>
                          <a:pt x="25510" y="3437"/>
                          <a:pt x="22492" y="2649"/>
                        </a:cubicBezTo>
                        <a:cubicBezTo>
                          <a:pt x="15813" y="1918"/>
                          <a:pt x="8903" y="1164"/>
                          <a:pt x="2091" y="31"/>
                        </a:cubicBezTo>
                        <a:cubicBezTo>
                          <a:pt x="777" y="-229"/>
                          <a:pt x="-394" y="1199"/>
                          <a:pt x="126" y="2438"/>
                        </a:cubicBezTo>
                        <a:cubicBezTo>
                          <a:pt x="6782" y="21911"/>
                          <a:pt x="5711" y="43013"/>
                          <a:pt x="7316" y="63257"/>
                        </a:cubicBezTo>
                        <a:cubicBezTo>
                          <a:pt x="7402" y="65270"/>
                          <a:pt x="10505" y="65510"/>
                          <a:pt x="10857" y="63488"/>
                        </a:cubicBezTo>
                        <a:cubicBezTo>
                          <a:pt x="13621" y="44863"/>
                          <a:pt x="25582" y="25975"/>
                          <a:pt x="37648" y="5336"/>
                        </a:cubicBezTo>
                        <a:close/>
                      </a:path>
                    </a:pathLst>
                  </a:custGeom>
                  <a:solidFill>
                    <a:srgbClr val="FFFFFF"/>
                  </a:solidFill>
                  <a:ln w="2826" cap="flat">
                    <a:noFill/>
                    <a:prstDash val="solid"/>
                    <a:miter/>
                  </a:ln>
                </p:spPr>
                <p:txBody>
                  <a:bodyPr rtlCol="0" anchor="ctr"/>
                  <a:lstStyle/>
                  <a:p>
                    <a:endParaRPr lang="fr-CA"/>
                  </a:p>
                </p:txBody>
              </p:sp>
              <p:sp>
                <p:nvSpPr>
                  <p:cNvPr id="1665" name="Forme libre : forme 1664">
                    <a:extLst>
                      <a:ext uri="{FF2B5EF4-FFF2-40B4-BE49-F238E27FC236}">
                        <a16:creationId xmlns:a16="http://schemas.microsoft.com/office/drawing/2014/main" id="{60F3E60A-40D5-0C31-7CDD-2D4FFA1A1060}"/>
                      </a:ext>
                    </a:extLst>
                  </p:cNvPr>
                  <p:cNvSpPr/>
                  <p:nvPr/>
                </p:nvSpPr>
                <p:spPr>
                  <a:xfrm>
                    <a:off x="9273740" y="4273588"/>
                    <a:ext cx="70301" cy="75161"/>
                  </a:xfrm>
                  <a:custGeom>
                    <a:avLst/>
                    <a:gdLst>
                      <a:gd name="connsiteX0" fmla="*/ 70162 w 70301"/>
                      <a:gd name="connsiteY0" fmla="*/ 72713 h 75161"/>
                      <a:gd name="connsiteX1" fmla="*/ 2390 w 70301"/>
                      <a:gd name="connsiteY1" fmla="*/ 107 h 75161"/>
                      <a:gd name="connsiteX2" fmla="*/ 3 w 70301"/>
                      <a:gd name="connsiteY2" fmla="*/ 1843 h 75161"/>
                      <a:gd name="connsiteX3" fmla="*/ 3855 w 70301"/>
                      <a:gd name="connsiteY3" fmla="*/ 62822 h 75161"/>
                      <a:gd name="connsiteX4" fmla="*/ 5494 w 70301"/>
                      <a:gd name="connsiteY4" fmla="*/ 64898 h 75161"/>
                      <a:gd name="connsiteX5" fmla="*/ 39864 w 70301"/>
                      <a:gd name="connsiteY5" fmla="*/ 69955 h 75161"/>
                      <a:gd name="connsiteX6" fmla="*/ 48133 w 70301"/>
                      <a:gd name="connsiteY6" fmla="*/ 72022 h 75161"/>
                      <a:gd name="connsiteX7" fmla="*/ 58315 w 70301"/>
                      <a:gd name="connsiteY7" fmla="*/ 73090 h 75161"/>
                      <a:gd name="connsiteX8" fmla="*/ 70162 w 70301"/>
                      <a:gd name="connsiteY8" fmla="*/ 72713 h 7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01" h="75161">
                        <a:moveTo>
                          <a:pt x="70162" y="72713"/>
                        </a:moveTo>
                        <a:cubicBezTo>
                          <a:pt x="54837" y="41173"/>
                          <a:pt x="32934" y="11468"/>
                          <a:pt x="2390" y="107"/>
                        </a:cubicBezTo>
                        <a:cubicBezTo>
                          <a:pt x="1256" y="-327"/>
                          <a:pt x="-71" y="621"/>
                          <a:pt x="3" y="1843"/>
                        </a:cubicBezTo>
                        <a:cubicBezTo>
                          <a:pt x="100" y="5272"/>
                          <a:pt x="4143" y="57865"/>
                          <a:pt x="3855" y="62822"/>
                        </a:cubicBezTo>
                        <a:cubicBezTo>
                          <a:pt x="3666" y="63827"/>
                          <a:pt x="4469" y="64849"/>
                          <a:pt x="5494" y="64898"/>
                        </a:cubicBezTo>
                        <a:cubicBezTo>
                          <a:pt x="16684" y="65692"/>
                          <a:pt x="28728" y="68638"/>
                          <a:pt x="39864" y="69955"/>
                        </a:cubicBezTo>
                        <a:cubicBezTo>
                          <a:pt x="40143" y="69889"/>
                          <a:pt x="47944" y="72162"/>
                          <a:pt x="48133" y="72022"/>
                        </a:cubicBezTo>
                        <a:cubicBezTo>
                          <a:pt x="53364" y="73207"/>
                          <a:pt x="53926" y="71357"/>
                          <a:pt x="58315" y="73090"/>
                        </a:cubicBezTo>
                        <a:cubicBezTo>
                          <a:pt x="60853" y="73207"/>
                          <a:pt x="71649" y="77930"/>
                          <a:pt x="70162" y="72713"/>
                        </a:cubicBezTo>
                        <a:close/>
                      </a:path>
                    </a:pathLst>
                  </a:custGeom>
                  <a:solidFill>
                    <a:srgbClr val="FFFFFF"/>
                  </a:solidFill>
                  <a:ln w="2826" cap="flat">
                    <a:noFill/>
                    <a:prstDash val="solid"/>
                    <a:miter/>
                  </a:ln>
                </p:spPr>
                <p:txBody>
                  <a:bodyPr rtlCol="0" anchor="ctr"/>
                  <a:lstStyle/>
                  <a:p>
                    <a:endParaRPr lang="fr-CA"/>
                  </a:p>
                </p:txBody>
              </p:sp>
            </p:grpSp>
            <p:grpSp>
              <p:nvGrpSpPr>
                <p:cNvPr id="1629" name="Graphique 35" descr="Garçon dans un fauteuil roulant">
                  <a:extLst>
                    <a:ext uri="{FF2B5EF4-FFF2-40B4-BE49-F238E27FC236}">
                      <a16:creationId xmlns:a16="http://schemas.microsoft.com/office/drawing/2014/main" id="{5FBA1B06-8988-8454-6F5D-06BE38655603}"/>
                    </a:ext>
                  </a:extLst>
                </p:cNvPr>
                <p:cNvGrpSpPr/>
                <p:nvPr/>
              </p:nvGrpSpPr>
              <p:grpSpPr>
                <a:xfrm>
                  <a:off x="9244017" y="4047030"/>
                  <a:ext cx="658452" cy="624853"/>
                  <a:chOff x="9244017" y="4047030"/>
                  <a:chExt cx="658452" cy="624853"/>
                </a:xfrm>
                <a:solidFill>
                  <a:srgbClr val="FFFFFF"/>
                </a:solidFill>
              </p:grpSpPr>
              <p:sp>
                <p:nvSpPr>
                  <p:cNvPr id="1652" name="Forme libre : forme 1651">
                    <a:extLst>
                      <a:ext uri="{FF2B5EF4-FFF2-40B4-BE49-F238E27FC236}">
                        <a16:creationId xmlns:a16="http://schemas.microsoft.com/office/drawing/2014/main" id="{E0E105F1-4D31-1649-C920-B43CA0BA1142}"/>
                      </a:ext>
                    </a:extLst>
                  </p:cNvPr>
                  <p:cNvSpPr/>
                  <p:nvPr/>
                </p:nvSpPr>
                <p:spPr>
                  <a:xfrm>
                    <a:off x="9803164" y="4607910"/>
                    <a:ext cx="99305" cy="30576"/>
                  </a:xfrm>
                  <a:custGeom>
                    <a:avLst/>
                    <a:gdLst>
                      <a:gd name="connsiteX0" fmla="*/ 98276 w 99305"/>
                      <a:gd name="connsiteY0" fmla="*/ 5227 h 30576"/>
                      <a:gd name="connsiteX1" fmla="*/ 78894 w 99305"/>
                      <a:gd name="connsiteY1" fmla="*/ 3359 h 30576"/>
                      <a:gd name="connsiteX2" fmla="*/ 72969 w 99305"/>
                      <a:gd name="connsiteY2" fmla="*/ 1281 h 30576"/>
                      <a:gd name="connsiteX3" fmla="*/ 61328 w 99305"/>
                      <a:gd name="connsiteY3" fmla="*/ 1915 h 30576"/>
                      <a:gd name="connsiteX4" fmla="*/ 1194 w 99305"/>
                      <a:gd name="connsiteY4" fmla="*/ 27073 h 30576"/>
                      <a:gd name="connsiteX5" fmla="*/ 2139 w 99305"/>
                      <a:gd name="connsiteY5" fmla="*/ 30519 h 30576"/>
                      <a:gd name="connsiteX6" fmla="*/ 35918 w 99305"/>
                      <a:gd name="connsiteY6" fmla="*/ 26736 h 30576"/>
                      <a:gd name="connsiteX7" fmla="*/ 70331 w 99305"/>
                      <a:gd name="connsiteY7" fmla="*/ 21285 h 30576"/>
                      <a:gd name="connsiteX8" fmla="*/ 78251 w 99305"/>
                      <a:gd name="connsiteY8" fmla="*/ 19261 h 30576"/>
                      <a:gd name="connsiteX9" fmla="*/ 79650 w 99305"/>
                      <a:gd name="connsiteY9" fmla="*/ 16186 h 30576"/>
                      <a:gd name="connsiteX10" fmla="*/ 87962 w 99305"/>
                      <a:gd name="connsiteY10" fmla="*/ 16186 h 30576"/>
                      <a:gd name="connsiteX11" fmla="*/ 98442 w 99305"/>
                      <a:gd name="connsiteY11" fmla="*/ 14424 h 30576"/>
                      <a:gd name="connsiteX12" fmla="*/ 98276 w 99305"/>
                      <a:gd name="connsiteY12" fmla="*/ 5227 h 3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305" h="30576">
                        <a:moveTo>
                          <a:pt x="98276" y="5227"/>
                        </a:moveTo>
                        <a:cubicBezTo>
                          <a:pt x="96680" y="1769"/>
                          <a:pt x="81803" y="3693"/>
                          <a:pt x="78894" y="3359"/>
                        </a:cubicBezTo>
                        <a:cubicBezTo>
                          <a:pt x="77497" y="-641"/>
                          <a:pt x="75102" y="-709"/>
                          <a:pt x="72969" y="1281"/>
                        </a:cubicBezTo>
                        <a:cubicBezTo>
                          <a:pt x="72332" y="1875"/>
                          <a:pt x="63689" y="2317"/>
                          <a:pt x="61328" y="1915"/>
                        </a:cubicBezTo>
                        <a:cubicBezTo>
                          <a:pt x="35875" y="-7"/>
                          <a:pt x="22800" y="18775"/>
                          <a:pt x="1194" y="27073"/>
                        </a:cubicBezTo>
                        <a:cubicBezTo>
                          <a:pt x="-899" y="27713"/>
                          <a:pt x="-22" y="31053"/>
                          <a:pt x="2139" y="30519"/>
                        </a:cubicBezTo>
                        <a:cubicBezTo>
                          <a:pt x="13272" y="28052"/>
                          <a:pt x="24634" y="28024"/>
                          <a:pt x="35918" y="26736"/>
                        </a:cubicBezTo>
                        <a:cubicBezTo>
                          <a:pt x="47613" y="25814"/>
                          <a:pt x="58684" y="22110"/>
                          <a:pt x="70331" y="21285"/>
                        </a:cubicBezTo>
                        <a:cubicBezTo>
                          <a:pt x="72772" y="20560"/>
                          <a:pt x="78040" y="22659"/>
                          <a:pt x="78251" y="19261"/>
                        </a:cubicBezTo>
                        <a:cubicBezTo>
                          <a:pt x="78254" y="18327"/>
                          <a:pt x="78565" y="16129"/>
                          <a:pt x="79650" y="16186"/>
                        </a:cubicBezTo>
                        <a:cubicBezTo>
                          <a:pt x="82417" y="16583"/>
                          <a:pt x="85264" y="16026"/>
                          <a:pt x="87962" y="16186"/>
                        </a:cubicBezTo>
                        <a:cubicBezTo>
                          <a:pt x="89598" y="15934"/>
                          <a:pt x="97316" y="16288"/>
                          <a:pt x="98442" y="14424"/>
                        </a:cubicBezTo>
                        <a:cubicBezTo>
                          <a:pt x="100229" y="11697"/>
                          <a:pt x="98767" y="6694"/>
                          <a:pt x="98276" y="5227"/>
                        </a:cubicBezTo>
                        <a:close/>
                      </a:path>
                    </a:pathLst>
                  </a:custGeom>
                  <a:solidFill>
                    <a:srgbClr val="FFFFFF"/>
                  </a:solidFill>
                  <a:ln w="2826" cap="flat">
                    <a:noFill/>
                    <a:prstDash val="solid"/>
                    <a:miter/>
                  </a:ln>
                </p:spPr>
                <p:txBody>
                  <a:bodyPr rtlCol="0" anchor="ctr"/>
                  <a:lstStyle/>
                  <a:p>
                    <a:endParaRPr lang="fr-CA"/>
                  </a:p>
                </p:txBody>
              </p:sp>
              <p:sp>
                <p:nvSpPr>
                  <p:cNvPr id="1653" name="Forme libre : forme 1652">
                    <a:extLst>
                      <a:ext uri="{FF2B5EF4-FFF2-40B4-BE49-F238E27FC236}">
                        <a16:creationId xmlns:a16="http://schemas.microsoft.com/office/drawing/2014/main" id="{BB8410C8-2CFC-21BF-81B0-635F73948EF5}"/>
                      </a:ext>
                    </a:extLst>
                  </p:cNvPr>
                  <p:cNvSpPr/>
                  <p:nvPr/>
                </p:nvSpPr>
                <p:spPr>
                  <a:xfrm>
                    <a:off x="9749693" y="4363125"/>
                    <a:ext cx="84061" cy="231562"/>
                  </a:xfrm>
                  <a:custGeom>
                    <a:avLst/>
                    <a:gdLst>
                      <a:gd name="connsiteX0" fmla="*/ 84029 w 84061"/>
                      <a:gd name="connsiteY0" fmla="*/ 229370 h 231562"/>
                      <a:gd name="connsiteX1" fmla="*/ 36299 w 84061"/>
                      <a:gd name="connsiteY1" fmla="*/ 32528 h 231562"/>
                      <a:gd name="connsiteX2" fmla="*/ 11320 w 84061"/>
                      <a:gd name="connsiteY2" fmla="*/ 0 h 231562"/>
                      <a:gd name="connsiteX3" fmla="*/ 9224 w 84061"/>
                      <a:gd name="connsiteY3" fmla="*/ 10271 h 231562"/>
                      <a:gd name="connsiteX4" fmla="*/ 9650 w 84061"/>
                      <a:gd name="connsiteY4" fmla="*/ 16504 h 231562"/>
                      <a:gd name="connsiteX5" fmla="*/ 19349 w 84061"/>
                      <a:gd name="connsiteY5" fmla="*/ 28839 h 231562"/>
                      <a:gd name="connsiteX6" fmla="*/ 51581 w 84061"/>
                      <a:gd name="connsiteY6" fmla="*/ 145680 h 231562"/>
                      <a:gd name="connsiteX7" fmla="*/ 48306 w 84061"/>
                      <a:gd name="connsiteY7" fmla="*/ 146225 h 231562"/>
                      <a:gd name="connsiteX8" fmla="*/ 12876 w 84061"/>
                      <a:gd name="connsiteY8" fmla="*/ 142165 h 231562"/>
                      <a:gd name="connsiteX9" fmla="*/ 12702 w 84061"/>
                      <a:gd name="connsiteY9" fmla="*/ 132862 h 231562"/>
                      <a:gd name="connsiteX10" fmla="*/ 14290 w 84061"/>
                      <a:gd name="connsiteY10" fmla="*/ 128839 h 231562"/>
                      <a:gd name="connsiteX11" fmla="*/ 12868 w 84061"/>
                      <a:gd name="connsiteY11" fmla="*/ 124048 h 231562"/>
                      <a:gd name="connsiteX12" fmla="*/ 9890 w 84061"/>
                      <a:gd name="connsiteY12" fmla="*/ 117021 h 231562"/>
                      <a:gd name="connsiteX13" fmla="*/ 2788 w 84061"/>
                      <a:gd name="connsiteY13" fmla="*/ 110465 h 231562"/>
                      <a:gd name="connsiteX14" fmla="*/ 781 w 84061"/>
                      <a:gd name="connsiteY14" fmla="*/ 112141 h 231562"/>
                      <a:gd name="connsiteX15" fmla="*/ 7 w 84061"/>
                      <a:gd name="connsiteY15" fmla="*/ 130878 h 231562"/>
                      <a:gd name="connsiteX16" fmla="*/ 11212 w 84061"/>
                      <a:gd name="connsiteY16" fmla="*/ 155834 h 231562"/>
                      <a:gd name="connsiteX17" fmla="*/ 4367 w 84061"/>
                      <a:gd name="connsiteY17" fmla="*/ 168266 h 231562"/>
                      <a:gd name="connsiteX18" fmla="*/ 4270 w 84061"/>
                      <a:gd name="connsiteY18" fmla="*/ 199603 h 231562"/>
                      <a:gd name="connsiteX19" fmla="*/ 16837 w 84061"/>
                      <a:gd name="connsiteY19" fmla="*/ 218648 h 231562"/>
                      <a:gd name="connsiteX20" fmla="*/ 19744 w 84061"/>
                      <a:gd name="connsiteY20" fmla="*/ 216958 h 231562"/>
                      <a:gd name="connsiteX21" fmla="*/ 17282 w 84061"/>
                      <a:gd name="connsiteY21" fmla="*/ 190475 h 231562"/>
                      <a:gd name="connsiteX22" fmla="*/ 19409 w 84061"/>
                      <a:gd name="connsiteY22" fmla="*/ 159029 h 231562"/>
                      <a:gd name="connsiteX23" fmla="*/ 19361 w 84061"/>
                      <a:gd name="connsiteY23" fmla="*/ 158823 h 231562"/>
                      <a:gd name="connsiteX24" fmla="*/ 33386 w 84061"/>
                      <a:gd name="connsiteY24" fmla="*/ 160608 h 231562"/>
                      <a:gd name="connsiteX25" fmla="*/ 53380 w 84061"/>
                      <a:gd name="connsiteY25" fmla="*/ 163118 h 231562"/>
                      <a:gd name="connsiteX26" fmla="*/ 55510 w 84061"/>
                      <a:gd name="connsiteY26" fmla="*/ 163440 h 231562"/>
                      <a:gd name="connsiteX27" fmla="*/ 74469 w 84061"/>
                      <a:gd name="connsiteY27" fmla="*/ 231398 h 231562"/>
                      <a:gd name="connsiteX28" fmla="*/ 84029 w 84061"/>
                      <a:gd name="connsiteY28" fmla="*/ 229370 h 23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4061" h="231562">
                        <a:moveTo>
                          <a:pt x="84029" y="229370"/>
                        </a:moveTo>
                        <a:cubicBezTo>
                          <a:pt x="68013" y="163475"/>
                          <a:pt x="52828" y="98632"/>
                          <a:pt x="36299" y="32528"/>
                        </a:cubicBezTo>
                        <a:cubicBezTo>
                          <a:pt x="31862" y="14183"/>
                          <a:pt x="27639" y="7984"/>
                          <a:pt x="11320" y="0"/>
                        </a:cubicBezTo>
                        <a:cubicBezTo>
                          <a:pt x="9233" y="1436"/>
                          <a:pt x="9953" y="7627"/>
                          <a:pt x="9224" y="10271"/>
                        </a:cubicBezTo>
                        <a:cubicBezTo>
                          <a:pt x="9333" y="11867"/>
                          <a:pt x="7880" y="15610"/>
                          <a:pt x="9650" y="16504"/>
                        </a:cubicBezTo>
                        <a:cubicBezTo>
                          <a:pt x="13416" y="18631"/>
                          <a:pt x="16680" y="22783"/>
                          <a:pt x="19349" y="28839"/>
                        </a:cubicBezTo>
                        <a:cubicBezTo>
                          <a:pt x="34820" y="66261"/>
                          <a:pt x="42995" y="106210"/>
                          <a:pt x="51581" y="145680"/>
                        </a:cubicBezTo>
                        <a:cubicBezTo>
                          <a:pt x="50456" y="145806"/>
                          <a:pt x="48046" y="145249"/>
                          <a:pt x="48306" y="146225"/>
                        </a:cubicBezTo>
                        <a:cubicBezTo>
                          <a:pt x="40959" y="145092"/>
                          <a:pt x="19838" y="144769"/>
                          <a:pt x="12876" y="142165"/>
                        </a:cubicBezTo>
                        <a:cubicBezTo>
                          <a:pt x="12816" y="139116"/>
                          <a:pt x="12388" y="135809"/>
                          <a:pt x="12702" y="132862"/>
                        </a:cubicBezTo>
                        <a:cubicBezTo>
                          <a:pt x="12814" y="131986"/>
                          <a:pt x="14550" y="130592"/>
                          <a:pt x="14290" y="128839"/>
                        </a:cubicBezTo>
                        <a:cubicBezTo>
                          <a:pt x="13833" y="127263"/>
                          <a:pt x="14681" y="124850"/>
                          <a:pt x="12868" y="124048"/>
                        </a:cubicBezTo>
                        <a:cubicBezTo>
                          <a:pt x="11055" y="123243"/>
                          <a:pt x="10681" y="119065"/>
                          <a:pt x="9890" y="117021"/>
                        </a:cubicBezTo>
                        <a:cubicBezTo>
                          <a:pt x="9236" y="111944"/>
                          <a:pt x="5938" y="110856"/>
                          <a:pt x="2788" y="110465"/>
                        </a:cubicBezTo>
                        <a:cubicBezTo>
                          <a:pt x="1792" y="110322"/>
                          <a:pt x="818" y="111133"/>
                          <a:pt x="781" y="112141"/>
                        </a:cubicBezTo>
                        <a:cubicBezTo>
                          <a:pt x="861" y="116573"/>
                          <a:pt x="-93" y="122283"/>
                          <a:pt x="7" y="130878"/>
                        </a:cubicBezTo>
                        <a:cubicBezTo>
                          <a:pt x="167" y="144398"/>
                          <a:pt x="14047" y="145412"/>
                          <a:pt x="11212" y="155834"/>
                        </a:cubicBezTo>
                        <a:cubicBezTo>
                          <a:pt x="11155" y="156053"/>
                          <a:pt x="6906" y="165373"/>
                          <a:pt x="4367" y="168266"/>
                        </a:cubicBezTo>
                        <a:cubicBezTo>
                          <a:pt x="2583" y="178519"/>
                          <a:pt x="4019" y="189236"/>
                          <a:pt x="4270" y="199603"/>
                        </a:cubicBezTo>
                        <a:cubicBezTo>
                          <a:pt x="4330" y="207227"/>
                          <a:pt x="10632" y="212826"/>
                          <a:pt x="16837" y="218648"/>
                        </a:cubicBezTo>
                        <a:cubicBezTo>
                          <a:pt x="18050" y="219722"/>
                          <a:pt x="20086" y="218549"/>
                          <a:pt x="19744" y="216958"/>
                        </a:cubicBezTo>
                        <a:cubicBezTo>
                          <a:pt x="17899" y="206736"/>
                          <a:pt x="17117" y="198321"/>
                          <a:pt x="17282" y="190475"/>
                        </a:cubicBezTo>
                        <a:cubicBezTo>
                          <a:pt x="17485" y="180478"/>
                          <a:pt x="19535" y="169097"/>
                          <a:pt x="19409" y="159029"/>
                        </a:cubicBezTo>
                        <a:cubicBezTo>
                          <a:pt x="19398" y="158957"/>
                          <a:pt x="19375" y="158892"/>
                          <a:pt x="19361" y="158823"/>
                        </a:cubicBezTo>
                        <a:cubicBezTo>
                          <a:pt x="24058" y="159406"/>
                          <a:pt x="28775" y="160011"/>
                          <a:pt x="33386" y="160608"/>
                        </a:cubicBezTo>
                        <a:cubicBezTo>
                          <a:pt x="39937" y="161456"/>
                          <a:pt x="46709" y="162330"/>
                          <a:pt x="53380" y="163118"/>
                        </a:cubicBezTo>
                        <a:cubicBezTo>
                          <a:pt x="53577" y="163140"/>
                          <a:pt x="54445" y="163283"/>
                          <a:pt x="55510" y="163440"/>
                        </a:cubicBezTo>
                        <a:cubicBezTo>
                          <a:pt x="60755" y="186626"/>
                          <a:pt x="66546" y="209483"/>
                          <a:pt x="74469" y="231398"/>
                        </a:cubicBezTo>
                        <a:cubicBezTo>
                          <a:pt x="77296" y="230515"/>
                          <a:pt x="84614" y="233348"/>
                          <a:pt x="84029" y="229370"/>
                        </a:cubicBezTo>
                        <a:close/>
                      </a:path>
                    </a:pathLst>
                  </a:custGeom>
                  <a:solidFill>
                    <a:srgbClr val="FFFFFF"/>
                  </a:solidFill>
                  <a:ln w="2826" cap="flat">
                    <a:noFill/>
                    <a:prstDash val="solid"/>
                    <a:miter/>
                  </a:ln>
                </p:spPr>
                <p:txBody>
                  <a:bodyPr rtlCol="0" anchor="ctr"/>
                  <a:lstStyle/>
                  <a:p>
                    <a:endParaRPr lang="fr-CA"/>
                  </a:p>
                </p:txBody>
              </p:sp>
              <p:sp>
                <p:nvSpPr>
                  <p:cNvPr id="1654" name="Forme libre : forme 1653">
                    <a:extLst>
                      <a:ext uri="{FF2B5EF4-FFF2-40B4-BE49-F238E27FC236}">
                        <a16:creationId xmlns:a16="http://schemas.microsoft.com/office/drawing/2014/main" id="{AEC2943C-9A37-7A36-BB55-D9FB2E6D9117}"/>
                      </a:ext>
                    </a:extLst>
                  </p:cNvPr>
                  <p:cNvSpPr/>
                  <p:nvPr/>
                </p:nvSpPr>
                <p:spPr>
                  <a:xfrm>
                    <a:off x="9713775" y="4233475"/>
                    <a:ext cx="18362" cy="41447"/>
                  </a:xfrm>
                  <a:custGeom>
                    <a:avLst/>
                    <a:gdLst>
                      <a:gd name="connsiteX0" fmla="*/ 16512 w 18362"/>
                      <a:gd name="connsiteY0" fmla="*/ 11873 h 41447"/>
                      <a:gd name="connsiteX1" fmla="*/ 2024 w 18362"/>
                      <a:gd name="connsiteY1" fmla="*/ 0 h 41447"/>
                      <a:gd name="connsiteX2" fmla="*/ 727 w 18362"/>
                      <a:gd name="connsiteY2" fmla="*/ 7201 h 41447"/>
                      <a:gd name="connsiteX3" fmla="*/ 2855 w 18362"/>
                      <a:gd name="connsiteY3" fmla="*/ 17772 h 41447"/>
                      <a:gd name="connsiteX4" fmla="*/ 5316 w 18362"/>
                      <a:gd name="connsiteY4" fmla="*/ 30749 h 41447"/>
                      <a:gd name="connsiteX5" fmla="*/ 6752 w 18362"/>
                      <a:gd name="connsiteY5" fmla="*/ 36035 h 41447"/>
                      <a:gd name="connsiteX6" fmla="*/ 15578 w 18362"/>
                      <a:gd name="connsiteY6" fmla="*/ 41146 h 41447"/>
                      <a:gd name="connsiteX7" fmla="*/ 18359 w 18362"/>
                      <a:gd name="connsiteY7" fmla="*/ 39598 h 41447"/>
                      <a:gd name="connsiteX8" fmla="*/ 16512 w 18362"/>
                      <a:gd name="connsiteY8" fmla="*/ 11873 h 4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2" h="41447">
                        <a:moveTo>
                          <a:pt x="16512" y="11873"/>
                        </a:moveTo>
                        <a:cubicBezTo>
                          <a:pt x="15335" y="-2296"/>
                          <a:pt x="15832" y="2927"/>
                          <a:pt x="2024" y="0"/>
                        </a:cubicBezTo>
                        <a:cubicBezTo>
                          <a:pt x="-1697" y="69"/>
                          <a:pt x="882" y="4977"/>
                          <a:pt x="727" y="7201"/>
                        </a:cubicBezTo>
                        <a:cubicBezTo>
                          <a:pt x="1159" y="10699"/>
                          <a:pt x="1601" y="14314"/>
                          <a:pt x="2855" y="17772"/>
                        </a:cubicBezTo>
                        <a:cubicBezTo>
                          <a:pt x="4308" y="21789"/>
                          <a:pt x="4819" y="26343"/>
                          <a:pt x="5316" y="30749"/>
                        </a:cubicBezTo>
                        <a:cubicBezTo>
                          <a:pt x="5759" y="32437"/>
                          <a:pt x="5102" y="34964"/>
                          <a:pt x="6752" y="36035"/>
                        </a:cubicBezTo>
                        <a:cubicBezTo>
                          <a:pt x="9856" y="37591"/>
                          <a:pt x="12826" y="39312"/>
                          <a:pt x="15578" y="41146"/>
                        </a:cubicBezTo>
                        <a:cubicBezTo>
                          <a:pt x="16726" y="41962"/>
                          <a:pt x="18451" y="41011"/>
                          <a:pt x="18359" y="39598"/>
                        </a:cubicBezTo>
                        <a:cubicBezTo>
                          <a:pt x="18065" y="30458"/>
                          <a:pt x="17460" y="21389"/>
                          <a:pt x="16512" y="11873"/>
                        </a:cubicBezTo>
                        <a:close/>
                      </a:path>
                    </a:pathLst>
                  </a:custGeom>
                  <a:solidFill>
                    <a:srgbClr val="FFFFFF"/>
                  </a:solidFill>
                  <a:ln w="2826" cap="flat">
                    <a:noFill/>
                    <a:prstDash val="solid"/>
                    <a:miter/>
                  </a:ln>
                </p:spPr>
                <p:txBody>
                  <a:bodyPr rtlCol="0" anchor="ctr"/>
                  <a:lstStyle/>
                  <a:p>
                    <a:endParaRPr lang="fr-CA"/>
                  </a:p>
                </p:txBody>
              </p:sp>
              <p:sp>
                <p:nvSpPr>
                  <p:cNvPr id="1655" name="Forme libre : forme 1654">
                    <a:extLst>
                      <a:ext uri="{FF2B5EF4-FFF2-40B4-BE49-F238E27FC236}">
                        <a16:creationId xmlns:a16="http://schemas.microsoft.com/office/drawing/2014/main" id="{EC15733B-4A96-15C7-B9C8-FBF9970870AF}"/>
                      </a:ext>
                    </a:extLst>
                  </p:cNvPr>
                  <p:cNvSpPr/>
                  <p:nvPr/>
                </p:nvSpPr>
                <p:spPr>
                  <a:xfrm>
                    <a:off x="9589387" y="4334887"/>
                    <a:ext cx="49997" cy="28265"/>
                  </a:xfrm>
                  <a:custGeom>
                    <a:avLst/>
                    <a:gdLst>
                      <a:gd name="connsiteX0" fmla="*/ 49053 w 49997"/>
                      <a:gd name="connsiteY0" fmla="*/ 18810 h 28265"/>
                      <a:gd name="connsiteX1" fmla="*/ 23537 w 49997"/>
                      <a:gd name="connsiteY1" fmla="*/ 4944 h 28265"/>
                      <a:gd name="connsiteX2" fmla="*/ 6359 w 49997"/>
                      <a:gd name="connsiteY2" fmla="*/ 279 h 28265"/>
                      <a:gd name="connsiteX3" fmla="*/ 0 w 49997"/>
                      <a:gd name="connsiteY3" fmla="*/ 2480 h 28265"/>
                      <a:gd name="connsiteX4" fmla="*/ 2008 w 49997"/>
                      <a:gd name="connsiteY4" fmla="*/ 26562 h 28265"/>
                      <a:gd name="connsiteX5" fmla="*/ 4406 w 49997"/>
                      <a:gd name="connsiteY5" fmla="*/ 28153 h 28265"/>
                      <a:gd name="connsiteX6" fmla="*/ 48153 w 49997"/>
                      <a:gd name="connsiteY6" fmla="*/ 22188 h 28265"/>
                      <a:gd name="connsiteX7" fmla="*/ 49053 w 49997"/>
                      <a:gd name="connsiteY7" fmla="*/ 18810 h 2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7" h="28265">
                        <a:moveTo>
                          <a:pt x="49053" y="18810"/>
                        </a:moveTo>
                        <a:cubicBezTo>
                          <a:pt x="41720" y="15612"/>
                          <a:pt x="32317" y="6855"/>
                          <a:pt x="23537" y="4944"/>
                        </a:cubicBezTo>
                        <a:cubicBezTo>
                          <a:pt x="21478" y="4496"/>
                          <a:pt x="8589" y="1232"/>
                          <a:pt x="6359" y="279"/>
                        </a:cubicBezTo>
                        <a:cubicBezTo>
                          <a:pt x="4483" y="7"/>
                          <a:pt x="-54" y="-766"/>
                          <a:pt x="0" y="2480"/>
                        </a:cubicBezTo>
                        <a:cubicBezTo>
                          <a:pt x="509" y="4508"/>
                          <a:pt x="1982" y="19467"/>
                          <a:pt x="2008" y="26562"/>
                        </a:cubicBezTo>
                        <a:cubicBezTo>
                          <a:pt x="2039" y="27727"/>
                          <a:pt x="3324" y="28581"/>
                          <a:pt x="4406" y="28153"/>
                        </a:cubicBezTo>
                        <a:cubicBezTo>
                          <a:pt x="17138" y="23518"/>
                          <a:pt x="31855" y="21511"/>
                          <a:pt x="48153" y="22188"/>
                        </a:cubicBezTo>
                        <a:cubicBezTo>
                          <a:pt x="49992" y="22325"/>
                          <a:pt x="50746" y="19615"/>
                          <a:pt x="49053" y="18810"/>
                        </a:cubicBezTo>
                        <a:close/>
                      </a:path>
                    </a:pathLst>
                  </a:custGeom>
                  <a:solidFill>
                    <a:srgbClr val="FFFFFF"/>
                  </a:solidFill>
                  <a:ln w="2826" cap="flat">
                    <a:noFill/>
                    <a:prstDash val="solid"/>
                    <a:miter/>
                  </a:ln>
                </p:spPr>
                <p:txBody>
                  <a:bodyPr rtlCol="0" anchor="ctr"/>
                  <a:lstStyle/>
                  <a:p>
                    <a:endParaRPr lang="fr-CA"/>
                  </a:p>
                </p:txBody>
              </p:sp>
              <p:sp>
                <p:nvSpPr>
                  <p:cNvPr id="1656" name="Forme libre : forme 1655">
                    <a:extLst>
                      <a:ext uri="{FF2B5EF4-FFF2-40B4-BE49-F238E27FC236}">
                        <a16:creationId xmlns:a16="http://schemas.microsoft.com/office/drawing/2014/main" id="{441E7DA5-6AFA-D01C-43F1-4A5BD58BC976}"/>
                      </a:ext>
                    </a:extLst>
                  </p:cNvPr>
                  <p:cNvSpPr/>
                  <p:nvPr/>
                </p:nvSpPr>
                <p:spPr>
                  <a:xfrm>
                    <a:off x="9353480" y="4249836"/>
                    <a:ext cx="277241" cy="422047"/>
                  </a:xfrm>
                  <a:custGeom>
                    <a:avLst/>
                    <a:gdLst>
                      <a:gd name="connsiteX0" fmla="*/ 276781 w 277241"/>
                      <a:gd name="connsiteY0" fmla="*/ 380062 h 422047"/>
                      <a:gd name="connsiteX1" fmla="*/ 270220 w 277241"/>
                      <a:gd name="connsiteY1" fmla="*/ 376233 h 422047"/>
                      <a:gd name="connsiteX2" fmla="*/ 252916 w 277241"/>
                      <a:gd name="connsiteY2" fmla="*/ 375939 h 422047"/>
                      <a:gd name="connsiteX3" fmla="*/ 248945 w 277241"/>
                      <a:gd name="connsiteY3" fmla="*/ 374482 h 422047"/>
                      <a:gd name="connsiteX4" fmla="*/ 216291 w 277241"/>
                      <a:gd name="connsiteY4" fmla="*/ 379245 h 422047"/>
                      <a:gd name="connsiteX5" fmla="*/ 212713 w 277241"/>
                      <a:gd name="connsiteY5" fmla="*/ 378817 h 422047"/>
                      <a:gd name="connsiteX6" fmla="*/ 175822 w 277241"/>
                      <a:gd name="connsiteY6" fmla="*/ 189350 h 422047"/>
                      <a:gd name="connsiteX7" fmla="*/ 126304 w 277241"/>
                      <a:gd name="connsiteY7" fmla="*/ 148199 h 422047"/>
                      <a:gd name="connsiteX8" fmla="*/ 125542 w 277241"/>
                      <a:gd name="connsiteY8" fmla="*/ 130373 h 422047"/>
                      <a:gd name="connsiteX9" fmla="*/ 141629 w 277241"/>
                      <a:gd name="connsiteY9" fmla="*/ 126672 h 422047"/>
                      <a:gd name="connsiteX10" fmla="*/ 141860 w 277241"/>
                      <a:gd name="connsiteY10" fmla="*/ 123800 h 422047"/>
                      <a:gd name="connsiteX11" fmla="*/ 140650 w 277241"/>
                      <a:gd name="connsiteY11" fmla="*/ 119220 h 422047"/>
                      <a:gd name="connsiteX12" fmla="*/ 130619 w 277241"/>
                      <a:gd name="connsiteY12" fmla="*/ 112076 h 422047"/>
                      <a:gd name="connsiteX13" fmla="*/ 124840 w 277241"/>
                      <a:gd name="connsiteY13" fmla="*/ 110742 h 422047"/>
                      <a:gd name="connsiteX14" fmla="*/ 123960 w 277241"/>
                      <a:gd name="connsiteY14" fmla="*/ 2479 h 422047"/>
                      <a:gd name="connsiteX15" fmla="*/ 122173 w 277241"/>
                      <a:gd name="connsiteY15" fmla="*/ 440 h 422047"/>
                      <a:gd name="connsiteX16" fmla="*/ 110334 w 277241"/>
                      <a:gd name="connsiteY16" fmla="*/ 12 h 422047"/>
                      <a:gd name="connsiteX17" fmla="*/ 108364 w 277241"/>
                      <a:gd name="connsiteY17" fmla="*/ 1833 h 422047"/>
                      <a:gd name="connsiteX18" fmla="*/ 108250 w 277241"/>
                      <a:gd name="connsiteY18" fmla="*/ 83676 h 422047"/>
                      <a:gd name="connsiteX19" fmla="*/ 106031 w 277241"/>
                      <a:gd name="connsiteY19" fmla="*/ 118120 h 422047"/>
                      <a:gd name="connsiteX20" fmla="*/ 12268 w 277241"/>
                      <a:gd name="connsiteY20" fmla="*/ 103370 h 422047"/>
                      <a:gd name="connsiteX21" fmla="*/ 11991 w 277241"/>
                      <a:gd name="connsiteY21" fmla="*/ 105183 h 422047"/>
                      <a:gd name="connsiteX22" fmla="*/ 20879 w 277241"/>
                      <a:gd name="connsiteY22" fmla="*/ 128377 h 422047"/>
                      <a:gd name="connsiteX23" fmla="*/ 26447 w 277241"/>
                      <a:gd name="connsiteY23" fmla="*/ 150849 h 422047"/>
                      <a:gd name="connsiteX24" fmla="*/ 27981 w 277241"/>
                      <a:gd name="connsiteY24" fmla="*/ 152216 h 422047"/>
                      <a:gd name="connsiteX25" fmla="*/ 83417 w 277241"/>
                      <a:gd name="connsiteY25" fmla="*/ 157807 h 422047"/>
                      <a:gd name="connsiteX26" fmla="*/ 88742 w 277241"/>
                      <a:gd name="connsiteY26" fmla="*/ 158841 h 422047"/>
                      <a:gd name="connsiteX27" fmla="*/ 109158 w 277241"/>
                      <a:gd name="connsiteY27" fmla="*/ 159871 h 422047"/>
                      <a:gd name="connsiteX28" fmla="*/ 113007 w 277241"/>
                      <a:gd name="connsiteY28" fmla="*/ 282286 h 422047"/>
                      <a:gd name="connsiteX29" fmla="*/ 97523 w 277241"/>
                      <a:gd name="connsiteY29" fmla="*/ 286086 h 422047"/>
                      <a:gd name="connsiteX30" fmla="*/ 92429 w 277241"/>
                      <a:gd name="connsiteY30" fmla="*/ 294370 h 422047"/>
                      <a:gd name="connsiteX31" fmla="*/ 52588 w 277241"/>
                      <a:gd name="connsiteY31" fmla="*/ 321199 h 422047"/>
                      <a:gd name="connsiteX32" fmla="*/ 41692 w 277241"/>
                      <a:gd name="connsiteY32" fmla="*/ 343962 h 422047"/>
                      <a:gd name="connsiteX33" fmla="*/ 25591 w 277241"/>
                      <a:gd name="connsiteY33" fmla="*/ 345883 h 422047"/>
                      <a:gd name="connsiteX34" fmla="*/ 244 w 277241"/>
                      <a:gd name="connsiteY34" fmla="*/ 359734 h 422047"/>
                      <a:gd name="connsiteX35" fmla="*/ 1546 w 277241"/>
                      <a:gd name="connsiteY35" fmla="*/ 362410 h 422047"/>
                      <a:gd name="connsiteX36" fmla="*/ 16391 w 277241"/>
                      <a:gd name="connsiteY36" fmla="*/ 364908 h 422047"/>
                      <a:gd name="connsiteX37" fmla="*/ 44627 w 277241"/>
                      <a:gd name="connsiteY37" fmla="*/ 366310 h 422047"/>
                      <a:gd name="connsiteX38" fmla="*/ 54472 w 277241"/>
                      <a:gd name="connsiteY38" fmla="*/ 358838 h 422047"/>
                      <a:gd name="connsiteX39" fmla="*/ 64775 w 277241"/>
                      <a:gd name="connsiteY39" fmla="*/ 332118 h 422047"/>
                      <a:gd name="connsiteX40" fmla="*/ 91501 w 277241"/>
                      <a:gd name="connsiteY40" fmla="*/ 310557 h 422047"/>
                      <a:gd name="connsiteX41" fmla="*/ 93448 w 277241"/>
                      <a:gd name="connsiteY41" fmla="*/ 309812 h 422047"/>
                      <a:gd name="connsiteX42" fmla="*/ 94010 w 277241"/>
                      <a:gd name="connsiteY42" fmla="*/ 318900 h 422047"/>
                      <a:gd name="connsiteX43" fmla="*/ 98174 w 277241"/>
                      <a:gd name="connsiteY43" fmla="*/ 325596 h 422047"/>
                      <a:gd name="connsiteX44" fmla="*/ 93614 w 277241"/>
                      <a:gd name="connsiteY44" fmla="*/ 337154 h 422047"/>
                      <a:gd name="connsiteX45" fmla="*/ 61140 w 277241"/>
                      <a:gd name="connsiteY45" fmla="*/ 415939 h 422047"/>
                      <a:gd name="connsiteX46" fmla="*/ 72207 w 277241"/>
                      <a:gd name="connsiteY46" fmla="*/ 417687 h 422047"/>
                      <a:gd name="connsiteX47" fmla="*/ 83863 w 277241"/>
                      <a:gd name="connsiteY47" fmla="*/ 415865 h 422047"/>
                      <a:gd name="connsiteX48" fmla="*/ 113889 w 277241"/>
                      <a:gd name="connsiteY48" fmla="*/ 342474 h 422047"/>
                      <a:gd name="connsiteX49" fmla="*/ 118389 w 277241"/>
                      <a:gd name="connsiteY49" fmla="*/ 316482 h 422047"/>
                      <a:gd name="connsiteX50" fmla="*/ 188317 w 277241"/>
                      <a:gd name="connsiteY50" fmla="*/ 332306 h 422047"/>
                      <a:gd name="connsiteX51" fmla="*/ 192223 w 277241"/>
                      <a:gd name="connsiteY51" fmla="*/ 332751 h 422047"/>
                      <a:gd name="connsiteX52" fmla="*/ 206648 w 277241"/>
                      <a:gd name="connsiteY52" fmla="*/ 413486 h 422047"/>
                      <a:gd name="connsiteX53" fmla="*/ 209718 w 277241"/>
                      <a:gd name="connsiteY53" fmla="*/ 414554 h 422047"/>
                      <a:gd name="connsiteX54" fmla="*/ 215548 w 277241"/>
                      <a:gd name="connsiteY54" fmla="*/ 421764 h 422047"/>
                      <a:gd name="connsiteX55" fmla="*/ 216788 w 277241"/>
                      <a:gd name="connsiteY55" fmla="*/ 414003 h 422047"/>
                      <a:gd name="connsiteX56" fmla="*/ 218198 w 277241"/>
                      <a:gd name="connsiteY56" fmla="*/ 409872 h 422047"/>
                      <a:gd name="connsiteX57" fmla="*/ 220851 w 277241"/>
                      <a:gd name="connsiteY57" fmla="*/ 408407 h 422047"/>
                      <a:gd name="connsiteX58" fmla="*/ 231016 w 277241"/>
                      <a:gd name="connsiteY58" fmla="*/ 407262 h 422047"/>
                      <a:gd name="connsiteX59" fmla="*/ 249427 w 277241"/>
                      <a:gd name="connsiteY59" fmla="*/ 403221 h 422047"/>
                      <a:gd name="connsiteX60" fmla="*/ 259130 w 277241"/>
                      <a:gd name="connsiteY60" fmla="*/ 400175 h 422047"/>
                      <a:gd name="connsiteX61" fmla="*/ 260366 w 277241"/>
                      <a:gd name="connsiteY61" fmla="*/ 398050 h 422047"/>
                      <a:gd name="connsiteX62" fmla="*/ 259032 w 277241"/>
                      <a:gd name="connsiteY62" fmla="*/ 391723 h 422047"/>
                      <a:gd name="connsiteX63" fmla="*/ 271396 w 277241"/>
                      <a:gd name="connsiteY63" fmla="*/ 388913 h 422047"/>
                      <a:gd name="connsiteX64" fmla="*/ 276781 w 277241"/>
                      <a:gd name="connsiteY64" fmla="*/ 380062 h 422047"/>
                      <a:gd name="connsiteX65" fmla="*/ 109803 w 277241"/>
                      <a:gd name="connsiteY65" fmla="*/ 145566 h 422047"/>
                      <a:gd name="connsiteX66" fmla="*/ 106657 w 277241"/>
                      <a:gd name="connsiteY66" fmla="*/ 146137 h 422047"/>
                      <a:gd name="connsiteX67" fmla="*/ 90735 w 277241"/>
                      <a:gd name="connsiteY67" fmla="*/ 144521 h 422047"/>
                      <a:gd name="connsiteX68" fmla="*/ 87831 w 277241"/>
                      <a:gd name="connsiteY68" fmla="*/ 145475 h 422047"/>
                      <a:gd name="connsiteX69" fmla="*/ 84611 w 277241"/>
                      <a:gd name="connsiteY69" fmla="*/ 136260 h 422047"/>
                      <a:gd name="connsiteX70" fmla="*/ 97577 w 277241"/>
                      <a:gd name="connsiteY70" fmla="*/ 137431 h 422047"/>
                      <a:gd name="connsiteX71" fmla="*/ 109484 w 277241"/>
                      <a:gd name="connsiteY71" fmla="*/ 139487 h 422047"/>
                      <a:gd name="connsiteX72" fmla="*/ 109803 w 277241"/>
                      <a:gd name="connsiteY72" fmla="*/ 145566 h 422047"/>
                      <a:gd name="connsiteX73" fmla="*/ 185856 w 277241"/>
                      <a:gd name="connsiteY73" fmla="*/ 312813 h 422047"/>
                      <a:gd name="connsiteX74" fmla="*/ 134328 w 277241"/>
                      <a:gd name="connsiteY74" fmla="*/ 303116 h 422047"/>
                      <a:gd name="connsiteX75" fmla="*/ 131030 w 277241"/>
                      <a:gd name="connsiteY75" fmla="*/ 302927 h 422047"/>
                      <a:gd name="connsiteX76" fmla="*/ 127115 w 277241"/>
                      <a:gd name="connsiteY76" fmla="*/ 162164 h 422047"/>
                      <a:gd name="connsiteX77" fmla="*/ 127107 w 277241"/>
                      <a:gd name="connsiteY77" fmla="*/ 162147 h 422047"/>
                      <a:gd name="connsiteX78" fmla="*/ 127584 w 277241"/>
                      <a:gd name="connsiteY78" fmla="*/ 161950 h 422047"/>
                      <a:gd name="connsiteX79" fmla="*/ 175051 w 277241"/>
                      <a:gd name="connsiteY79" fmla="*/ 244750 h 422047"/>
                      <a:gd name="connsiteX80" fmla="*/ 186038 w 277241"/>
                      <a:gd name="connsiteY80" fmla="*/ 300923 h 422047"/>
                      <a:gd name="connsiteX81" fmla="*/ 188448 w 277241"/>
                      <a:gd name="connsiteY81" fmla="*/ 313278 h 422047"/>
                      <a:gd name="connsiteX82" fmla="*/ 185856 w 277241"/>
                      <a:gd name="connsiteY82" fmla="*/ 312813 h 42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77241" h="422047">
                        <a:moveTo>
                          <a:pt x="276781" y="380062"/>
                        </a:moveTo>
                        <a:cubicBezTo>
                          <a:pt x="275768" y="375976"/>
                          <a:pt x="272024" y="376150"/>
                          <a:pt x="270220" y="376233"/>
                        </a:cubicBezTo>
                        <a:cubicBezTo>
                          <a:pt x="269963" y="376244"/>
                          <a:pt x="258453" y="376541"/>
                          <a:pt x="252916" y="375939"/>
                        </a:cubicBezTo>
                        <a:cubicBezTo>
                          <a:pt x="252282" y="375927"/>
                          <a:pt x="250081" y="374231"/>
                          <a:pt x="248945" y="374482"/>
                        </a:cubicBezTo>
                        <a:cubicBezTo>
                          <a:pt x="228346" y="379194"/>
                          <a:pt x="219517" y="378012"/>
                          <a:pt x="216291" y="379245"/>
                        </a:cubicBezTo>
                        <a:cubicBezTo>
                          <a:pt x="213176" y="380436"/>
                          <a:pt x="212773" y="379165"/>
                          <a:pt x="212713" y="378817"/>
                        </a:cubicBezTo>
                        <a:cubicBezTo>
                          <a:pt x="201340" y="314103"/>
                          <a:pt x="188965" y="250517"/>
                          <a:pt x="175822" y="189350"/>
                        </a:cubicBezTo>
                        <a:cubicBezTo>
                          <a:pt x="170771" y="165753"/>
                          <a:pt x="152422" y="148144"/>
                          <a:pt x="126304" y="148199"/>
                        </a:cubicBezTo>
                        <a:cubicBezTo>
                          <a:pt x="126030" y="142245"/>
                          <a:pt x="125776" y="136303"/>
                          <a:pt x="125542" y="130373"/>
                        </a:cubicBezTo>
                        <a:cubicBezTo>
                          <a:pt x="128409" y="130004"/>
                          <a:pt x="141306" y="127049"/>
                          <a:pt x="141629" y="126672"/>
                        </a:cubicBezTo>
                        <a:cubicBezTo>
                          <a:pt x="142354" y="125867"/>
                          <a:pt x="141943" y="124756"/>
                          <a:pt x="141860" y="123800"/>
                        </a:cubicBezTo>
                        <a:cubicBezTo>
                          <a:pt x="141409" y="122232"/>
                          <a:pt x="142132" y="120205"/>
                          <a:pt x="140650" y="119220"/>
                        </a:cubicBezTo>
                        <a:cubicBezTo>
                          <a:pt x="136921" y="117227"/>
                          <a:pt x="134368" y="113940"/>
                          <a:pt x="130619" y="112076"/>
                        </a:cubicBezTo>
                        <a:cubicBezTo>
                          <a:pt x="128711" y="111042"/>
                          <a:pt x="126324" y="111122"/>
                          <a:pt x="124840" y="110742"/>
                        </a:cubicBezTo>
                        <a:cubicBezTo>
                          <a:pt x="123689" y="74702"/>
                          <a:pt x="123332" y="38882"/>
                          <a:pt x="123960" y="2479"/>
                        </a:cubicBezTo>
                        <a:cubicBezTo>
                          <a:pt x="124134" y="1437"/>
                          <a:pt x="123235" y="403"/>
                          <a:pt x="122173" y="440"/>
                        </a:cubicBezTo>
                        <a:cubicBezTo>
                          <a:pt x="118701" y="471"/>
                          <a:pt x="114578" y="443"/>
                          <a:pt x="110334" y="12"/>
                        </a:cubicBezTo>
                        <a:cubicBezTo>
                          <a:pt x="109295" y="-114"/>
                          <a:pt x="108316" y="786"/>
                          <a:pt x="108364" y="1833"/>
                        </a:cubicBezTo>
                        <a:cubicBezTo>
                          <a:pt x="109110" y="29813"/>
                          <a:pt x="108170" y="56656"/>
                          <a:pt x="108250" y="83676"/>
                        </a:cubicBezTo>
                        <a:cubicBezTo>
                          <a:pt x="107725" y="94995"/>
                          <a:pt x="110229" y="107536"/>
                          <a:pt x="106031" y="118120"/>
                        </a:cubicBezTo>
                        <a:cubicBezTo>
                          <a:pt x="74823" y="112744"/>
                          <a:pt x="43137" y="106822"/>
                          <a:pt x="12268" y="103370"/>
                        </a:cubicBezTo>
                        <a:cubicBezTo>
                          <a:pt x="11848" y="103878"/>
                          <a:pt x="11742" y="104575"/>
                          <a:pt x="11991" y="105183"/>
                        </a:cubicBezTo>
                        <a:cubicBezTo>
                          <a:pt x="15488" y="112507"/>
                          <a:pt x="17105" y="121298"/>
                          <a:pt x="20879" y="128377"/>
                        </a:cubicBezTo>
                        <a:cubicBezTo>
                          <a:pt x="21619" y="135678"/>
                          <a:pt x="25122" y="143159"/>
                          <a:pt x="26447" y="150849"/>
                        </a:cubicBezTo>
                        <a:cubicBezTo>
                          <a:pt x="26621" y="151582"/>
                          <a:pt x="27232" y="152128"/>
                          <a:pt x="27981" y="152216"/>
                        </a:cubicBezTo>
                        <a:cubicBezTo>
                          <a:pt x="46549" y="154398"/>
                          <a:pt x="64863" y="155523"/>
                          <a:pt x="83417" y="157807"/>
                        </a:cubicBezTo>
                        <a:cubicBezTo>
                          <a:pt x="84337" y="157941"/>
                          <a:pt x="87223" y="159012"/>
                          <a:pt x="88742" y="158841"/>
                        </a:cubicBezTo>
                        <a:cubicBezTo>
                          <a:pt x="95267" y="157798"/>
                          <a:pt x="102402" y="158715"/>
                          <a:pt x="109158" y="159871"/>
                        </a:cubicBezTo>
                        <a:cubicBezTo>
                          <a:pt x="112130" y="200563"/>
                          <a:pt x="112239" y="241243"/>
                          <a:pt x="113007" y="282286"/>
                        </a:cubicBezTo>
                        <a:cubicBezTo>
                          <a:pt x="113007" y="282849"/>
                          <a:pt x="107559" y="279396"/>
                          <a:pt x="97523" y="286086"/>
                        </a:cubicBezTo>
                        <a:cubicBezTo>
                          <a:pt x="92040" y="289390"/>
                          <a:pt x="92797" y="287925"/>
                          <a:pt x="92429" y="294370"/>
                        </a:cubicBezTo>
                        <a:cubicBezTo>
                          <a:pt x="70008" y="281823"/>
                          <a:pt x="58284" y="300540"/>
                          <a:pt x="52588" y="321199"/>
                        </a:cubicBezTo>
                        <a:cubicBezTo>
                          <a:pt x="49855" y="329648"/>
                          <a:pt x="47274" y="337628"/>
                          <a:pt x="41692" y="343962"/>
                        </a:cubicBezTo>
                        <a:cubicBezTo>
                          <a:pt x="37629" y="348233"/>
                          <a:pt x="30987" y="346600"/>
                          <a:pt x="25591" y="345883"/>
                        </a:cubicBezTo>
                        <a:cubicBezTo>
                          <a:pt x="3322" y="343342"/>
                          <a:pt x="14560" y="337437"/>
                          <a:pt x="244" y="359734"/>
                        </a:cubicBezTo>
                        <a:cubicBezTo>
                          <a:pt x="-404" y="360782"/>
                          <a:pt x="312" y="362281"/>
                          <a:pt x="1546" y="362410"/>
                        </a:cubicBezTo>
                        <a:cubicBezTo>
                          <a:pt x="6503" y="363084"/>
                          <a:pt x="11528" y="364012"/>
                          <a:pt x="16391" y="364908"/>
                        </a:cubicBezTo>
                        <a:cubicBezTo>
                          <a:pt x="25048" y="365916"/>
                          <a:pt x="35913" y="369114"/>
                          <a:pt x="44627" y="366310"/>
                        </a:cubicBezTo>
                        <a:cubicBezTo>
                          <a:pt x="47968" y="363252"/>
                          <a:pt x="51306" y="362247"/>
                          <a:pt x="54472" y="358838"/>
                        </a:cubicBezTo>
                        <a:cubicBezTo>
                          <a:pt x="58450" y="350112"/>
                          <a:pt x="61565" y="341095"/>
                          <a:pt x="64775" y="332118"/>
                        </a:cubicBezTo>
                        <a:cubicBezTo>
                          <a:pt x="69086" y="317984"/>
                          <a:pt x="74197" y="305517"/>
                          <a:pt x="91501" y="310557"/>
                        </a:cubicBezTo>
                        <a:cubicBezTo>
                          <a:pt x="92226" y="310757"/>
                          <a:pt x="93043" y="310443"/>
                          <a:pt x="93448" y="309812"/>
                        </a:cubicBezTo>
                        <a:cubicBezTo>
                          <a:pt x="93645" y="312850"/>
                          <a:pt x="93771" y="315851"/>
                          <a:pt x="94010" y="318900"/>
                        </a:cubicBezTo>
                        <a:cubicBezTo>
                          <a:pt x="93882" y="321990"/>
                          <a:pt x="94567" y="324959"/>
                          <a:pt x="98174" y="325596"/>
                        </a:cubicBezTo>
                        <a:cubicBezTo>
                          <a:pt x="98719" y="325693"/>
                          <a:pt x="93733" y="336823"/>
                          <a:pt x="93614" y="337154"/>
                        </a:cubicBezTo>
                        <a:cubicBezTo>
                          <a:pt x="83945" y="363832"/>
                          <a:pt x="71279" y="389484"/>
                          <a:pt x="61140" y="415939"/>
                        </a:cubicBezTo>
                        <a:cubicBezTo>
                          <a:pt x="60060" y="420505"/>
                          <a:pt x="69780" y="417355"/>
                          <a:pt x="72207" y="417687"/>
                        </a:cubicBezTo>
                        <a:cubicBezTo>
                          <a:pt x="74677" y="416956"/>
                          <a:pt x="83200" y="417932"/>
                          <a:pt x="83863" y="415865"/>
                        </a:cubicBezTo>
                        <a:cubicBezTo>
                          <a:pt x="93568" y="391318"/>
                          <a:pt x="102562" y="366582"/>
                          <a:pt x="113889" y="342474"/>
                        </a:cubicBezTo>
                        <a:cubicBezTo>
                          <a:pt x="116411" y="335670"/>
                          <a:pt x="118110" y="322946"/>
                          <a:pt x="118389" y="316482"/>
                        </a:cubicBezTo>
                        <a:cubicBezTo>
                          <a:pt x="142603" y="322509"/>
                          <a:pt x="166042" y="326807"/>
                          <a:pt x="188317" y="332306"/>
                        </a:cubicBezTo>
                        <a:cubicBezTo>
                          <a:pt x="188879" y="332455"/>
                          <a:pt x="190590" y="332677"/>
                          <a:pt x="192223" y="332751"/>
                        </a:cubicBezTo>
                        <a:cubicBezTo>
                          <a:pt x="197363" y="359469"/>
                          <a:pt x="202377" y="386583"/>
                          <a:pt x="206648" y="413486"/>
                        </a:cubicBezTo>
                        <a:cubicBezTo>
                          <a:pt x="206782" y="414469"/>
                          <a:pt x="209124" y="414660"/>
                          <a:pt x="209718" y="414554"/>
                        </a:cubicBezTo>
                        <a:cubicBezTo>
                          <a:pt x="210923" y="414340"/>
                          <a:pt x="209615" y="423786"/>
                          <a:pt x="215548" y="421764"/>
                        </a:cubicBezTo>
                        <a:cubicBezTo>
                          <a:pt x="220531" y="420068"/>
                          <a:pt x="216048" y="414197"/>
                          <a:pt x="216788" y="414003"/>
                        </a:cubicBezTo>
                        <a:cubicBezTo>
                          <a:pt x="218095" y="413658"/>
                          <a:pt x="218692" y="412693"/>
                          <a:pt x="218198" y="409872"/>
                        </a:cubicBezTo>
                        <a:cubicBezTo>
                          <a:pt x="218090" y="409258"/>
                          <a:pt x="218835" y="408724"/>
                          <a:pt x="220851" y="408407"/>
                        </a:cubicBezTo>
                        <a:cubicBezTo>
                          <a:pt x="223012" y="408067"/>
                          <a:pt x="228780" y="407973"/>
                          <a:pt x="231016" y="407262"/>
                        </a:cubicBezTo>
                        <a:cubicBezTo>
                          <a:pt x="237123" y="405720"/>
                          <a:pt x="243477" y="404983"/>
                          <a:pt x="249427" y="403221"/>
                        </a:cubicBezTo>
                        <a:cubicBezTo>
                          <a:pt x="252819" y="403339"/>
                          <a:pt x="255957" y="400977"/>
                          <a:pt x="259130" y="400175"/>
                        </a:cubicBezTo>
                        <a:cubicBezTo>
                          <a:pt x="260040" y="399906"/>
                          <a:pt x="260583" y="398976"/>
                          <a:pt x="260366" y="398050"/>
                        </a:cubicBezTo>
                        <a:cubicBezTo>
                          <a:pt x="259692" y="396075"/>
                          <a:pt x="260086" y="393550"/>
                          <a:pt x="259032" y="391723"/>
                        </a:cubicBezTo>
                        <a:cubicBezTo>
                          <a:pt x="261674" y="390735"/>
                          <a:pt x="270899" y="391455"/>
                          <a:pt x="271396" y="388913"/>
                        </a:cubicBezTo>
                        <a:cubicBezTo>
                          <a:pt x="277261" y="391926"/>
                          <a:pt x="277912" y="382837"/>
                          <a:pt x="276781" y="380062"/>
                        </a:cubicBezTo>
                        <a:close/>
                        <a:moveTo>
                          <a:pt x="109803" y="145566"/>
                        </a:moveTo>
                        <a:cubicBezTo>
                          <a:pt x="109407" y="146506"/>
                          <a:pt x="109138" y="146631"/>
                          <a:pt x="106657" y="146137"/>
                        </a:cubicBezTo>
                        <a:cubicBezTo>
                          <a:pt x="101140" y="144835"/>
                          <a:pt x="96238" y="145558"/>
                          <a:pt x="90735" y="144521"/>
                        </a:cubicBezTo>
                        <a:cubicBezTo>
                          <a:pt x="89942" y="144335"/>
                          <a:pt x="88460" y="145124"/>
                          <a:pt x="87831" y="145475"/>
                        </a:cubicBezTo>
                        <a:cubicBezTo>
                          <a:pt x="86712" y="142976"/>
                          <a:pt x="85367" y="138516"/>
                          <a:pt x="84611" y="136260"/>
                        </a:cubicBezTo>
                        <a:cubicBezTo>
                          <a:pt x="84731" y="135375"/>
                          <a:pt x="91886" y="136766"/>
                          <a:pt x="97577" y="137431"/>
                        </a:cubicBezTo>
                        <a:cubicBezTo>
                          <a:pt x="100172" y="137734"/>
                          <a:pt x="107882" y="138351"/>
                          <a:pt x="109484" y="139487"/>
                        </a:cubicBezTo>
                        <a:cubicBezTo>
                          <a:pt x="110123" y="141531"/>
                          <a:pt x="111017" y="142802"/>
                          <a:pt x="109803" y="145566"/>
                        </a:cubicBezTo>
                        <a:close/>
                        <a:moveTo>
                          <a:pt x="185856" y="312813"/>
                        </a:moveTo>
                        <a:cubicBezTo>
                          <a:pt x="166128" y="310231"/>
                          <a:pt x="152077" y="308858"/>
                          <a:pt x="134328" y="303116"/>
                        </a:cubicBezTo>
                        <a:cubicBezTo>
                          <a:pt x="133668" y="302845"/>
                          <a:pt x="131527" y="302413"/>
                          <a:pt x="131030" y="302927"/>
                        </a:cubicBezTo>
                        <a:cubicBezTo>
                          <a:pt x="126781" y="256842"/>
                          <a:pt x="127292" y="208161"/>
                          <a:pt x="127115" y="162164"/>
                        </a:cubicBezTo>
                        <a:cubicBezTo>
                          <a:pt x="127113" y="162159"/>
                          <a:pt x="127110" y="162153"/>
                          <a:pt x="127107" y="162147"/>
                        </a:cubicBezTo>
                        <a:cubicBezTo>
                          <a:pt x="127275" y="162104"/>
                          <a:pt x="127435" y="162039"/>
                          <a:pt x="127584" y="161950"/>
                        </a:cubicBezTo>
                        <a:cubicBezTo>
                          <a:pt x="168975" y="166687"/>
                          <a:pt x="167156" y="216582"/>
                          <a:pt x="175051" y="244750"/>
                        </a:cubicBezTo>
                        <a:cubicBezTo>
                          <a:pt x="178780" y="263315"/>
                          <a:pt x="182418" y="282474"/>
                          <a:pt x="186038" y="300923"/>
                        </a:cubicBezTo>
                        <a:cubicBezTo>
                          <a:pt x="186841" y="305026"/>
                          <a:pt x="187643" y="309146"/>
                          <a:pt x="188448" y="313278"/>
                        </a:cubicBezTo>
                        <a:cubicBezTo>
                          <a:pt x="187280" y="313024"/>
                          <a:pt x="186187" y="312847"/>
                          <a:pt x="185856" y="312813"/>
                        </a:cubicBezTo>
                        <a:close/>
                      </a:path>
                    </a:pathLst>
                  </a:custGeom>
                  <a:solidFill>
                    <a:srgbClr val="FFFFFF"/>
                  </a:solidFill>
                  <a:ln w="2826" cap="flat">
                    <a:noFill/>
                    <a:prstDash val="solid"/>
                    <a:miter/>
                  </a:ln>
                </p:spPr>
                <p:txBody>
                  <a:bodyPr rtlCol="0" anchor="ctr"/>
                  <a:lstStyle/>
                  <a:p>
                    <a:endParaRPr lang="fr-CA"/>
                  </a:p>
                </p:txBody>
              </p:sp>
              <p:sp>
                <p:nvSpPr>
                  <p:cNvPr id="1657" name="Forme libre : forme 1656">
                    <a:extLst>
                      <a:ext uri="{FF2B5EF4-FFF2-40B4-BE49-F238E27FC236}">
                        <a16:creationId xmlns:a16="http://schemas.microsoft.com/office/drawing/2014/main" id="{1B408D20-1DE9-6CCD-678D-DFAB06E40231}"/>
                      </a:ext>
                    </a:extLst>
                  </p:cNvPr>
                  <p:cNvSpPr/>
                  <p:nvPr/>
                </p:nvSpPr>
                <p:spPr>
                  <a:xfrm>
                    <a:off x="9279160" y="4338486"/>
                    <a:ext cx="74751" cy="98673"/>
                  </a:xfrm>
                  <a:custGeom>
                    <a:avLst/>
                    <a:gdLst>
                      <a:gd name="connsiteX0" fmla="*/ 74672 w 74751"/>
                      <a:gd name="connsiteY0" fmla="*/ 31495 h 98673"/>
                      <a:gd name="connsiteX1" fmla="*/ 66434 w 74751"/>
                      <a:gd name="connsiteY1" fmla="*/ 11413 h 98673"/>
                      <a:gd name="connsiteX2" fmla="*/ 2163 w 74751"/>
                      <a:gd name="connsiteY2" fmla="*/ 23 h 98673"/>
                      <a:gd name="connsiteX3" fmla="*/ 733 w 74751"/>
                      <a:gd name="connsiteY3" fmla="*/ 414 h 98673"/>
                      <a:gd name="connsiteX4" fmla="*/ 1835 w 74751"/>
                      <a:gd name="connsiteY4" fmla="*/ 20239 h 98673"/>
                      <a:gd name="connsiteX5" fmla="*/ 3936 w 74751"/>
                      <a:gd name="connsiteY5" fmla="*/ 22172 h 98673"/>
                      <a:gd name="connsiteX6" fmla="*/ 1972 w 74751"/>
                      <a:gd name="connsiteY6" fmla="*/ 88887 h 98673"/>
                      <a:gd name="connsiteX7" fmla="*/ 3322 w 74751"/>
                      <a:gd name="connsiteY7" fmla="*/ 90660 h 98673"/>
                      <a:gd name="connsiteX8" fmla="*/ 12851 w 74751"/>
                      <a:gd name="connsiteY8" fmla="*/ 97833 h 98673"/>
                      <a:gd name="connsiteX9" fmla="*/ 16166 w 74751"/>
                      <a:gd name="connsiteY9" fmla="*/ 96968 h 98673"/>
                      <a:gd name="connsiteX10" fmla="*/ 18596 w 74751"/>
                      <a:gd name="connsiteY10" fmla="*/ 24850 h 98673"/>
                      <a:gd name="connsiteX11" fmla="*/ 48228 w 74751"/>
                      <a:gd name="connsiteY11" fmla="*/ 29230 h 98673"/>
                      <a:gd name="connsiteX12" fmla="*/ 54273 w 74751"/>
                      <a:gd name="connsiteY12" fmla="*/ 31458 h 98673"/>
                      <a:gd name="connsiteX13" fmla="*/ 74672 w 74751"/>
                      <a:gd name="connsiteY13" fmla="*/ 31495 h 9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51" h="98673">
                        <a:moveTo>
                          <a:pt x="74672" y="31495"/>
                        </a:moveTo>
                        <a:cubicBezTo>
                          <a:pt x="72153" y="24588"/>
                          <a:pt x="69381" y="17829"/>
                          <a:pt x="66434" y="11413"/>
                        </a:cubicBezTo>
                        <a:cubicBezTo>
                          <a:pt x="64401" y="9243"/>
                          <a:pt x="6206" y="685"/>
                          <a:pt x="2163" y="23"/>
                        </a:cubicBezTo>
                        <a:cubicBezTo>
                          <a:pt x="1652" y="-60"/>
                          <a:pt x="1130" y="83"/>
                          <a:pt x="733" y="414"/>
                        </a:cubicBezTo>
                        <a:cubicBezTo>
                          <a:pt x="-1186" y="5911"/>
                          <a:pt x="1198" y="13486"/>
                          <a:pt x="1835" y="20239"/>
                        </a:cubicBezTo>
                        <a:cubicBezTo>
                          <a:pt x="1955" y="21407"/>
                          <a:pt x="3160" y="21598"/>
                          <a:pt x="3936" y="22172"/>
                        </a:cubicBezTo>
                        <a:cubicBezTo>
                          <a:pt x="2780" y="23143"/>
                          <a:pt x="2383" y="87677"/>
                          <a:pt x="1972" y="88887"/>
                        </a:cubicBezTo>
                        <a:cubicBezTo>
                          <a:pt x="1952" y="89718"/>
                          <a:pt x="2511" y="90455"/>
                          <a:pt x="3322" y="90660"/>
                        </a:cubicBezTo>
                        <a:cubicBezTo>
                          <a:pt x="7468" y="91694"/>
                          <a:pt x="10761" y="94255"/>
                          <a:pt x="12851" y="97833"/>
                        </a:cubicBezTo>
                        <a:cubicBezTo>
                          <a:pt x="13707" y="99329"/>
                          <a:pt x="16157" y="98695"/>
                          <a:pt x="16166" y="96968"/>
                        </a:cubicBezTo>
                        <a:cubicBezTo>
                          <a:pt x="15926" y="95746"/>
                          <a:pt x="19344" y="25990"/>
                          <a:pt x="18596" y="24850"/>
                        </a:cubicBezTo>
                        <a:cubicBezTo>
                          <a:pt x="26979" y="26415"/>
                          <a:pt x="38694" y="28362"/>
                          <a:pt x="48228" y="29230"/>
                        </a:cubicBezTo>
                        <a:cubicBezTo>
                          <a:pt x="49722" y="30464"/>
                          <a:pt x="53488" y="32003"/>
                          <a:pt x="54273" y="31458"/>
                        </a:cubicBezTo>
                        <a:cubicBezTo>
                          <a:pt x="56560" y="29382"/>
                          <a:pt x="76151" y="37331"/>
                          <a:pt x="74672" y="31495"/>
                        </a:cubicBezTo>
                        <a:close/>
                      </a:path>
                    </a:pathLst>
                  </a:custGeom>
                  <a:solidFill>
                    <a:srgbClr val="FFFFFF"/>
                  </a:solidFill>
                  <a:ln w="2826" cap="flat">
                    <a:noFill/>
                    <a:prstDash val="solid"/>
                    <a:miter/>
                  </a:ln>
                </p:spPr>
                <p:txBody>
                  <a:bodyPr rtlCol="0" anchor="ctr"/>
                  <a:lstStyle/>
                  <a:p>
                    <a:endParaRPr lang="fr-CA"/>
                  </a:p>
                </p:txBody>
              </p:sp>
              <p:sp>
                <p:nvSpPr>
                  <p:cNvPr id="1658" name="Forme libre : forme 1657">
                    <a:extLst>
                      <a:ext uri="{FF2B5EF4-FFF2-40B4-BE49-F238E27FC236}">
                        <a16:creationId xmlns:a16="http://schemas.microsoft.com/office/drawing/2014/main" id="{AF916612-8E37-27A5-27BF-5F9C8D629B50}"/>
                      </a:ext>
                    </a:extLst>
                  </p:cNvPr>
                  <p:cNvSpPr/>
                  <p:nvPr/>
                </p:nvSpPr>
                <p:spPr>
                  <a:xfrm>
                    <a:off x="9252901" y="4572260"/>
                    <a:ext cx="92973" cy="33700"/>
                  </a:xfrm>
                  <a:custGeom>
                    <a:avLst/>
                    <a:gdLst>
                      <a:gd name="connsiteX0" fmla="*/ 91626 w 92973"/>
                      <a:gd name="connsiteY0" fmla="*/ 17057 h 33700"/>
                      <a:gd name="connsiteX1" fmla="*/ 63775 w 92973"/>
                      <a:gd name="connsiteY1" fmla="*/ 11529 h 33700"/>
                      <a:gd name="connsiteX2" fmla="*/ 22129 w 92973"/>
                      <a:gd name="connsiteY2" fmla="*/ 2852 h 33700"/>
                      <a:gd name="connsiteX3" fmla="*/ 4478 w 92973"/>
                      <a:gd name="connsiteY3" fmla="*/ 490 h 33700"/>
                      <a:gd name="connsiteX4" fmla="*/ 2299 w 92973"/>
                      <a:gd name="connsiteY4" fmla="*/ 14227 h 33700"/>
                      <a:gd name="connsiteX5" fmla="*/ 13147 w 92973"/>
                      <a:gd name="connsiteY5" fmla="*/ 17962 h 33700"/>
                      <a:gd name="connsiteX6" fmla="*/ 56725 w 92973"/>
                      <a:gd name="connsiteY6" fmla="*/ 29892 h 33700"/>
                      <a:gd name="connsiteX7" fmla="*/ 83511 w 92973"/>
                      <a:gd name="connsiteY7" fmla="*/ 33541 h 33700"/>
                      <a:gd name="connsiteX8" fmla="*/ 92677 w 92973"/>
                      <a:gd name="connsiteY8" fmla="*/ 19787 h 33700"/>
                      <a:gd name="connsiteX9" fmla="*/ 91626 w 92973"/>
                      <a:gd name="connsiteY9" fmla="*/ 17057 h 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73" h="33700">
                        <a:moveTo>
                          <a:pt x="91626" y="17057"/>
                        </a:moveTo>
                        <a:cubicBezTo>
                          <a:pt x="85313" y="15435"/>
                          <a:pt x="64183" y="11586"/>
                          <a:pt x="63775" y="11529"/>
                        </a:cubicBezTo>
                        <a:cubicBezTo>
                          <a:pt x="49624" y="9547"/>
                          <a:pt x="36258" y="5124"/>
                          <a:pt x="22129" y="2852"/>
                        </a:cubicBezTo>
                        <a:cubicBezTo>
                          <a:pt x="16353" y="1941"/>
                          <a:pt x="10562" y="-1197"/>
                          <a:pt x="4478" y="490"/>
                        </a:cubicBezTo>
                        <a:cubicBezTo>
                          <a:pt x="-1433" y="2489"/>
                          <a:pt x="-762" y="10019"/>
                          <a:pt x="2299" y="14227"/>
                        </a:cubicBezTo>
                        <a:cubicBezTo>
                          <a:pt x="2913" y="16592"/>
                          <a:pt x="10831" y="16780"/>
                          <a:pt x="13147" y="17962"/>
                        </a:cubicBezTo>
                        <a:cubicBezTo>
                          <a:pt x="19183" y="19772"/>
                          <a:pt x="48933" y="28458"/>
                          <a:pt x="56725" y="29892"/>
                        </a:cubicBezTo>
                        <a:cubicBezTo>
                          <a:pt x="60066" y="30845"/>
                          <a:pt x="81378" y="34503"/>
                          <a:pt x="83511" y="33541"/>
                        </a:cubicBezTo>
                        <a:cubicBezTo>
                          <a:pt x="83511" y="33541"/>
                          <a:pt x="92677" y="19787"/>
                          <a:pt x="92677" y="19787"/>
                        </a:cubicBezTo>
                        <a:cubicBezTo>
                          <a:pt x="93365" y="18807"/>
                          <a:pt x="92794" y="17320"/>
                          <a:pt x="91626" y="17057"/>
                        </a:cubicBezTo>
                        <a:close/>
                      </a:path>
                    </a:pathLst>
                  </a:custGeom>
                  <a:solidFill>
                    <a:srgbClr val="FFFFFF"/>
                  </a:solidFill>
                  <a:ln w="2826" cap="flat">
                    <a:noFill/>
                    <a:prstDash val="solid"/>
                    <a:miter/>
                  </a:ln>
                </p:spPr>
                <p:txBody>
                  <a:bodyPr rtlCol="0" anchor="ctr"/>
                  <a:lstStyle/>
                  <a:p>
                    <a:endParaRPr lang="fr-CA"/>
                  </a:p>
                </p:txBody>
              </p:sp>
              <p:sp>
                <p:nvSpPr>
                  <p:cNvPr id="1659" name="Forme libre : forme 1658">
                    <a:extLst>
                      <a:ext uri="{FF2B5EF4-FFF2-40B4-BE49-F238E27FC236}">
                        <a16:creationId xmlns:a16="http://schemas.microsoft.com/office/drawing/2014/main" id="{96763F28-8297-C70C-E711-4DF332BE3385}"/>
                      </a:ext>
                    </a:extLst>
                  </p:cNvPr>
                  <p:cNvSpPr/>
                  <p:nvPr/>
                </p:nvSpPr>
                <p:spPr>
                  <a:xfrm>
                    <a:off x="9253800" y="4047030"/>
                    <a:ext cx="34716" cy="211841"/>
                  </a:xfrm>
                  <a:custGeom>
                    <a:avLst/>
                    <a:gdLst>
                      <a:gd name="connsiteX0" fmla="*/ 3673 w 34716"/>
                      <a:gd name="connsiteY0" fmla="*/ 16611 h 211841"/>
                      <a:gd name="connsiteX1" fmla="*/ 13921 w 34716"/>
                      <a:gd name="connsiteY1" fmla="*/ 34617 h 211841"/>
                      <a:gd name="connsiteX2" fmla="*/ 18406 w 34716"/>
                      <a:gd name="connsiteY2" fmla="*/ 87618 h 211841"/>
                      <a:gd name="connsiteX3" fmla="*/ 23460 w 34716"/>
                      <a:gd name="connsiteY3" fmla="*/ 192178 h 211841"/>
                      <a:gd name="connsiteX4" fmla="*/ 22903 w 34716"/>
                      <a:gd name="connsiteY4" fmla="*/ 200767 h 211841"/>
                      <a:gd name="connsiteX5" fmla="*/ 21830 w 34716"/>
                      <a:gd name="connsiteY5" fmla="*/ 208260 h 211841"/>
                      <a:gd name="connsiteX6" fmla="*/ 31213 w 34716"/>
                      <a:gd name="connsiteY6" fmla="*/ 211689 h 211841"/>
                      <a:gd name="connsiteX7" fmla="*/ 33642 w 34716"/>
                      <a:gd name="connsiteY7" fmla="*/ 209550 h 211841"/>
                      <a:gd name="connsiteX8" fmla="*/ 32980 w 34716"/>
                      <a:gd name="connsiteY8" fmla="*/ 67996 h 211841"/>
                      <a:gd name="connsiteX9" fmla="*/ 6551 w 34716"/>
                      <a:gd name="connsiteY9" fmla="*/ 73 h 211841"/>
                      <a:gd name="connsiteX10" fmla="*/ 4743 w 34716"/>
                      <a:gd name="connsiteY10" fmla="*/ 561 h 211841"/>
                      <a:gd name="connsiteX11" fmla="*/ 3673 w 34716"/>
                      <a:gd name="connsiteY11" fmla="*/ 16611 h 21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716" h="211841">
                        <a:moveTo>
                          <a:pt x="3673" y="16611"/>
                        </a:moveTo>
                        <a:cubicBezTo>
                          <a:pt x="9109" y="19315"/>
                          <a:pt x="12938" y="26043"/>
                          <a:pt x="13921" y="34617"/>
                        </a:cubicBezTo>
                        <a:cubicBezTo>
                          <a:pt x="15991" y="52323"/>
                          <a:pt x="17084" y="70026"/>
                          <a:pt x="18406" y="87618"/>
                        </a:cubicBezTo>
                        <a:cubicBezTo>
                          <a:pt x="20548" y="128458"/>
                          <a:pt x="23497" y="154425"/>
                          <a:pt x="23460" y="192178"/>
                        </a:cubicBezTo>
                        <a:cubicBezTo>
                          <a:pt x="23452" y="192307"/>
                          <a:pt x="23300" y="200721"/>
                          <a:pt x="22903" y="200767"/>
                        </a:cubicBezTo>
                        <a:cubicBezTo>
                          <a:pt x="21407" y="200887"/>
                          <a:pt x="19771" y="207440"/>
                          <a:pt x="21830" y="208260"/>
                        </a:cubicBezTo>
                        <a:cubicBezTo>
                          <a:pt x="24942" y="209182"/>
                          <a:pt x="28097" y="210335"/>
                          <a:pt x="31213" y="211689"/>
                        </a:cubicBezTo>
                        <a:cubicBezTo>
                          <a:pt x="32532" y="212303"/>
                          <a:pt x="34102" y="210958"/>
                          <a:pt x="33642" y="209550"/>
                        </a:cubicBezTo>
                        <a:cubicBezTo>
                          <a:pt x="33026" y="166060"/>
                          <a:pt x="36806" y="114367"/>
                          <a:pt x="32980" y="67996"/>
                        </a:cubicBezTo>
                        <a:cubicBezTo>
                          <a:pt x="31115" y="44894"/>
                          <a:pt x="34479" y="9410"/>
                          <a:pt x="6551" y="73"/>
                        </a:cubicBezTo>
                        <a:cubicBezTo>
                          <a:pt x="5906" y="-118"/>
                          <a:pt x="5206" y="73"/>
                          <a:pt x="4743" y="561"/>
                        </a:cubicBezTo>
                        <a:cubicBezTo>
                          <a:pt x="640" y="4622"/>
                          <a:pt x="-2966" y="10644"/>
                          <a:pt x="3673" y="16611"/>
                        </a:cubicBezTo>
                        <a:close/>
                      </a:path>
                    </a:pathLst>
                  </a:custGeom>
                  <a:solidFill>
                    <a:srgbClr val="FFFFFF"/>
                  </a:solidFill>
                  <a:ln w="2826" cap="flat">
                    <a:noFill/>
                    <a:prstDash val="solid"/>
                    <a:miter/>
                  </a:ln>
                </p:spPr>
                <p:txBody>
                  <a:bodyPr rtlCol="0" anchor="ctr"/>
                  <a:lstStyle/>
                  <a:p>
                    <a:endParaRPr lang="fr-CA"/>
                  </a:p>
                </p:txBody>
              </p:sp>
              <p:sp>
                <p:nvSpPr>
                  <p:cNvPr id="1660" name="Forme libre : forme 1659">
                    <a:extLst>
                      <a:ext uri="{FF2B5EF4-FFF2-40B4-BE49-F238E27FC236}">
                        <a16:creationId xmlns:a16="http://schemas.microsoft.com/office/drawing/2014/main" id="{8DD36A68-B618-7018-93F1-2346FF1D6E09}"/>
                      </a:ext>
                    </a:extLst>
                  </p:cNvPr>
                  <p:cNvSpPr/>
                  <p:nvPr/>
                </p:nvSpPr>
                <p:spPr>
                  <a:xfrm>
                    <a:off x="9260367" y="4438513"/>
                    <a:ext cx="13525" cy="21450"/>
                  </a:xfrm>
                  <a:custGeom>
                    <a:avLst/>
                    <a:gdLst>
                      <a:gd name="connsiteX0" fmla="*/ 3182 w 13525"/>
                      <a:gd name="connsiteY0" fmla="*/ 20769 h 21450"/>
                      <a:gd name="connsiteX1" fmla="*/ 4724 w 13525"/>
                      <a:gd name="connsiteY1" fmla="*/ 21445 h 21450"/>
                      <a:gd name="connsiteX2" fmla="*/ 11831 w 13525"/>
                      <a:gd name="connsiteY2" fmla="*/ 6089 h 21450"/>
                      <a:gd name="connsiteX3" fmla="*/ 158 w 13525"/>
                      <a:gd name="connsiteY3" fmla="*/ 1270 h 21450"/>
                      <a:gd name="connsiteX4" fmla="*/ 1692 w 13525"/>
                      <a:gd name="connsiteY4" fmla="*/ 5938 h 21450"/>
                      <a:gd name="connsiteX5" fmla="*/ 2885 w 13525"/>
                      <a:gd name="connsiteY5" fmla="*/ 19113 h 21450"/>
                      <a:gd name="connsiteX6" fmla="*/ 3182 w 13525"/>
                      <a:gd name="connsiteY6" fmla="*/ 20769 h 2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21450">
                        <a:moveTo>
                          <a:pt x="3182" y="20769"/>
                        </a:moveTo>
                        <a:cubicBezTo>
                          <a:pt x="3551" y="21237"/>
                          <a:pt x="4133" y="21491"/>
                          <a:pt x="4724" y="21445"/>
                        </a:cubicBezTo>
                        <a:cubicBezTo>
                          <a:pt x="13496" y="20752"/>
                          <a:pt x="15389" y="14127"/>
                          <a:pt x="11831" y="6089"/>
                        </a:cubicBezTo>
                        <a:cubicBezTo>
                          <a:pt x="10246" y="-852"/>
                          <a:pt x="2086" y="-915"/>
                          <a:pt x="158" y="1270"/>
                        </a:cubicBezTo>
                        <a:cubicBezTo>
                          <a:pt x="-547" y="2869"/>
                          <a:pt x="1309" y="4587"/>
                          <a:pt x="1692" y="5938"/>
                        </a:cubicBezTo>
                        <a:cubicBezTo>
                          <a:pt x="3902" y="10595"/>
                          <a:pt x="4282" y="14781"/>
                          <a:pt x="2885" y="19113"/>
                        </a:cubicBezTo>
                        <a:cubicBezTo>
                          <a:pt x="2700" y="19681"/>
                          <a:pt x="2811" y="20300"/>
                          <a:pt x="3182" y="20769"/>
                        </a:cubicBezTo>
                        <a:close/>
                      </a:path>
                    </a:pathLst>
                  </a:custGeom>
                  <a:solidFill>
                    <a:srgbClr val="FFFFFF"/>
                  </a:solidFill>
                  <a:ln w="2826" cap="flat">
                    <a:noFill/>
                    <a:prstDash val="solid"/>
                    <a:miter/>
                  </a:ln>
                </p:spPr>
                <p:txBody>
                  <a:bodyPr rtlCol="0" anchor="ctr"/>
                  <a:lstStyle/>
                  <a:p>
                    <a:endParaRPr lang="fr-CA"/>
                  </a:p>
                </p:txBody>
              </p:sp>
              <p:sp>
                <p:nvSpPr>
                  <p:cNvPr id="1661" name="Forme libre : forme 1660">
                    <a:extLst>
                      <a:ext uri="{FF2B5EF4-FFF2-40B4-BE49-F238E27FC236}">
                        <a16:creationId xmlns:a16="http://schemas.microsoft.com/office/drawing/2014/main" id="{B3D20FBA-C8EF-56F2-8E32-87D85B01E8FE}"/>
                      </a:ext>
                    </a:extLst>
                  </p:cNvPr>
                  <p:cNvSpPr/>
                  <p:nvPr/>
                </p:nvSpPr>
                <p:spPr>
                  <a:xfrm>
                    <a:off x="9244017" y="4441987"/>
                    <a:ext cx="10938" cy="19412"/>
                  </a:xfrm>
                  <a:custGeom>
                    <a:avLst/>
                    <a:gdLst>
                      <a:gd name="connsiteX0" fmla="*/ 10904 w 10938"/>
                      <a:gd name="connsiteY0" fmla="*/ 8463 h 19412"/>
                      <a:gd name="connsiteX1" fmla="*/ 3197 w 10938"/>
                      <a:gd name="connsiteY1" fmla="*/ 5 h 19412"/>
                      <a:gd name="connsiteX2" fmla="*/ 22 w 10938"/>
                      <a:gd name="connsiteY2" fmla="*/ 9628 h 19412"/>
                      <a:gd name="connsiteX3" fmla="*/ 8220 w 10938"/>
                      <a:gd name="connsiteY3" fmla="*/ 19002 h 19412"/>
                      <a:gd name="connsiteX4" fmla="*/ 10904 w 10938"/>
                      <a:gd name="connsiteY4" fmla="*/ 8463 h 1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8" h="19412">
                        <a:moveTo>
                          <a:pt x="10904" y="8463"/>
                        </a:moveTo>
                        <a:cubicBezTo>
                          <a:pt x="10752" y="3143"/>
                          <a:pt x="8357" y="-152"/>
                          <a:pt x="3197" y="5"/>
                        </a:cubicBezTo>
                        <a:cubicBezTo>
                          <a:pt x="76" y="936"/>
                          <a:pt x="-84" y="6984"/>
                          <a:pt x="22" y="9628"/>
                        </a:cubicBezTo>
                        <a:cubicBezTo>
                          <a:pt x="267" y="13446"/>
                          <a:pt x="3263" y="21289"/>
                          <a:pt x="8220" y="19002"/>
                        </a:cubicBezTo>
                        <a:cubicBezTo>
                          <a:pt x="11309" y="17040"/>
                          <a:pt x="10946" y="9217"/>
                          <a:pt x="10904" y="8463"/>
                        </a:cubicBezTo>
                        <a:close/>
                      </a:path>
                    </a:pathLst>
                  </a:custGeom>
                  <a:solidFill>
                    <a:srgbClr val="FFFFFF"/>
                  </a:solidFill>
                  <a:ln w="2826" cap="flat">
                    <a:noFill/>
                    <a:prstDash val="solid"/>
                    <a:miter/>
                  </a:ln>
                </p:spPr>
                <p:txBody>
                  <a:bodyPr rtlCol="0" anchor="ctr"/>
                  <a:lstStyle/>
                  <a:p>
                    <a:endParaRPr lang="fr-CA"/>
                  </a:p>
                </p:txBody>
              </p:sp>
            </p:grpSp>
            <p:grpSp>
              <p:nvGrpSpPr>
                <p:cNvPr id="1630" name="Graphique 35" descr="Garçon dans un fauteuil roulant">
                  <a:extLst>
                    <a:ext uri="{FF2B5EF4-FFF2-40B4-BE49-F238E27FC236}">
                      <a16:creationId xmlns:a16="http://schemas.microsoft.com/office/drawing/2014/main" id="{8BC066E8-E28B-03D2-27EB-3F8824A939BD}"/>
                    </a:ext>
                  </a:extLst>
                </p:cNvPr>
                <p:cNvGrpSpPr/>
                <p:nvPr/>
              </p:nvGrpSpPr>
              <p:grpSpPr>
                <a:xfrm>
                  <a:off x="9156994" y="4044915"/>
                  <a:ext cx="736590" cy="661795"/>
                  <a:chOff x="9156994" y="4044915"/>
                  <a:chExt cx="736590" cy="661795"/>
                </a:xfrm>
                <a:solidFill>
                  <a:srgbClr val="FFFFFF"/>
                </a:solidFill>
              </p:grpSpPr>
              <p:sp>
                <p:nvSpPr>
                  <p:cNvPr id="1643" name="Forme libre : forme 1642">
                    <a:extLst>
                      <a:ext uri="{FF2B5EF4-FFF2-40B4-BE49-F238E27FC236}">
                        <a16:creationId xmlns:a16="http://schemas.microsoft.com/office/drawing/2014/main" id="{52187AB5-C5F4-FE1A-A467-399BDBC75232}"/>
                      </a:ext>
                    </a:extLst>
                  </p:cNvPr>
                  <p:cNvSpPr/>
                  <p:nvPr/>
                </p:nvSpPr>
                <p:spPr>
                  <a:xfrm>
                    <a:off x="9737875" y="4629270"/>
                    <a:ext cx="155709" cy="31664"/>
                  </a:xfrm>
                  <a:custGeom>
                    <a:avLst/>
                    <a:gdLst>
                      <a:gd name="connsiteX0" fmla="*/ 155710 w 155709"/>
                      <a:gd name="connsiteY0" fmla="*/ 2143 h 31664"/>
                      <a:gd name="connsiteX1" fmla="*/ 120515 w 155709"/>
                      <a:gd name="connsiteY1" fmla="*/ 3000 h 31664"/>
                      <a:gd name="connsiteX2" fmla="*/ 60718 w 155709"/>
                      <a:gd name="connsiteY2" fmla="*/ 9316 h 31664"/>
                      <a:gd name="connsiteX3" fmla="*/ 58674 w 155709"/>
                      <a:gd name="connsiteY3" fmla="*/ 8571 h 31664"/>
                      <a:gd name="connsiteX4" fmla="*/ 21763 w 155709"/>
                      <a:gd name="connsiteY4" fmla="*/ 19681 h 31664"/>
                      <a:gd name="connsiteX5" fmla="*/ 1821 w 155709"/>
                      <a:gd name="connsiteY5" fmla="*/ 25594 h 31664"/>
                      <a:gd name="connsiteX6" fmla="*/ 562 w 155709"/>
                      <a:gd name="connsiteY6" fmla="*/ 27065 h 31664"/>
                      <a:gd name="connsiteX7" fmla="*/ 1689 w 155709"/>
                      <a:gd name="connsiteY7" fmla="*/ 31665 h 31664"/>
                      <a:gd name="connsiteX8" fmla="*/ 155710 w 155709"/>
                      <a:gd name="connsiteY8" fmla="*/ 2143 h 3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09" h="31664">
                        <a:moveTo>
                          <a:pt x="155710" y="2143"/>
                        </a:moveTo>
                        <a:cubicBezTo>
                          <a:pt x="153445" y="-2636"/>
                          <a:pt x="125537" y="1915"/>
                          <a:pt x="120515" y="3000"/>
                        </a:cubicBezTo>
                        <a:cubicBezTo>
                          <a:pt x="100887" y="7586"/>
                          <a:pt x="80586" y="5933"/>
                          <a:pt x="60718" y="9316"/>
                        </a:cubicBezTo>
                        <a:cubicBezTo>
                          <a:pt x="60298" y="8645"/>
                          <a:pt x="59427" y="8322"/>
                          <a:pt x="58674" y="8571"/>
                        </a:cubicBezTo>
                        <a:cubicBezTo>
                          <a:pt x="46421" y="12417"/>
                          <a:pt x="33886" y="16112"/>
                          <a:pt x="21763" y="19681"/>
                        </a:cubicBezTo>
                        <a:cubicBezTo>
                          <a:pt x="15224" y="21608"/>
                          <a:pt x="8462" y="23599"/>
                          <a:pt x="1821" y="25594"/>
                        </a:cubicBezTo>
                        <a:cubicBezTo>
                          <a:pt x="1150" y="25794"/>
                          <a:pt x="659" y="26371"/>
                          <a:pt x="562" y="27065"/>
                        </a:cubicBezTo>
                        <a:cubicBezTo>
                          <a:pt x="222" y="28595"/>
                          <a:pt x="-972" y="31531"/>
                          <a:pt x="1689" y="31665"/>
                        </a:cubicBezTo>
                        <a:cubicBezTo>
                          <a:pt x="55201" y="25697"/>
                          <a:pt x="111777" y="20064"/>
                          <a:pt x="155710" y="2143"/>
                        </a:cubicBezTo>
                        <a:close/>
                      </a:path>
                    </a:pathLst>
                  </a:custGeom>
                  <a:solidFill>
                    <a:srgbClr val="FFFFFF"/>
                  </a:solidFill>
                  <a:ln w="2826" cap="flat">
                    <a:noFill/>
                    <a:prstDash val="solid"/>
                    <a:miter/>
                  </a:ln>
                </p:spPr>
                <p:txBody>
                  <a:bodyPr rtlCol="0" anchor="ctr"/>
                  <a:lstStyle/>
                  <a:p>
                    <a:endParaRPr lang="fr-CA"/>
                  </a:p>
                </p:txBody>
              </p:sp>
              <p:sp>
                <p:nvSpPr>
                  <p:cNvPr id="1644" name="Forme libre : forme 1643">
                    <a:extLst>
                      <a:ext uri="{FF2B5EF4-FFF2-40B4-BE49-F238E27FC236}">
                        <a16:creationId xmlns:a16="http://schemas.microsoft.com/office/drawing/2014/main" id="{171B8F34-BBFC-4F8C-6951-F300EDA2A765}"/>
                      </a:ext>
                    </a:extLst>
                  </p:cNvPr>
                  <p:cNvSpPr/>
                  <p:nvPr/>
                </p:nvSpPr>
                <p:spPr>
                  <a:xfrm>
                    <a:off x="9563280" y="4199016"/>
                    <a:ext cx="151163" cy="43779"/>
                  </a:xfrm>
                  <a:custGeom>
                    <a:avLst/>
                    <a:gdLst>
                      <a:gd name="connsiteX0" fmla="*/ 144002 w 151163"/>
                      <a:gd name="connsiteY0" fmla="*/ 23934 h 43779"/>
                      <a:gd name="connsiteX1" fmla="*/ 12 w 151163"/>
                      <a:gd name="connsiteY1" fmla="*/ 820 h 43779"/>
                      <a:gd name="connsiteX2" fmla="*/ 11040 w 151163"/>
                      <a:gd name="connsiteY2" fmla="*/ 27752 h 43779"/>
                      <a:gd name="connsiteX3" fmla="*/ 124069 w 151163"/>
                      <a:gd name="connsiteY3" fmla="*/ 43020 h 43779"/>
                      <a:gd name="connsiteX4" fmla="*/ 145912 w 151163"/>
                      <a:gd name="connsiteY4" fmla="*/ 43020 h 43779"/>
                      <a:gd name="connsiteX5" fmla="*/ 150578 w 151163"/>
                      <a:gd name="connsiteY5" fmla="*/ 37931 h 43779"/>
                      <a:gd name="connsiteX6" fmla="*/ 144002 w 151163"/>
                      <a:gd name="connsiteY6" fmla="*/ 23934 h 4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163" h="43779">
                        <a:moveTo>
                          <a:pt x="144002" y="23934"/>
                        </a:moveTo>
                        <a:cubicBezTo>
                          <a:pt x="121279" y="7376"/>
                          <a:pt x="1012" y="-3091"/>
                          <a:pt x="12" y="820"/>
                        </a:cubicBezTo>
                        <a:cubicBezTo>
                          <a:pt x="-439" y="5083"/>
                          <a:pt x="11579" y="22381"/>
                          <a:pt x="11040" y="27752"/>
                        </a:cubicBezTo>
                        <a:cubicBezTo>
                          <a:pt x="10920" y="28740"/>
                          <a:pt x="123069" y="42994"/>
                          <a:pt x="124069" y="43020"/>
                        </a:cubicBezTo>
                        <a:cubicBezTo>
                          <a:pt x="132515" y="43425"/>
                          <a:pt x="137429" y="44504"/>
                          <a:pt x="145912" y="43020"/>
                        </a:cubicBezTo>
                        <a:cubicBezTo>
                          <a:pt x="147537" y="42734"/>
                          <a:pt x="149099" y="40695"/>
                          <a:pt x="150578" y="37931"/>
                        </a:cubicBezTo>
                        <a:cubicBezTo>
                          <a:pt x="153050" y="33303"/>
                          <a:pt x="147083" y="26815"/>
                          <a:pt x="144002" y="23934"/>
                        </a:cubicBezTo>
                        <a:close/>
                      </a:path>
                    </a:pathLst>
                  </a:custGeom>
                  <a:solidFill>
                    <a:srgbClr val="FFFFFF"/>
                  </a:solidFill>
                  <a:ln w="2826" cap="flat">
                    <a:noFill/>
                    <a:prstDash val="solid"/>
                    <a:miter/>
                  </a:ln>
                </p:spPr>
                <p:txBody>
                  <a:bodyPr rtlCol="0" anchor="ctr"/>
                  <a:lstStyle/>
                  <a:p>
                    <a:endParaRPr lang="fr-CA"/>
                  </a:p>
                </p:txBody>
              </p:sp>
              <p:sp>
                <p:nvSpPr>
                  <p:cNvPr id="1645" name="Forme libre : forme 1644">
                    <a:extLst>
                      <a:ext uri="{FF2B5EF4-FFF2-40B4-BE49-F238E27FC236}">
                        <a16:creationId xmlns:a16="http://schemas.microsoft.com/office/drawing/2014/main" id="{A8255C4F-537D-9248-5AA7-887407856E4F}"/>
                      </a:ext>
                    </a:extLst>
                  </p:cNvPr>
                  <p:cNvSpPr/>
                  <p:nvPr/>
                </p:nvSpPr>
                <p:spPr>
                  <a:xfrm>
                    <a:off x="9612271" y="4613779"/>
                    <a:ext cx="112353" cy="34159"/>
                  </a:xfrm>
                  <a:custGeom>
                    <a:avLst/>
                    <a:gdLst>
                      <a:gd name="connsiteX0" fmla="*/ 111269 w 112353"/>
                      <a:gd name="connsiteY0" fmla="*/ 634 h 34159"/>
                      <a:gd name="connsiteX1" fmla="*/ 106381 w 112353"/>
                      <a:gd name="connsiteY1" fmla="*/ 354 h 34159"/>
                      <a:gd name="connsiteX2" fmla="*/ 104539 w 112353"/>
                      <a:gd name="connsiteY2" fmla="*/ 34 h 34159"/>
                      <a:gd name="connsiteX3" fmla="*/ 65138 w 112353"/>
                      <a:gd name="connsiteY3" fmla="*/ 4229 h 34159"/>
                      <a:gd name="connsiteX4" fmla="*/ 48834 w 112353"/>
                      <a:gd name="connsiteY4" fmla="*/ 5699 h 34159"/>
                      <a:gd name="connsiteX5" fmla="*/ 31242 w 112353"/>
                      <a:gd name="connsiteY5" fmla="*/ 12158 h 34159"/>
                      <a:gd name="connsiteX6" fmla="*/ 18707 w 112353"/>
                      <a:gd name="connsiteY6" fmla="*/ 16064 h 34159"/>
                      <a:gd name="connsiteX7" fmla="*/ 16429 w 112353"/>
                      <a:gd name="connsiteY7" fmla="*/ 24036 h 34159"/>
                      <a:gd name="connsiteX8" fmla="*/ 13368 w 112353"/>
                      <a:gd name="connsiteY8" fmla="*/ 24919 h 34159"/>
                      <a:gd name="connsiteX9" fmla="*/ 148 w 112353"/>
                      <a:gd name="connsiteY9" fmla="*/ 27651 h 34159"/>
                      <a:gd name="connsiteX10" fmla="*/ 1355 w 112353"/>
                      <a:gd name="connsiteY10" fmla="*/ 31934 h 34159"/>
                      <a:gd name="connsiteX11" fmla="*/ 9625 w 112353"/>
                      <a:gd name="connsiteY11" fmla="*/ 34147 h 34159"/>
                      <a:gd name="connsiteX12" fmla="*/ 111269 w 112353"/>
                      <a:gd name="connsiteY12" fmla="*/ 634 h 3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353" h="34159">
                        <a:moveTo>
                          <a:pt x="111269" y="634"/>
                        </a:moveTo>
                        <a:cubicBezTo>
                          <a:pt x="109739" y="-43"/>
                          <a:pt x="107840" y="505"/>
                          <a:pt x="106381" y="354"/>
                        </a:cubicBezTo>
                        <a:cubicBezTo>
                          <a:pt x="105847" y="-40"/>
                          <a:pt x="105173" y="-31"/>
                          <a:pt x="104539" y="34"/>
                        </a:cubicBezTo>
                        <a:cubicBezTo>
                          <a:pt x="91542" y="2250"/>
                          <a:pt x="78161" y="2119"/>
                          <a:pt x="65138" y="4229"/>
                        </a:cubicBezTo>
                        <a:cubicBezTo>
                          <a:pt x="59773" y="4977"/>
                          <a:pt x="54222" y="5742"/>
                          <a:pt x="48834" y="5699"/>
                        </a:cubicBezTo>
                        <a:cubicBezTo>
                          <a:pt x="43355" y="8512"/>
                          <a:pt x="37741" y="10788"/>
                          <a:pt x="31242" y="12158"/>
                        </a:cubicBezTo>
                        <a:cubicBezTo>
                          <a:pt x="27062" y="13220"/>
                          <a:pt x="22742" y="14320"/>
                          <a:pt x="18707" y="16064"/>
                        </a:cubicBezTo>
                        <a:cubicBezTo>
                          <a:pt x="16446" y="17109"/>
                          <a:pt x="18913" y="21829"/>
                          <a:pt x="16429" y="24036"/>
                        </a:cubicBezTo>
                        <a:cubicBezTo>
                          <a:pt x="15698" y="25050"/>
                          <a:pt x="14347" y="24416"/>
                          <a:pt x="13368" y="24919"/>
                        </a:cubicBezTo>
                        <a:cubicBezTo>
                          <a:pt x="10307" y="27309"/>
                          <a:pt x="2463" y="25033"/>
                          <a:pt x="148" y="27651"/>
                        </a:cubicBezTo>
                        <a:cubicBezTo>
                          <a:pt x="-498" y="29179"/>
                          <a:pt x="1170" y="30424"/>
                          <a:pt x="1355" y="31934"/>
                        </a:cubicBezTo>
                        <a:cubicBezTo>
                          <a:pt x="2869" y="34456"/>
                          <a:pt x="7126" y="33816"/>
                          <a:pt x="9625" y="34147"/>
                        </a:cubicBezTo>
                        <a:cubicBezTo>
                          <a:pt x="15409" y="34821"/>
                          <a:pt x="124315" y="6707"/>
                          <a:pt x="111269" y="634"/>
                        </a:cubicBezTo>
                        <a:close/>
                      </a:path>
                    </a:pathLst>
                  </a:custGeom>
                  <a:solidFill>
                    <a:srgbClr val="FFFFFF"/>
                  </a:solidFill>
                  <a:ln w="2826" cap="flat">
                    <a:noFill/>
                    <a:prstDash val="solid"/>
                    <a:miter/>
                  </a:ln>
                </p:spPr>
                <p:txBody>
                  <a:bodyPr rtlCol="0" anchor="ctr"/>
                  <a:lstStyle/>
                  <a:p>
                    <a:endParaRPr lang="fr-CA"/>
                  </a:p>
                </p:txBody>
              </p:sp>
              <p:sp>
                <p:nvSpPr>
                  <p:cNvPr id="1646" name="Forme libre : forme 1645">
                    <a:extLst>
                      <a:ext uri="{FF2B5EF4-FFF2-40B4-BE49-F238E27FC236}">
                        <a16:creationId xmlns:a16="http://schemas.microsoft.com/office/drawing/2014/main" id="{01F49E94-9F26-EE3F-46F1-29045C0C0847}"/>
                      </a:ext>
                    </a:extLst>
                  </p:cNvPr>
                  <p:cNvSpPr/>
                  <p:nvPr/>
                </p:nvSpPr>
                <p:spPr>
                  <a:xfrm>
                    <a:off x="9378256" y="4605068"/>
                    <a:ext cx="102665" cy="101642"/>
                  </a:xfrm>
                  <a:custGeom>
                    <a:avLst/>
                    <a:gdLst>
                      <a:gd name="connsiteX0" fmla="*/ 81933 w 102665"/>
                      <a:gd name="connsiteY0" fmla="*/ 10381 h 101642"/>
                      <a:gd name="connsiteX1" fmla="*/ 79206 w 102665"/>
                      <a:gd name="connsiteY1" fmla="*/ 11120 h 101642"/>
                      <a:gd name="connsiteX2" fmla="*/ 75300 w 102665"/>
                      <a:gd name="connsiteY2" fmla="*/ 23833 h 101642"/>
                      <a:gd name="connsiteX3" fmla="*/ 81499 w 102665"/>
                      <a:gd name="connsiteY3" fmla="*/ 70934 h 101642"/>
                      <a:gd name="connsiteX4" fmla="*/ 52260 w 102665"/>
                      <a:gd name="connsiteY4" fmla="*/ 87293 h 101642"/>
                      <a:gd name="connsiteX5" fmla="*/ 21525 w 102665"/>
                      <a:gd name="connsiteY5" fmla="*/ 30477 h 101642"/>
                      <a:gd name="connsiteX6" fmla="*/ 53970 w 102665"/>
                      <a:gd name="connsiteY6" fmla="*/ 14890 h 101642"/>
                      <a:gd name="connsiteX7" fmla="*/ 55712 w 102665"/>
                      <a:gd name="connsiteY7" fmla="*/ 13785 h 101642"/>
                      <a:gd name="connsiteX8" fmla="*/ 60126 w 102665"/>
                      <a:gd name="connsiteY8" fmla="*/ 3146 h 101642"/>
                      <a:gd name="connsiteX9" fmla="*/ 58750 w 102665"/>
                      <a:gd name="connsiteY9" fmla="*/ 687 h 101642"/>
                      <a:gd name="connsiteX10" fmla="*/ 2303 w 102665"/>
                      <a:gd name="connsiteY10" fmla="*/ 37164 h 101642"/>
                      <a:gd name="connsiteX11" fmla="*/ 16742 w 102665"/>
                      <a:gd name="connsiteY11" fmla="*/ 88680 h 101642"/>
                      <a:gd name="connsiteX12" fmla="*/ 91235 w 102665"/>
                      <a:gd name="connsiteY12" fmla="*/ 82416 h 101642"/>
                      <a:gd name="connsiteX13" fmla="*/ 81933 w 102665"/>
                      <a:gd name="connsiteY13" fmla="*/ 10381 h 10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665" h="101642">
                        <a:moveTo>
                          <a:pt x="81933" y="10381"/>
                        </a:moveTo>
                        <a:cubicBezTo>
                          <a:pt x="81042" y="9679"/>
                          <a:pt x="79617" y="10061"/>
                          <a:pt x="79206" y="11120"/>
                        </a:cubicBezTo>
                        <a:cubicBezTo>
                          <a:pt x="79049" y="12614"/>
                          <a:pt x="73115" y="22728"/>
                          <a:pt x="75300" y="23833"/>
                        </a:cubicBezTo>
                        <a:cubicBezTo>
                          <a:pt x="89545" y="35494"/>
                          <a:pt x="90610" y="56326"/>
                          <a:pt x="81499" y="70934"/>
                        </a:cubicBezTo>
                        <a:cubicBezTo>
                          <a:pt x="75662" y="80288"/>
                          <a:pt x="65654" y="87090"/>
                          <a:pt x="52260" y="87293"/>
                        </a:cubicBezTo>
                        <a:cubicBezTo>
                          <a:pt x="21902" y="88746"/>
                          <a:pt x="6366" y="54031"/>
                          <a:pt x="21525" y="30477"/>
                        </a:cubicBezTo>
                        <a:cubicBezTo>
                          <a:pt x="28321" y="19727"/>
                          <a:pt x="39839" y="14193"/>
                          <a:pt x="53970" y="14890"/>
                        </a:cubicBezTo>
                        <a:cubicBezTo>
                          <a:pt x="54724" y="14932"/>
                          <a:pt x="55424" y="14484"/>
                          <a:pt x="55712" y="13785"/>
                        </a:cubicBezTo>
                        <a:cubicBezTo>
                          <a:pt x="57340" y="9839"/>
                          <a:pt x="58781" y="6358"/>
                          <a:pt x="60126" y="3146"/>
                        </a:cubicBezTo>
                        <a:cubicBezTo>
                          <a:pt x="60589" y="2120"/>
                          <a:pt x="59867" y="827"/>
                          <a:pt x="58750" y="687"/>
                        </a:cubicBezTo>
                        <a:cubicBezTo>
                          <a:pt x="31284" y="-3836"/>
                          <a:pt x="9278" y="14613"/>
                          <a:pt x="2303" y="37164"/>
                        </a:cubicBezTo>
                        <a:cubicBezTo>
                          <a:pt x="-3122" y="54705"/>
                          <a:pt x="784" y="74652"/>
                          <a:pt x="16742" y="88680"/>
                        </a:cubicBezTo>
                        <a:cubicBezTo>
                          <a:pt x="44813" y="110604"/>
                          <a:pt x="75194" y="102143"/>
                          <a:pt x="91235" y="82416"/>
                        </a:cubicBezTo>
                        <a:cubicBezTo>
                          <a:pt x="106857" y="63199"/>
                          <a:pt x="108881" y="33304"/>
                          <a:pt x="81933" y="10381"/>
                        </a:cubicBezTo>
                        <a:close/>
                      </a:path>
                    </a:pathLst>
                  </a:custGeom>
                  <a:solidFill>
                    <a:srgbClr val="FFFFFF"/>
                  </a:solidFill>
                  <a:ln w="2826" cap="flat">
                    <a:noFill/>
                    <a:prstDash val="solid"/>
                    <a:miter/>
                  </a:ln>
                </p:spPr>
                <p:txBody>
                  <a:bodyPr rtlCol="0" anchor="ctr"/>
                  <a:lstStyle/>
                  <a:p>
                    <a:endParaRPr lang="fr-CA"/>
                  </a:p>
                </p:txBody>
              </p:sp>
              <p:sp>
                <p:nvSpPr>
                  <p:cNvPr id="1647" name="Forme libre : forme 1646">
                    <a:extLst>
                      <a:ext uri="{FF2B5EF4-FFF2-40B4-BE49-F238E27FC236}">
                        <a16:creationId xmlns:a16="http://schemas.microsoft.com/office/drawing/2014/main" id="{A0500EBC-B0B5-1C41-5732-913B4749D3A1}"/>
                      </a:ext>
                    </a:extLst>
                  </p:cNvPr>
                  <p:cNvSpPr/>
                  <p:nvPr/>
                </p:nvSpPr>
                <p:spPr>
                  <a:xfrm>
                    <a:off x="9218398" y="4044915"/>
                    <a:ext cx="35286" cy="15969"/>
                  </a:xfrm>
                  <a:custGeom>
                    <a:avLst/>
                    <a:gdLst>
                      <a:gd name="connsiteX0" fmla="*/ 1761 w 35286"/>
                      <a:gd name="connsiteY0" fmla="*/ 12430 h 15969"/>
                      <a:gd name="connsiteX1" fmla="*/ 7946 w 35286"/>
                      <a:gd name="connsiteY1" fmla="*/ 13935 h 15969"/>
                      <a:gd name="connsiteX2" fmla="*/ 31171 w 35286"/>
                      <a:gd name="connsiteY2" fmla="*/ 15951 h 15969"/>
                      <a:gd name="connsiteX3" fmla="*/ 32782 w 35286"/>
                      <a:gd name="connsiteY3" fmla="*/ 15357 h 15969"/>
                      <a:gd name="connsiteX4" fmla="*/ 33153 w 35286"/>
                      <a:gd name="connsiteY4" fmla="*/ 13684 h 15969"/>
                      <a:gd name="connsiteX5" fmla="*/ 34932 w 35286"/>
                      <a:gd name="connsiteY5" fmla="*/ 3987 h 15969"/>
                      <a:gd name="connsiteX6" fmla="*/ 35140 w 35286"/>
                      <a:gd name="connsiteY6" fmla="*/ 2211 h 15969"/>
                      <a:gd name="connsiteX7" fmla="*/ 33710 w 35286"/>
                      <a:gd name="connsiteY7" fmla="*/ 1140 h 15969"/>
                      <a:gd name="connsiteX8" fmla="*/ 7369 w 35286"/>
                      <a:gd name="connsiteY8" fmla="*/ 238 h 15969"/>
                      <a:gd name="connsiteX9" fmla="*/ 1761 w 35286"/>
                      <a:gd name="connsiteY9" fmla="*/ 12430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86" h="15969">
                        <a:moveTo>
                          <a:pt x="1761" y="12430"/>
                        </a:moveTo>
                        <a:cubicBezTo>
                          <a:pt x="3614" y="14158"/>
                          <a:pt x="5956" y="13898"/>
                          <a:pt x="7946" y="13935"/>
                        </a:cubicBezTo>
                        <a:cubicBezTo>
                          <a:pt x="15347" y="14089"/>
                          <a:pt x="23162" y="14766"/>
                          <a:pt x="31171" y="15951"/>
                        </a:cubicBezTo>
                        <a:cubicBezTo>
                          <a:pt x="31765" y="16039"/>
                          <a:pt x="32382" y="15816"/>
                          <a:pt x="32782" y="15357"/>
                        </a:cubicBezTo>
                        <a:cubicBezTo>
                          <a:pt x="33181" y="14897"/>
                          <a:pt x="33321" y="14266"/>
                          <a:pt x="33153" y="13684"/>
                        </a:cubicBezTo>
                        <a:cubicBezTo>
                          <a:pt x="32156" y="10237"/>
                          <a:pt x="32773" y="6885"/>
                          <a:pt x="34932" y="3987"/>
                        </a:cubicBezTo>
                        <a:cubicBezTo>
                          <a:pt x="35314" y="3476"/>
                          <a:pt x="35394" y="2799"/>
                          <a:pt x="35140" y="2211"/>
                        </a:cubicBezTo>
                        <a:cubicBezTo>
                          <a:pt x="34889" y="1625"/>
                          <a:pt x="34343" y="1217"/>
                          <a:pt x="33710" y="1140"/>
                        </a:cubicBezTo>
                        <a:cubicBezTo>
                          <a:pt x="25558" y="252"/>
                          <a:pt x="16732" y="-359"/>
                          <a:pt x="7369" y="238"/>
                        </a:cubicBezTo>
                        <a:cubicBezTo>
                          <a:pt x="4022" y="1140"/>
                          <a:pt x="-3373" y="6931"/>
                          <a:pt x="1761" y="12430"/>
                        </a:cubicBezTo>
                        <a:close/>
                      </a:path>
                    </a:pathLst>
                  </a:custGeom>
                  <a:solidFill>
                    <a:srgbClr val="FFFFFF"/>
                  </a:solidFill>
                  <a:ln w="2826" cap="flat">
                    <a:noFill/>
                    <a:prstDash val="solid"/>
                    <a:miter/>
                  </a:ln>
                </p:spPr>
                <p:txBody>
                  <a:bodyPr rtlCol="0" anchor="ctr"/>
                  <a:lstStyle/>
                  <a:p>
                    <a:endParaRPr lang="fr-CA"/>
                  </a:p>
                </p:txBody>
              </p:sp>
              <p:sp>
                <p:nvSpPr>
                  <p:cNvPr id="1648" name="Forme libre : forme 1647">
                    <a:extLst>
                      <a:ext uri="{FF2B5EF4-FFF2-40B4-BE49-F238E27FC236}">
                        <a16:creationId xmlns:a16="http://schemas.microsoft.com/office/drawing/2014/main" id="{EE4B33E5-843F-FCBE-C20B-255B9C0F8A7E}"/>
                      </a:ext>
                    </a:extLst>
                  </p:cNvPr>
                  <p:cNvSpPr/>
                  <p:nvPr/>
                </p:nvSpPr>
                <p:spPr>
                  <a:xfrm>
                    <a:off x="9156994" y="4253261"/>
                    <a:ext cx="231515" cy="394784"/>
                  </a:xfrm>
                  <a:custGeom>
                    <a:avLst/>
                    <a:gdLst>
                      <a:gd name="connsiteX0" fmla="*/ 230697 w 231515"/>
                      <a:gd name="connsiteY0" fmla="*/ 200832 h 394784"/>
                      <a:gd name="connsiteX1" fmla="*/ 199717 w 231515"/>
                      <a:gd name="connsiteY1" fmla="*/ 83195 h 394784"/>
                      <a:gd name="connsiteX2" fmla="*/ 91565 w 231515"/>
                      <a:gd name="connsiteY2" fmla="*/ 138 h 394784"/>
                      <a:gd name="connsiteX3" fmla="*/ 24872 w 231515"/>
                      <a:gd name="connsiteY3" fmla="*/ 60189 h 394784"/>
                      <a:gd name="connsiteX4" fmla="*/ 5196 w 231515"/>
                      <a:gd name="connsiteY4" fmla="*/ 129845 h 394784"/>
                      <a:gd name="connsiteX5" fmla="*/ 425 w 231515"/>
                      <a:gd name="connsiteY5" fmla="*/ 165355 h 394784"/>
                      <a:gd name="connsiteX6" fmla="*/ 21417 w 231515"/>
                      <a:gd name="connsiteY6" fmla="*/ 297363 h 394784"/>
                      <a:gd name="connsiteX7" fmla="*/ 72311 w 231515"/>
                      <a:gd name="connsiteY7" fmla="*/ 363844 h 394784"/>
                      <a:gd name="connsiteX8" fmla="*/ 74864 w 231515"/>
                      <a:gd name="connsiteY8" fmla="*/ 368124 h 394784"/>
                      <a:gd name="connsiteX9" fmla="*/ 142570 w 231515"/>
                      <a:gd name="connsiteY9" fmla="*/ 394365 h 394784"/>
                      <a:gd name="connsiteX10" fmla="*/ 197238 w 231515"/>
                      <a:gd name="connsiteY10" fmla="*/ 356300 h 394784"/>
                      <a:gd name="connsiteX11" fmla="*/ 230697 w 231515"/>
                      <a:gd name="connsiteY11" fmla="*/ 200832 h 394784"/>
                      <a:gd name="connsiteX12" fmla="*/ 104439 w 231515"/>
                      <a:gd name="connsiteY12" fmla="*/ 372427 h 394784"/>
                      <a:gd name="connsiteX13" fmla="*/ 75175 w 231515"/>
                      <a:gd name="connsiteY13" fmla="*/ 347617 h 394784"/>
                      <a:gd name="connsiteX14" fmla="*/ 56407 w 231515"/>
                      <a:gd name="connsiteY14" fmla="*/ 322807 h 394784"/>
                      <a:gd name="connsiteX15" fmla="*/ 32345 w 231515"/>
                      <a:gd name="connsiteY15" fmla="*/ 69683 h 394784"/>
                      <a:gd name="connsiteX16" fmla="*/ 35731 w 231515"/>
                      <a:gd name="connsiteY16" fmla="*/ 63247 h 394784"/>
                      <a:gd name="connsiteX17" fmla="*/ 49428 w 231515"/>
                      <a:gd name="connsiteY17" fmla="*/ 39377 h 394784"/>
                      <a:gd name="connsiteX18" fmla="*/ 132242 w 231515"/>
                      <a:gd name="connsiteY18" fmla="*/ 26210 h 394784"/>
                      <a:gd name="connsiteX19" fmla="*/ 192198 w 231515"/>
                      <a:gd name="connsiteY19" fmla="*/ 104167 h 394784"/>
                      <a:gd name="connsiteX20" fmla="*/ 209091 w 231515"/>
                      <a:gd name="connsiteY20" fmla="*/ 292912 h 394784"/>
                      <a:gd name="connsiteX21" fmla="*/ 150245 w 231515"/>
                      <a:gd name="connsiteY21" fmla="*/ 374980 h 394784"/>
                      <a:gd name="connsiteX22" fmla="*/ 104439 w 231515"/>
                      <a:gd name="connsiteY22" fmla="*/ 372427 h 39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1515" h="394784">
                        <a:moveTo>
                          <a:pt x="230697" y="200832"/>
                        </a:moveTo>
                        <a:cubicBezTo>
                          <a:pt x="228835" y="166057"/>
                          <a:pt x="218425" y="121499"/>
                          <a:pt x="199717" y="83195"/>
                        </a:cubicBezTo>
                        <a:cubicBezTo>
                          <a:pt x="176397" y="35445"/>
                          <a:pt x="140183" y="-2591"/>
                          <a:pt x="91565" y="138"/>
                        </a:cubicBezTo>
                        <a:cubicBezTo>
                          <a:pt x="59782" y="4941"/>
                          <a:pt x="38646" y="29751"/>
                          <a:pt x="24872" y="60189"/>
                        </a:cubicBezTo>
                        <a:cubicBezTo>
                          <a:pt x="24096" y="61908"/>
                          <a:pt x="7966" y="99933"/>
                          <a:pt x="5196" y="129845"/>
                        </a:cubicBezTo>
                        <a:cubicBezTo>
                          <a:pt x="2715" y="141190"/>
                          <a:pt x="1064" y="153117"/>
                          <a:pt x="425" y="165355"/>
                        </a:cubicBezTo>
                        <a:cubicBezTo>
                          <a:pt x="-1817" y="208151"/>
                          <a:pt x="4762" y="258862"/>
                          <a:pt x="21417" y="297363"/>
                        </a:cubicBezTo>
                        <a:cubicBezTo>
                          <a:pt x="31477" y="320611"/>
                          <a:pt x="51958" y="347455"/>
                          <a:pt x="72311" y="363844"/>
                        </a:cubicBezTo>
                        <a:cubicBezTo>
                          <a:pt x="71811" y="364550"/>
                          <a:pt x="74058" y="367476"/>
                          <a:pt x="74864" y="368124"/>
                        </a:cubicBezTo>
                        <a:cubicBezTo>
                          <a:pt x="97427" y="387738"/>
                          <a:pt x="118693" y="396921"/>
                          <a:pt x="142570" y="394365"/>
                        </a:cubicBezTo>
                        <a:cubicBezTo>
                          <a:pt x="165969" y="389625"/>
                          <a:pt x="183858" y="375514"/>
                          <a:pt x="197238" y="356300"/>
                        </a:cubicBezTo>
                        <a:cubicBezTo>
                          <a:pt x="226671" y="314027"/>
                          <a:pt x="234272" y="247060"/>
                          <a:pt x="230697" y="200832"/>
                        </a:cubicBezTo>
                        <a:close/>
                        <a:moveTo>
                          <a:pt x="104439" y="372427"/>
                        </a:moveTo>
                        <a:cubicBezTo>
                          <a:pt x="92267" y="364338"/>
                          <a:pt x="81471" y="354459"/>
                          <a:pt x="75175" y="347617"/>
                        </a:cubicBezTo>
                        <a:cubicBezTo>
                          <a:pt x="68042" y="339868"/>
                          <a:pt x="61144" y="330491"/>
                          <a:pt x="56407" y="322807"/>
                        </a:cubicBezTo>
                        <a:cubicBezTo>
                          <a:pt x="11886" y="250561"/>
                          <a:pt x="-1234" y="155926"/>
                          <a:pt x="32345" y="69683"/>
                        </a:cubicBezTo>
                        <a:cubicBezTo>
                          <a:pt x="33958" y="66445"/>
                          <a:pt x="35271" y="63887"/>
                          <a:pt x="35731" y="63247"/>
                        </a:cubicBezTo>
                        <a:cubicBezTo>
                          <a:pt x="41493" y="55207"/>
                          <a:pt x="42053" y="46007"/>
                          <a:pt x="49428" y="39377"/>
                        </a:cubicBezTo>
                        <a:cubicBezTo>
                          <a:pt x="72811" y="18353"/>
                          <a:pt x="103057" y="7479"/>
                          <a:pt x="132242" y="26210"/>
                        </a:cubicBezTo>
                        <a:cubicBezTo>
                          <a:pt x="157443" y="40207"/>
                          <a:pt x="177836" y="68924"/>
                          <a:pt x="192198" y="104167"/>
                        </a:cubicBezTo>
                        <a:cubicBezTo>
                          <a:pt x="215589" y="161563"/>
                          <a:pt x="222982" y="236270"/>
                          <a:pt x="209091" y="292912"/>
                        </a:cubicBezTo>
                        <a:cubicBezTo>
                          <a:pt x="199474" y="332127"/>
                          <a:pt x="173464" y="367662"/>
                          <a:pt x="150245" y="374980"/>
                        </a:cubicBezTo>
                        <a:cubicBezTo>
                          <a:pt x="137961" y="378843"/>
                          <a:pt x="122571" y="377835"/>
                          <a:pt x="104439" y="372427"/>
                        </a:cubicBezTo>
                        <a:close/>
                      </a:path>
                    </a:pathLst>
                  </a:custGeom>
                  <a:solidFill>
                    <a:srgbClr val="FFFFFF"/>
                  </a:solidFill>
                  <a:ln w="2826" cap="flat">
                    <a:noFill/>
                    <a:prstDash val="solid"/>
                    <a:miter/>
                  </a:ln>
                </p:spPr>
                <p:txBody>
                  <a:bodyPr rtlCol="0" anchor="ctr"/>
                  <a:lstStyle/>
                  <a:p>
                    <a:endParaRPr lang="fr-CA"/>
                  </a:p>
                </p:txBody>
              </p:sp>
              <p:sp>
                <p:nvSpPr>
                  <p:cNvPr id="1649" name="Forme libre : forme 1648">
                    <a:extLst>
                      <a:ext uri="{FF2B5EF4-FFF2-40B4-BE49-F238E27FC236}">
                        <a16:creationId xmlns:a16="http://schemas.microsoft.com/office/drawing/2014/main" id="{CE08F64F-1AA1-3682-CB80-E0B9ED69175F}"/>
                      </a:ext>
                    </a:extLst>
                  </p:cNvPr>
                  <p:cNvSpPr/>
                  <p:nvPr/>
                </p:nvSpPr>
                <p:spPr>
                  <a:xfrm>
                    <a:off x="9271862" y="4429877"/>
                    <a:ext cx="22922" cy="35961"/>
                  </a:xfrm>
                  <a:custGeom>
                    <a:avLst/>
                    <a:gdLst>
                      <a:gd name="connsiteX0" fmla="*/ 19555 w 22922"/>
                      <a:gd name="connsiteY0" fmla="*/ 7618 h 35961"/>
                      <a:gd name="connsiteX1" fmla="*/ 8468 w 22922"/>
                      <a:gd name="connsiteY1" fmla="*/ 0 h 35961"/>
                      <a:gd name="connsiteX2" fmla="*/ 510 w 22922"/>
                      <a:gd name="connsiteY2" fmla="*/ 12312 h 35961"/>
                      <a:gd name="connsiteX3" fmla="*/ 1415 w 22922"/>
                      <a:gd name="connsiteY3" fmla="*/ 20045 h 35961"/>
                      <a:gd name="connsiteX4" fmla="*/ 1767 w 22922"/>
                      <a:gd name="connsiteY4" fmla="*/ 26483 h 35961"/>
                      <a:gd name="connsiteX5" fmla="*/ 10481 w 22922"/>
                      <a:gd name="connsiteY5" fmla="*/ 35172 h 35961"/>
                      <a:gd name="connsiteX6" fmla="*/ 11712 w 22922"/>
                      <a:gd name="connsiteY6" fmla="*/ 35837 h 35961"/>
                      <a:gd name="connsiteX7" fmla="*/ 21334 w 22922"/>
                      <a:gd name="connsiteY7" fmla="*/ 30986 h 35961"/>
                      <a:gd name="connsiteX8" fmla="*/ 19555 w 22922"/>
                      <a:gd name="connsiteY8" fmla="*/ 7618 h 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 h="35961">
                        <a:moveTo>
                          <a:pt x="19555" y="7618"/>
                        </a:moveTo>
                        <a:cubicBezTo>
                          <a:pt x="17003" y="3358"/>
                          <a:pt x="13168" y="722"/>
                          <a:pt x="8468" y="0"/>
                        </a:cubicBezTo>
                        <a:cubicBezTo>
                          <a:pt x="4368" y="297"/>
                          <a:pt x="2972" y="10097"/>
                          <a:pt x="510" y="12312"/>
                        </a:cubicBezTo>
                        <a:cubicBezTo>
                          <a:pt x="-1146" y="13417"/>
                          <a:pt x="1792" y="18857"/>
                          <a:pt x="1415" y="20045"/>
                        </a:cubicBezTo>
                        <a:cubicBezTo>
                          <a:pt x="2195" y="22443"/>
                          <a:pt x="490" y="24505"/>
                          <a:pt x="1767" y="26483"/>
                        </a:cubicBezTo>
                        <a:cubicBezTo>
                          <a:pt x="4596" y="29433"/>
                          <a:pt x="7997" y="32080"/>
                          <a:pt x="10481" y="35172"/>
                        </a:cubicBezTo>
                        <a:cubicBezTo>
                          <a:pt x="10784" y="35552"/>
                          <a:pt x="11226" y="35792"/>
                          <a:pt x="11712" y="35837"/>
                        </a:cubicBezTo>
                        <a:cubicBezTo>
                          <a:pt x="15378" y="36166"/>
                          <a:pt x="19613" y="36214"/>
                          <a:pt x="21334" y="30986"/>
                        </a:cubicBezTo>
                        <a:cubicBezTo>
                          <a:pt x="23990" y="23408"/>
                          <a:pt x="23262" y="13806"/>
                          <a:pt x="19555" y="7618"/>
                        </a:cubicBezTo>
                        <a:close/>
                      </a:path>
                    </a:pathLst>
                  </a:custGeom>
                  <a:solidFill>
                    <a:srgbClr val="FFFFFF"/>
                  </a:solidFill>
                  <a:ln w="2826" cap="flat">
                    <a:noFill/>
                    <a:prstDash val="solid"/>
                    <a:miter/>
                  </a:ln>
                </p:spPr>
                <p:txBody>
                  <a:bodyPr rtlCol="0" anchor="ctr"/>
                  <a:lstStyle/>
                  <a:p>
                    <a:endParaRPr lang="fr-CA"/>
                  </a:p>
                </p:txBody>
              </p:sp>
              <p:sp>
                <p:nvSpPr>
                  <p:cNvPr id="1650" name="Forme libre : forme 1649">
                    <a:extLst>
                      <a:ext uri="{FF2B5EF4-FFF2-40B4-BE49-F238E27FC236}">
                        <a16:creationId xmlns:a16="http://schemas.microsoft.com/office/drawing/2014/main" id="{E01915CA-14C6-1DF7-25E1-0B30E7D9789B}"/>
                      </a:ext>
                    </a:extLst>
                  </p:cNvPr>
                  <p:cNvSpPr/>
                  <p:nvPr/>
                </p:nvSpPr>
                <p:spPr>
                  <a:xfrm>
                    <a:off x="9245388" y="4433424"/>
                    <a:ext cx="19273" cy="36497"/>
                  </a:xfrm>
                  <a:custGeom>
                    <a:avLst/>
                    <a:gdLst>
                      <a:gd name="connsiteX0" fmla="*/ 19178 w 19273"/>
                      <a:gd name="connsiteY0" fmla="*/ 17897 h 36497"/>
                      <a:gd name="connsiteX1" fmla="*/ 6657 w 19273"/>
                      <a:gd name="connsiteY1" fmla="*/ 0 h 36497"/>
                      <a:gd name="connsiteX2" fmla="*/ 2177 w 19273"/>
                      <a:gd name="connsiteY2" fmla="*/ 8757 h 36497"/>
                      <a:gd name="connsiteX3" fmla="*/ 4493 w 19273"/>
                      <a:gd name="connsiteY3" fmla="*/ 28434 h 36497"/>
                      <a:gd name="connsiteX4" fmla="*/ 9164 w 19273"/>
                      <a:gd name="connsiteY4" fmla="*/ 36497 h 36497"/>
                      <a:gd name="connsiteX5" fmla="*/ 19178 w 19273"/>
                      <a:gd name="connsiteY5" fmla="*/ 17897 h 3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3" h="36497">
                        <a:moveTo>
                          <a:pt x="19178" y="17897"/>
                        </a:moveTo>
                        <a:cubicBezTo>
                          <a:pt x="18447" y="12858"/>
                          <a:pt x="13356" y="68"/>
                          <a:pt x="6657" y="0"/>
                        </a:cubicBezTo>
                        <a:cubicBezTo>
                          <a:pt x="2971" y="166"/>
                          <a:pt x="-3357" y="8846"/>
                          <a:pt x="2177" y="8757"/>
                        </a:cubicBezTo>
                        <a:cubicBezTo>
                          <a:pt x="11874" y="5896"/>
                          <a:pt x="13590" y="28359"/>
                          <a:pt x="4493" y="28434"/>
                        </a:cubicBezTo>
                        <a:cubicBezTo>
                          <a:pt x="-339" y="28573"/>
                          <a:pt x="4738" y="36069"/>
                          <a:pt x="9164" y="36497"/>
                        </a:cubicBezTo>
                        <a:cubicBezTo>
                          <a:pt x="15517" y="35792"/>
                          <a:pt x="19994" y="22209"/>
                          <a:pt x="19178" y="17897"/>
                        </a:cubicBezTo>
                        <a:close/>
                      </a:path>
                    </a:pathLst>
                  </a:custGeom>
                  <a:solidFill>
                    <a:srgbClr val="FFFFFF"/>
                  </a:solidFill>
                  <a:ln w="2826" cap="flat">
                    <a:noFill/>
                    <a:prstDash val="solid"/>
                    <a:miter/>
                  </a:ln>
                </p:spPr>
                <p:txBody>
                  <a:bodyPr rtlCol="0" anchor="ctr"/>
                  <a:lstStyle/>
                  <a:p>
                    <a:endParaRPr lang="fr-CA"/>
                  </a:p>
                </p:txBody>
              </p:sp>
              <p:sp>
                <p:nvSpPr>
                  <p:cNvPr id="1651" name="Forme libre : forme 1650">
                    <a:extLst>
                      <a:ext uri="{FF2B5EF4-FFF2-40B4-BE49-F238E27FC236}">
                        <a16:creationId xmlns:a16="http://schemas.microsoft.com/office/drawing/2014/main" id="{42F94288-6728-9DF9-171C-3F92F2CE5646}"/>
                      </a:ext>
                    </a:extLst>
                  </p:cNvPr>
                  <p:cNvSpPr/>
                  <p:nvPr/>
                </p:nvSpPr>
                <p:spPr>
                  <a:xfrm>
                    <a:off x="9289044" y="4244828"/>
                    <a:ext cx="172667" cy="28029"/>
                  </a:xfrm>
                  <a:custGeom>
                    <a:avLst/>
                    <a:gdLst>
                      <a:gd name="connsiteX0" fmla="*/ 171158 w 172667"/>
                      <a:gd name="connsiteY0" fmla="*/ 12983 h 28029"/>
                      <a:gd name="connsiteX1" fmla="*/ 170633 w 172667"/>
                      <a:gd name="connsiteY1" fmla="*/ 12929 h 28029"/>
                      <a:gd name="connsiteX2" fmla="*/ 170636 w 172667"/>
                      <a:gd name="connsiteY2" fmla="*/ 12900 h 28029"/>
                      <a:gd name="connsiteX3" fmla="*/ 151622 w 172667"/>
                      <a:gd name="connsiteY3" fmla="*/ 9868 h 28029"/>
                      <a:gd name="connsiteX4" fmla="*/ 136731 w 172667"/>
                      <a:gd name="connsiteY4" fmla="*/ 8080 h 28029"/>
                      <a:gd name="connsiteX5" fmla="*/ 123308 w 172667"/>
                      <a:gd name="connsiteY5" fmla="*/ 10068 h 28029"/>
                      <a:gd name="connsiteX6" fmla="*/ 97587 w 172667"/>
                      <a:gd name="connsiteY6" fmla="*/ 12366 h 28029"/>
                      <a:gd name="connsiteX7" fmla="*/ 2987 w 172667"/>
                      <a:gd name="connsiteY7" fmla="*/ 377 h 28029"/>
                      <a:gd name="connsiteX8" fmla="*/ 451 w 172667"/>
                      <a:gd name="connsiteY8" fmla="*/ 7181 h 28029"/>
                      <a:gd name="connsiteX9" fmla="*/ 2207 w 172667"/>
                      <a:gd name="connsiteY9" fmla="*/ 14602 h 28029"/>
                      <a:gd name="connsiteX10" fmla="*/ 105842 w 172667"/>
                      <a:gd name="connsiteY10" fmla="*/ 25889 h 28029"/>
                      <a:gd name="connsiteX11" fmla="*/ 146380 w 172667"/>
                      <a:gd name="connsiteY11" fmla="*/ 16475 h 28029"/>
                      <a:gd name="connsiteX12" fmla="*/ 161407 w 172667"/>
                      <a:gd name="connsiteY12" fmla="*/ 18522 h 28029"/>
                      <a:gd name="connsiteX13" fmla="*/ 170542 w 172667"/>
                      <a:gd name="connsiteY13" fmla="*/ 19747 h 28029"/>
                      <a:gd name="connsiteX14" fmla="*/ 172657 w 172667"/>
                      <a:gd name="connsiteY14" fmla="*/ 17983 h 28029"/>
                      <a:gd name="connsiteX15" fmla="*/ 171158 w 172667"/>
                      <a:gd name="connsiteY15" fmla="*/ 12983 h 2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667" h="28029">
                        <a:moveTo>
                          <a:pt x="171158" y="12983"/>
                        </a:moveTo>
                        <a:cubicBezTo>
                          <a:pt x="170984" y="12954"/>
                          <a:pt x="170819" y="12929"/>
                          <a:pt x="170633" y="12929"/>
                        </a:cubicBezTo>
                        <a:cubicBezTo>
                          <a:pt x="170633" y="12917"/>
                          <a:pt x="170633" y="12909"/>
                          <a:pt x="170636" y="12900"/>
                        </a:cubicBezTo>
                        <a:lnTo>
                          <a:pt x="151622" y="9868"/>
                        </a:lnTo>
                        <a:cubicBezTo>
                          <a:pt x="151613" y="10019"/>
                          <a:pt x="139378" y="8246"/>
                          <a:pt x="136731" y="8080"/>
                        </a:cubicBezTo>
                        <a:cubicBezTo>
                          <a:pt x="132354" y="9277"/>
                          <a:pt x="127960" y="9662"/>
                          <a:pt x="123308" y="10068"/>
                        </a:cubicBezTo>
                        <a:cubicBezTo>
                          <a:pt x="114702" y="10927"/>
                          <a:pt x="106910" y="11424"/>
                          <a:pt x="97587" y="12366"/>
                        </a:cubicBezTo>
                        <a:cubicBezTo>
                          <a:pt x="65391" y="15441"/>
                          <a:pt x="25321" y="19268"/>
                          <a:pt x="2987" y="377"/>
                        </a:cubicBezTo>
                        <a:cubicBezTo>
                          <a:pt x="-1216" y="-1642"/>
                          <a:pt x="152" y="5011"/>
                          <a:pt x="451" y="7181"/>
                        </a:cubicBezTo>
                        <a:cubicBezTo>
                          <a:pt x="1174" y="9379"/>
                          <a:pt x="-519" y="14236"/>
                          <a:pt x="2207" y="14602"/>
                        </a:cubicBezTo>
                        <a:cubicBezTo>
                          <a:pt x="36412" y="22574"/>
                          <a:pt x="71130" y="22977"/>
                          <a:pt x="105842" y="25889"/>
                        </a:cubicBezTo>
                        <a:cubicBezTo>
                          <a:pt x="119454" y="28682"/>
                          <a:pt x="140295" y="31217"/>
                          <a:pt x="146380" y="16475"/>
                        </a:cubicBezTo>
                        <a:cubicBezTo>
                          <a:pt x="151511" y="17280"/>
                          <a:pt x="158732" y="18231"/>
                          <a:pt x="161407" y="18522"/>
                        </a:cubicBezTo>
                        <a:cubicBezTo>
                          <a:pt x="164414" y="18851"/>
                          <a:pt x="167526" y="19188"/>
                          <a:pt x="170542" y="19747"/>
                        </a:cubicBezTo>
                        <a:cubicBezTo>
                          <a:pt x="171601" y="19973"/>
                          <a:pt x="172689" y="19071"/>
                          <a:pt x="172657" y="17983"/>
                        </a:cubicBezTo>
                        <a:cubicBezTo>
                          <a:pt x="172535" y="16549"/>
                          <a:pt x="173197" y="13411"/>
                          <a:pt x="171158" y="12983"/>
                        </a:cubicBezTo>
                        <a:close/>
                      </a:path>
                    </a:pathLst>
                  </a:custGeom>
                  <a:solidFill>
                    <a:srgbClr val="FFFFFF"/>
                  </a:solidFill>
                  <a:ln w="2826" cap="flat">
                    <a:noFill/>
                    <a:prstDash val="solid"/>
                    <a:miter/>
                  </a:ln>
                </p:spPr>
                <p:txBody>
                  <a:bodyPr rtlCol="0" anchor="ctr"/>
                  <a:lstStyle/>
                  <a:p>
                    <a:endParaRPr lang="fr-CA"/>
                  </a:p>
                </p:txBody>
              </p:sp>
            </p:grpSp>
            <p:grpSp>
              <p:nvGrpSpPr>
                <p:cNvPr id="1631" name="Graphique 35" descr="Garçon dans un fauteuil roulant">
                  <a:extLst>
                    <a:ext uri="{FF2B5EF4-FFF2-40B4-BE49-F238E27FC236}">
                      <a16:creationId xmlns:a16="http://schemas.microsoft.com/office/drawing/2014/main" id="{7122EBC8-07A0-BE66-665E-A13BA6A3FFCF}"/>
                    </a:ext>
                  </a:extLst>
                </p:cNvPr>
                <p:cNvGrpSpPr/>
                <p:nvPr/>
              </p:nvGrpSpPr>
              <p:grpSpPr>
                <a:xfrm>
                  <a:off x="9476564" y="4235455"/>
                  <a:ext cx="283060" cy="335695"/>
                  <a:chOff x="9476564" y="4235455"/>
                  <a:chExt cx="283060" cy="335695"/>
                </a:xfrm>
                <a:solidFill>
                  <a:srgbClr val="000000"/>
                </a:solidFill>
              </p:grpSpPr>
              <p:sp>
                <p:nvSpPr>
                  <p:cNvPr id="1641" name="Forme libre : forme 1640">
                    <a:extLst>
                      <a:ext uri="{FF2B5EF4-FFF2-40B4-BE49-F238E27FC236}">
                        <a16:creationId xmlns:a16="http://schemas.microsoft.com/office/drawing/2014/main" id="{EA6F66C3-24F7-1207-381D-DF102D5A7ACA}"/>
                      </a:ext>
                    </a:extLst>
                  </p:cNvPr>
                  <p:cNvSpPr/>
                  <p:nvPr/>
                </p:nvSpPr>
                <p:spPr>
                  <a:xfrm>
                    <a:off x="9476564" y="4235455"/>
                    <a:ext cx="283060" cy="335695"/>
                  </a:xfrm>
                  <a:custGeom>
                    <a:avLst/>
                    <a:gdLst>
                      <a:gd name="connsiteX0" fmla="*/ 280186 w 283060"/>
                      <a:gd name="connsiteY0" fmla="*/ 129361 h 335695"/>
                      <a:gd name="connsiteX1" fmla="*/ 217592 w 283060"/>
                      <a:gd name="connsiteY1" fmla="*/ 27439 h 335695"/>
                      <a:gd name="connsiteX2" fmla="*/ 102632 w 283060"/>
                      <a:gd name="connsiteY2" fmla="*/ 5 h 335695"/>
                      <a:gd name="connsiteX3" fmla="*/ 54494 w 283060"/>
                      <a:gd name="connsiteY3" fmla="*/ 6792 h 335695"/>
                      <a:gd name="connsiteX4" fmla="*/ 52532 w 283060"/>
                      <a:gd name="connsiteY4" fmla="*/ 9179 h 335695"/>
                      <a:gd name="connsiteX5" fmla="*/ 53249 w 283060"/>
                      <a:gd name="connsiteY5" fmla="*/ 13950 h 335695"/>
                      <a:gd name="connsiteX6" fmla="*/ 46331 w 283060"/>
                      <a:gd name="connsiteY6" fmla="*/ 17051 h 335695"/>
                      <a:gd name="connsiteX7" fmla="*/ 39252 w 283060"/>
                      <a:gd name="connsiteY7" fmla="*/ 18402 h 335695"/>
                      <a:gd name="connsiteX8" fmla="*/ 34401 w 283060"/>
                      <a:gd name="connsiteY8" fmla="*/ 15381 h 335695"/>
                      <a:gd name="connsiteX9" fmla="*/ 33684 w 283060"/>
                      <a:gd name="connsiteY9" fmla="*/ 28501 h 335695"/>
                      <a:gd name="connsiteX10" fmla="*/ 14519 w 283060"/>
                      <a:gd name="connsiteY10" fmla="*/ 14904 h 335695"/>
                      <a:gd name="connsiteX11" fmla="*/ 442 w 283060"/>
                      <a:gd name="connsiteY11" fmla="*/ 14904 h 335695"/>
                      <a:gd name="connsiteX12" fmla="*/ 2464 w 283060"/>
                      <a:gd name="connsiteY12" fmla="*/ 124347 h 335695"/>
                      <a:gd name="connsiteX13" fmla="*/ 4314 w 283060"/>
                      <a:gd name="connsiteY13" fmla="*/ 126074 h 335695"/>
                      <a:gd name="connsiteX14" fmla="*/ 18451 w 283060"/>
                      <a:gd name="connsiteY14" fmla="*/ 131733 h 335695"/>
                      <a:gd name="connsiteX15" fmla="*/ 22748 w 283060"/>
                      <a:gd name="connsiteY15" fmla="*/ 164416 h 335695"/>
                      <a:gd name="connsiteX16" fmla="*/ 23988 w 283060"/>
                      <a:gd name="connsiteY16" fmla="*/ 166346 h 335695"/>
                      <a:gd name="connsiteX17" fmla="*/ 54314 w 283060"/>
                      <a:gd name="connsiteY17" fmla="*/ 205633 h 335695"/>
                      <a:gd name="connsiteX18" fmla="*/ 76497 w 283060"/>
                      <a:gd name="connsiteY18" fmla="*/ 312163 h 335695"/>
                      <a:gd name="connsiteX19" fmla="*/ 78153 w 283060"/>
                      <a:gd name="connsiteY19" fmla="*/ 324418 h 335695"/>
                      <a:gd name="connsiteX20" fmla="*/ 87253 w 283060"/>
                      <a:gd name="connsiteY20" fmla="*/ 326371 h 335695"/>
                      <a:gd name="connsiteX21" fmla="*/ 112372 w 283060"/>
                      <a:gd name="connsiteY21" fmla="*/ 316446 h 335695"/>
                      <a:gd name="connsiteX22" fmla="*/ 110759 w 283060"/>
                      <a:gd name="connsiteY22" fmla="*/ 300193 h 335695"/>
                      <a:gd name="connsiteX23" fmla="*/ 116801 w 283060"/>
                      <a:gd name="connsiteY23" fmla="*/ 277353 h 335695"/>
                      <a:gd name="connsiteX24" fmla="*/ 111675 w 283060"/>
                      <a:gd name="connsiteY24" fmla="*/ 223359 h 335695"/>
                      <a:gd name="connsiteX25" fmla="*/ 109314 w 283060"/>
                      <a:gd name="connsiteY25" fmla="*/ 99913 h 335695"/>
                      <a:gd name="connsiteX26" fmla="*/ 113917 w 283060"/>
                      <a:gd name="connsiteY26" fmla="*/ 98197 h 335695"/>
                      <a:gd name="connsiteX27" fmla="*/ 158412 w 283060"/>
                      <a:gd name="connsiteY27" fmla="*/ 114556 h 335695"/>
                      <a:gd name="connsiteX28" fmla="*/ 194335 w 283060"/>
                      <a:gd name="connsiteY28" fmla="*/ 132082 h 335695"/>
                      <a:gd name="connsiteX29" fmla="*/ 193447 w 283060"/>
                      <a:gd name="connsiteY29" fmla="*/ 277214 h 335695"/>
                      <a:gd name="connsiteX30" fmla="*/ 197102 w 283060"/>
                      <a:gd name="connsiteY30" fmla="*/ 291744 h 335695"/>
                      <a:gd name="connsiteX31" fmla="*/ 200828 w 283060"/>
                      <a:gd name="connsiteY31" fmla="*/ 319770 h 335695"/>
                      <a:gd name="connsiteX32" fmla="*/ 202375 w 283060"/>
                      <a:gd name="connsiteY32" fmla="*/ 331145 h 335695"/>
                      <a:gd name="connsiteX33" fmla="*/ 205068 w 283060"/>
                      <a:gd name="connsiteY33" fmla="*/ 334935 h 335695"/>
                      <a:gd name="connsiteX34" fmla="*/ 246887 w 283060"/>
                      <a:gd name="connsiteY34" fmla="*/ 331360 h 335695"/>
                      <a:gd name="connsiteX35" fmla="*/ 256344 w 283060"/>
                      <a:gd name="connsiteY35" fmla="*/ 327930 h 335695"/>
                      <a:gd name="connsiteX36" fmla="*/ 265656 w 283060"/>
                      <a:gd name="connsiteY36" fmla="*/ 312329 h 335695"/>
                      <a:gd name="connsiteX37" fmla="*/ 267811 w 283060"/>
                      <a:gd name="connsiteY37" fmla="*/ 297529 h 335695"/>
                      <a:gd name="connsiteX38" fmla="*/ 277540 w 283060"/>
                      <a:gd name="connsiteY38" fmla="*/ 275383 h 335695"/>
                      <a:gd name="connsiteX39" fmla="*/ 280186 w 283060"/>
                      <a:gd name="connsiteY39" fmla="*/ 129361 h 33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3060" h="335695">
                        <a:moveTo>
                          <a:pt x="280186" y="129361"/>
                        </a:moveTo>
                        <a:cubicBezTo>
                          <a:pt x="291305" y="78296"/>
                          <a:pt x="270107" y="40285"/>
                          <a:pt x="217592" y="27439"/>
                        </a:cubicBezTo>
                        <a:cubicBezTo>
                          <a:pt x="207150" y="24615"/>
                          <a:pt x="103572" y="-395"/>
                          <a:pt x="102632" y="5"/>
                        </a:cubicBezTo>
                        <a:cubicBezTo>
                          <a:pt x="91182" y="4882"/>
                          <a:pt x="72945" y="14636"/>
                          <a:pt x="54494" y="6792"/>
                        </a:cubicBezTo>
                        <a:cubicBezTo>
                          <a:pt x="54237" y="6683"/>
                          <a:pt x="53235" y="6741"/>
                          <a:pt x="52532" y="9179"/>
                        </a:cubicBezTo>
                        <a:cubicBezTo>
                          <a:pt x="52158" y="10478"/>
                          <a:pt x="53752" y="12211"/>
                          <a:pt x="53249" y="13950"/>
                        </a:cubicBezTo>
                        <a:cubicBezTo>
                          <a:pt x="52847" y="15349"/>
                          <a:pt x="50611" y="18071"/>
                          <a:pt x="46331" y="17051"/>
                        </a:cubicBezTo>
                        <a:cubicBezTo>
                          <a:pt x="45742" y="16911"/>
                          <a:pt x="44900" y="20949"/>
                          <a:pt x="39252" y="18402"/>
                        </a:cubicBezTo>
                        <a:cubicBezTo>
                          <a:pt x="38338" y="17991"/>
                          <a:pt x="34655" y="14610"/>
                          <a:pt x="34401" y="15381"/>
                        </a:cubicBezTo>
                        <a:cubicBezTo>
                          <a:pt x="33296" y="18716"/>
                          <a:pt x="37096" y="28124"/>
                          <a:pt x="33684" y="28501"/>
                        </a:cubicBezTo>
                        <a:cubicBezTo>
                          <a:pt x="30107" y="28898"/>
                          <a:pt x="21503" y="19024"/>
                          <a:pt x="14519" y="14904"/>
                        </a:cubicBezTo>
                        <a:cubicBezTo>
                          <a:pt x="10585" y="12583"/>
                          <a:pt x="4617" y="14724"/>
                          <a:pt x="442" y="14904"/>
                        </a:cubicBezTo>
                        <a:cubicBezTo>
                          <a:pt x="-1162" y="47583"/>
                          <a:pt x="2087" y="96067"/>
                          <a:pt x="2464" y="124347"/>
                        </a:cubicBezTo>
                        <a:cubicBezTo>
                          <a:pt x="2478" y="125306"/>
                          <a:pt x="3352" y="126126"/>
                          <a:pt x="4314" y="126074"/>
                        </a:cubicBezTo>
                        <a:cubicBezTo>
                          <a:pt x="9205" y="125986"/>
                          <a:pt x="6961" y="125489"/>
                          <a:pt x="18451" y="131733"/>
                        </a:cubicBezTo>
                        <a:cubicBezTo>
                          <a:pt x="21997" y="134218"/>
                          <a:pt x="24210" y="152863"/>
                          <a:pt x="22748" y="164416"/>
                        </a:cubicBezTo>
                        <a:cubicBezTo>
                          <a:pt x="22640" y="165275"/>
                          <a:pt x="23162" y="166086"/>
                          <a:pt x="23988" y="166346"/>
                        </a:cubicBezTo>
                        <a:cubicBezTo>
                          <a:pt x="44635" y="172839"/>
                          <a:pt x="52076" y="195987"/>
                          <a:pt x="54314" y="205633"/>
                        </a:cubicBezTo>
                        <a:cubicBezTo>
                          <a:pt x="63029" y="241016"/>
                          <a:pt x="67743" y="277502"/>
                          <a:pt x="76497" y="312163"/>
                        </a:cubicBezTo>
                        <a:cubicBezTo>
                          <a:pt x="76609" y="317083"/>
                          <a:pt x="77231" y="319844"/>
                          <a:pt x="78153" y="324418"/>
                        </a:cubicBezTo>
                        <a:cubicBezTo>
                          <a:pt x="78942" y="327088"/>
                          <a:pt x="85369" y="325983"/>
                          <a:pt x="87253" y="326371"/>
                        </a:cubicBezTo>
                        <a:cubicBezTo>
                          <a:pt x="96422" y="326143"/>
                          <a:pt x="104440" y="323470"/>
                          <a:pt x="112372" y="316446"/>
                        </a:cubicBezTo>
                        <a:cubicBezTo>
                          <a:pt x="113523" y="309045"/>
                          <a:pt x="113049" y="308211"/>
                          <a:pt x="110759" y="300193"/>
                        </a:cubicBezTo>
                        <a:cubicBezTo>
                          <a:pt x="120495" y="292610"/>
                          <a:pt x="122723" y="286668"/>
                          <a:pt x="116801" y="277353"/>
                        </a:cubicBezTo>
                        <a:cubicBezTo>
                          <a:pt x="107538" y="262586"/>
                          <a:pt x="110739" y="240365"/>
                          <a:pt x="111675" y="223359"/>
                        </a:cubicBezTo>
                        <a:cubicBezTo>
                          <a:pt x="114131" y="182901"/>
                          <a:pt x="114271" y="144577"/>
                          <a:pt x="109314" y="99913"/>
                        </a:cubicBezTo>
                        <a:cubicBezTo>
                          <a:pt x="109231" y="99163"/>
                          <a:pt x="110961" y="98155"/>
                          <a:pt x="113917" y="98197"/>
                        </a:cubicBezTo>
                        <a:cubicBezTo>
                          <a:pt x="130038" y="97481"/>
                          <a:pt x="143735" y="106618"/>
                          <a:pt x="158412" y="114556"/>
                        </a:cubicBezTo>
                        <a:cubicBezTo>
                          <a:pt x="168571" y="119361"/>
                          <a:pt x="195131" y="128578"/>
                          <a:pt x="194335" y="132082"/>
                        </a:cubicBezTo>
                        <a:cubicBezTo>
                          <a:pt x="202627" y="181525"/>
                          <a:pt x="197750" y="232362"/>
                          <a:pt x="193447" y="277214"/>
                        </a:cubicBezTo>
                        <a:cubicBezTo>
                          <a:pt x="193749" y="282333"/>
                          <a:pt x="195508" y="287142"/>
                          <a:pt x="197102" y="291744"/>
                        </a:cubicBezTo>
                        <a:cubicBezTo>
                          <a:pt x="198875" y="296787"/>
                          <a:pt x="201370" y="316977"/>
                          <a:pt x="200828" y="319770"/>
                        </a:cubicBezTo>
                        <a:cubicBezTo>
                          <a:pt x="200728" y="323370"/>
                          <a:pt x="200094" y="328373"/>
                          <a:pt x="202375" y="331145"/>
                        </a:cubicBezTo>
                        <a:cubicBezTo>
                          <a:pt x="203475" y="332445"/>
                          <a:pt x="203178" y="334663"/>
                          <a:pt x="205068" y="334935"/>
                        </a:cubicBezTo>
                        <a:cubicBezTo>
                          <a:pt x="219742" y="336853"/>
                          <a:pt x="233396" y="334954"/>
                          <a:pt x="246887" y="331360"/>
                        </a:cubicBezTo>
                        <a:cubicBezTo>
                          <a:pt x="250265" y="329878"/>
                          <a:pt x="253409" y="328142"/>
                          <a:pt x="256344" y="327930"/>
                        </a:cubicBezTo>
                        <a:cubicBezTo>
                          <a:pt x="259405" y="327668"/>
                          <a:pt x="257115" y="315809"/>
                          <a:pt x="265656" y="312329"/>
                        </a:cubicBezTo>
                        <a:cubicBezTo>
                          <a:pt x="267389" y="311735"/>
                          <a:pt x="267346" y="303066"/>
                          <a:pt x="267811" y="297529"/>
                        </a:cubicBezTo>
                        <a:cubicBezTo>
                          <a:pt x="274256" y="293303"/>
                          <a:pt x="285806" y="282702"/>
                          <a:pt x="277540" y="275383"/>
                        </a:cubicBezTo>
                        <a:cubicBezTo>
                          <a:pt x="258746" y="259208"/>
                          <a:pt x="279647" y="156752"/>
                          <a:pt x="280186" y="129361"/>
                        </a:cubicBezTo>
                        <a:close/>
                      </a:path>
                    </a:pathLst>
                  </a:custGeom>
                  <a:solidFill>
                    <a:srgbClr val="000000"/>
                  </a:solidFill>
                  <a:ln w="2826" cap="flat">
                    <a:noFill/>
                    <a:prstDash val="solid"/>
                    <a:miter/>
                  </a:ln>
                </p:spPr>
                <p:txBody>
                  <a:bodyPr rtlCol="0" anchor="ctr"/>
                  <a:lstStyle/>
                  <a:p>
                    <a:endParaRPr lang="fr-CA"/>
                  </a:p>
                </p:txBody>
              </p:sp>
              <p:sp>
                <p:nvSpPr>
                  <p:cNvPr id="1642" name="Forme libre : forme 1641">
                    <a:extLst>
                      <a:ext uri="{FF2B5EF4-FFF2-40B4-BE49-F238E27FC236}">
                        <a16:creationId xmlns:a16="http://schemas.microsoft.com/office/drawing/2014/main" id="{115FCC5E-A416-C93B-4217-2116BCBEBA08}"/>
                      </a:ext>
                    </a:extLst>
                  </p:cNvPr>
                  <p:cNvSpPr/>
                  <p:nvPr/>
                </p:nvSpPr>
                <p:spPr>
                  <a:xfrm>
                    <a:off x="9501972" y="4424098"/>
                    <a:ext cx="34682" cy="119787"/>
                  </a:xfrm>
                  <a:custGeom>
                    <a:avLst/>
                    <a:gdLst>
                      <a:gd name="connsiteX0" fmla="*/ 28812 w 34682"/>
                      <a:gd name="connsiteY0" fmla="*/ 87888 h 119787"/>
                      <a:gd name="connsiteX1" fmla="*/ 935 w 34682"/>
                      <a:gd name="connsiteY1" fmla="*/ 0 h 119787"/>
                      <a:gd name="connsiteX2" fmla="*/ 1544 w 34682"/>
                      <a:gd name="connsiteY2" fmla="*/ 11379 h 119787"/>
                      <a:gd name="connsiteX3" fmla="*/ 20138 w 34682"/>
                      <a:gd name="connsiteY3" fmla="*/ 77172 h 119787"/>
                      <a:gd name="connsiteX4" fmla="*/ 32002 w 34682"/>
                      <a:gd name="connsiteY4" fmla="*/ 119548 h 119787"/>
                      <a:gd name="connsiteX5" fmla="*/ 33940 w 34682"/>
                      <a:gd name="connsiteY5" fmla="*/ 119448 h 119787"/>
                      <a:gd name="connsiteX6" fmla="*/ 34646 w 34682"/>
                      <a:gd name="connsiteY6" fmla="*/ 117640 h 119787"/>
                      <a:gd name="connsiteX7" fmla="*/ 28812 w 34682"/>
                      <a:gd name="connsiteY7" fmla="*/ 87888 h 11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2" h="119787">
                        <a:moveTo>
                          <a:pt x="28812" y="87888"/>
                        </a:moveTo>
                        <a:cubicBezTo>
                          <a:pt x="23202" y="67061"/>
                          <a:pt x="18856" y="10222"/>
                          <a:pt x="935" y="0"/>
                        </a:cubicBezTo>
                        <a:cubicBezTo>
                          <a:pt x="-1514" y="1082"/>
                          <a:pt x="1632" y="8912"/>
                          <a:pt x="1544" y="11379"/>
                        </a:cubicBezTo>
                        <a:cubicBezTo>
                          <a:pt x="4074" y="34004"/>
                          <a:pt x="12805" y="55791"/>
                          <a:pt x="20138" y="77172"/>
                        </a:cubicBezTo>
                        <a:cubicBezTo>
                          <a:pt x="17117" y="91668"/>
                          <a:pt x="16623" y="111493"/>
                          <a:pt x="32002" y="119548"/>
                        </a:cubicBezTo>
                        <a:cubicBezTo>
                          <a:pt x="32610" y="119899"/>
                          <a:pt x="33369" y="119862"/>
                          <a:pt x="33940" y="119448"/>
                        </a:cubicBezTo>
                        <a:cubicBezTo>
                          <a:pt x="34512" y="119037"/>
                          <a:pt x="34789" y="118329"/>
                          <a:pt x="34646" y="117640"/>
                        </a:cubicBezTo>
                        <a:cubicBezTo>
                          <a:pt x="32627" y="107747"/>
                          <a:pt x="30688" y="97650"/>
                          <a:pt x="28812" y="87888"/>
                        </a:cubicBezTo>
                        <a:close/>
                      </a:path>
                    </a:pathLst>
                  </a:custGeom>
                  <a:solidFill>
                    <a:srgbClr val="000000"/>
                  </a:solidFill>
                  <a:ln w="2826" cap="flat">
                    <a:noFill/>
                    <a:prstDash val="solid"/>
                    <a:miter/>
                  </a:ln>
                </p:spPr>
                <p:txBody>
                  <a:bodyPr rtlCol="0" anchor="ctr"/>
                  <a:lstStyle/>
                  <a:p>
                    <a:endParaRPr lang="fr-CA"/>
                  </a:p>
                </p:txBody>
              </p:sp>
            </p:grpSp>
            <p:grpSp>
              <p:nvGrpSpPr>
                <p:cNvPr id="1632" name="Graphique 35" descr="Garçon dans un fauteuil roulant">
                  <a:extLst>
                    <a:ext uri="{FF2B5EF4-FFF2-40B4-BE49-F238E27FC236}">
                      <a16:creationId xmlns:a16="http://schemas.microsoft.com/office/drawing/2014/main" id="{D65254D0-5E37-3161-C58F-E5D925924CAF}"/>
                    </a:ext>
                  </a:extLst>
                </p:cNvPr>
                <p:cNvGrpSpPr/>
                <p:nvPr/>
              </p:nvGrpSpPr>
              <p:grpSpPr>
                <a:xfrm>
                  <a:off x="9153323" y="3985440"/>
                  <a:ext cx="751062" cy="723778"/>
                  <a:chOff x="9153323" y="3985440"/>
                  <a:chExt cx="751062" cy="723778"/>
                </a:xfrm>
                <a:solidFill>
                  <a:srgbClr val="000000"/>
                </a:solidFill>
              </p:grpSpPr>
              <p:sp>
                <p:nvSpPr>
                  <p:cNvPr id="1633" name="Forme libre : forme 1632">
                    <a:extLst>
                      <a:ext uri="{FF2B5EF4-FFF2-40B4-BE49-F238E27FC236}">
                        <a16:creationId xmlns:a16="http://schemas.microsoft.com/office/drawing/2014/main" id="{97EF2022-A06B-918E-E309-5B442F1864C1}"/>
                      </a:ext>
                    </a:extLst>
                  </p:cNvPr>
                  <p:cNvSpPr/>
                  <p:nvPr/>
                </p:nvSpPr>
                <p:spPr>
                  <a:xfrm>
                    <a:off x="9424163" y="4656144"/>
                    <a:ext cx="6543" cy="6550"/>
                  </a:xfrm>
                  <a:custGeom>
                    <a:avLst/>
                    <a:gdLst>
                      <a:gd name="connsiteX0" fmla="*/ 5570 w 6543"/>
                      <a:gd name="connsiteY0" fmla="*/ 976 h 6550"/>
                      <a:gd name="connsiteX1" fmla="*/ 973 w 6543"/>
                      <a:gd name="connsiteY1" fmla="*/ 5573 h 6550"/>
                      <a:gd name="connsiteX2" fmla="*/ 5570 w 6543"/>
                      <a:gd name="connsiteY2" fmla="*/ 976 h 6550"/>
                    </a:gdLst>
                    <a:ahLst/>
                    <a:cxnLst>
                      <a:cxn ang="0">
                        <a:pos x="connsiteX0" y="connsiteY0"/>
                      </a:cxn>
                      <a:cxn ang="0">
                        <a:pos x="connsiteX1" y="connsiteY1"/>
                      </a:cxn>
                      <a:cxn ang="0">
                        <a:pos x="connsiteX2" y="connsiteY2"/>
                      </a:cxn>
                    </a:cxnLst>
                    <a:rect l="l" t="t" r="r" b="b"/>
                    <a:pathLst>
                      <a:path w="6543" h="6550">
                        <a:moveTo>
                          <a:pt x="5570" y="976"/>
                        </a:moveTo>
                        <a:cubicBezTo>
                          <a:pt x="2609" y="-2039"/>
                          <a:pt x="-2031" y="2626"/>
                          <a:pt x="973" y="5573"/>
                        </a:cubicBezTo>
                        <a:cubicBezTo>
                          <a:pt x="3934" y="8591"/>
                          <a:pt x="8574" y="3923"/>
                          <a:pt x="5570" y="976"/>
                        </a:cubicBezTo>
                        <a:close/>
                      </a:path>
                    </a:pathLst>
                  </a:custGeom>
                  <a:solidFill>
                    <a:srgbClr val="000000"/>
                  </a:solidFill>
                  <a:ln w="2826" cap="flat">
                    <a:noFill/>
                    <a:prstDash val="solid"/>
                    <a:miter/>
                  </a:ln>
                </p:spPr>
                <p:txBody>
                  <a:bodyPr rtlCol="0" anchor="ctr"/>
                  <a:lstStyle/>
                  <a:p>
                    <a:endParaRPr lang="fr-CA"/>
                  </a:p>
                </p:txBody>
              </p:sp>
              <p:sp>
                <p:nvSpPr>
                  <p:cNvPr id="1634" name="Forme libre : forme 1633">
                    <a:extLst>
                      <a:ext uri="{FF2B5EF4-FFF2-40B4-BE49-F238E27FC236}">
                        <a16:creationId xmlns:a16="http://schemas.microsoft.com/office/drawing/2014/main" id="{2788620D-15F9-C6D9-7594-95D03AA5DB90}"/>
                      </a:ext>
                    </a:extLst>
                  </p:cNvPr>
                  <p:cNvSpPr/>
                  <p:nvPr/>
                </p:nvSpPr>
                <p:spPr>
                  <a:xfrm>
                    <a:off x="9182847" y="4459743"/>
                    <a:ext cx="55575" cy="4132"/>
                  </a:xfrm>
                  <a:custGeom>
                    <a:avLst/>
                    <a:gdLst>
                      <a:gd name="connsiteX0" fmla="*/ 973 w 55575"/>
                      <a:gd name="connsiteY0" fmla="*/ 2782 h 4132"/>
                      <a:gd name="connsiteX1" fmla="*/ 55024 w 55575"/>
                      <a:gd name="connsiteY1" fmla="*/ 2605 h 4132"/>
                      <a:gd name="connsiteX2" fmla="*/ 28270 w 55575"/>
                      <a:gd name="connsiteY2" fmla="*/ 295 h 4132"/>
                      <a:gd name="connsiteX3" fmla="*/ 970 w 55575"/>
                      <a:gd name="connsiteY3" fmla="*/ 769 h 4132"/>
                      <a:gd name="connsiteX4" fmla="*/ 973 w 55575"/>
                      <a:gd name="connsiteY4" fmla="*/ 2782 h 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75" h="4132">
                        <a:moveTo>
                          <a:pt x="973" y="2782"/>
                        </a:moveTo>
                        <a:cubicBezTo>
                          <a:pt x="18887" y="3699"/>
                          <a:pt x="37236" y="5384"/>
                          <a:pt x="55024" y="2605"/>
                        </a:cubicBezTo>
                        <a:cubicBezTo>
                          <a:pt x="59924" y="-1569"/>
                          <a:pt x="30583" y="604"/>
                          <a:pt x="28270" y="295"/>
                        </a:cubicBezTo>
                        <a:cubicBezTo>
                          <a:pt x="19164" y="389"/>
                          <a:pt x="10075" y="532"/>
                          <a:pt x="970" y="769"/>
                        </a:cubicBezTo>
                        <a:cubicBezTo>
                          <a:pt x="-338" y="804"/>
                          <a:pt x="-309" y="2682"/>
                          <a:pt x="973" y="2782"/>
                        </a:cubicBezTo>
                        <a:close/>
                      </a:path>
                    </a:pathLst>
                  </a:custGeom>
                  <a:solidFill>
                    <a:srgbClr val="000000"/>
                  </a:solidFill>
                  <a:ln w="2826" cap="flat">
                    <a:noFill/>
                    <a:prstDash val="solid"/>
                    <a:miter/>
                  </a:ln>
                </p:spPr>
                <p:txBody>
                  <a:bodyPr rtlCol="0" anchor="ctr"/>
                  <a:lstStyle/>
                  <a:p>
                    <a:endParaRPr lang="fr-CA"/>
                  </a:p>
                </p:txBody>
              </p:sp>
              <p:sp>
                <p:nvSpPr>
                  <p:cNvPr id="1635" name="Forme libre : forme 1634">
                    <a:extLst>
                      <a:ext uri="{FF2B5EF4-FFF2-40B4-BE49-F238E27FC236}">
                        <a16:creationId xmlns:a16="http://schemas.microsoft.com/office/drawing/2014/main" id="{AA36AE18-79DD-4A1D-8DC9-9926B64AC754}"/>
                      </a:ext>
                    </a:extLst>
                  </p:cNvPr>
                  <p:cNvSpPr/>
                  <p:nvPr/>
                </p:nvSpPr>
                <p:spPr>
                  <a:xfrm>
                    <a:off x="9206205" y="4470289"/>
                    <a:ext cx="38415" cy="52696"/>
                  </a:xfrm>
                  <a:custGeom>
                    <a:avLst/>
                    <a:gdLst>
                      <a:gd name="connsiteX0" fmla="*/ 27186 w 38415"/>
                      <a:gd name="connsiteY0" fmla="*/ 12232 h 52696"/>
                      <a:gd name="connsiteX1" fmla="*/ 8449 w 38415"/>
                      <a:gd name="connsiteY1" fmla="*/ 38130 h 52696"/>
                      <a:gd name="connsiteX2" fmla="*/ 0 w 38415"/>
                      <a:gd name="connsiteY2" fmla="*/ 51274 h 52696"/>
                      <a:gd name="connsiteX3" fmla="*/ 6990 w 38415"/>
                      <a:gd name="connsiteY3" fmla="*/ 46457 h 52696"/>
                      <a:gd name="connsiteX4" fmla="*/ 20707 w 38415"/>
                      <a:gd name="connsiteY4" fmla="*/ 27554 h 52696"/>
                      <a:gd name="connsiteX5" fmla="*/ 38404 w 38415"/>
                      <a:gd name="connsiteY5" fmla="*/ 1505 h 52696"/>
                      <a:gd name="connsiteX6" fmla="*/ 27186 w 38415"/>
                      <a:gd name="connsiteY6" fmla="*/ 12232 h 5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15" h="52696">
                        <a:moveTo>
                          <a:pt x="27186" y="12232"/>
                        </a:moveTo>
                        <a:cubicBezTo>
                          <a:pt x="20895" y="20833"/>
                          <a:pt x="14685" y="29490"/>
                          <a:pt x="8449" y="38130"/>
                        </a:cubicBezTo>
                        <a:cubicBezTo>
                          <a:pt x="5548" y="42422"/>
                          <a:pt x="2039" y="46485"/>
                          <a:pt x="0" y="51274"/>
                        </a:cubicBezTo>
                        <a:cubicBezTo>
                          <a:pt x="451" y="55971"/>
                          <a:pt x="6065" y="47636"/>
                          <a:pt x="6990" y="46457"/>
                        </a:cubicBezTo>
                        <a:cubicBezTo>
                          <a:pt x="11710" y="40266"/>
                          <a:pt x="16124" y="33847"/>
                          <a:pt x="20707" y="27554"/>
                        </a:cubicBezTo>
                        <a:cubicBezTo>
                          <a:pt x="26660" y="18917"/>
                          <a:pt x="33430" y="10762"/>
                          <a:pt x="38404" y="1505"/>
                        </a:cubicBezTo>
                        <a:cubicBezTo>
                          <a:pt x="38816" y="-4900"/>
                          <a:pt x="28119" y="11144"/>
                          <a:pt x="27186" y="12232"/>
                        </a:cubicBezTo>
                        <a:close/>
                      </a:path>
                    </a:pathLst>
                  </a:custGeom>
                  <a:solidFill>
                    <a:srgbClr val="000000"/>
                  </a:solidFill>
                  <a:ln w="2826" cap="flat">
                    <a:noFill/>
                    <a:prstDash val="solid"/>
                    <a:miter/>
                  </a:ln>
                </p:spPr>
                <p:txBody>
                  <a:bodyPr rtlCol="0" anchor="ctr"/>
                  <a:lstStyle/>
                  <a:p>
                    <a:endParaRPr lang="fr-CA"/>
                  </a:p>
                </p:txBody>
              </p:sp>
              <p:grpSp>
                <p:nvGrpSpPr>
                  <p:cNvPr id="1636" name="Graphique 35" descr="Garçon dans un fauteuil roulant">
                    <a:extLst>
                      <a:ext uri="{FF2B5EF4-FFF2-40B4-BE49-F238E27FC236}">
                        <a16:creationId xmlns:a16="http://schemas.microsoft.com/office/drawing/2014/main" id="{271C4E04-48A3-2CDC-6D00-CB3026D3B753}"/>
                      </a:ext>
                    </a:extLst>
                  </p:cNvPr>
                  <p:cNvGrpSpPr/>
                  <p:nvPr/>
                </p:nvGrpSpPr>
                <p:grpSpPr>
                  <a:xfrm>
                    <a:off x="9563545" y="4567975"/>
                    <a:ext cx="42855" cy="31190"/>
                    <a:chOff x="9563545" y="4567975"/>
                    <a:chExt cx="42855" cy="31190"/>
                  </a:xfrm>
                  <a:solidFill>
                    <a:srgbClr val="000000"/>
                  </a:solidFill>
                </p:grpSpPr>
                <p:sp>
                  <p:nvSpPr>
                    <p:cNvPr id="1638" name="Forme libre : forme 1637">
                      <a:extLst>
                        <a:ext uri="{FF2B5EF4-FFF2-40B4-BE49-F238E27FC236}">
                          <a16:creationId xmlns:a16="http://schemas.microsoft.com/office/drawing/2014/main" id="{3AEC5614-3E21-2F0F-B429-0AE56C728677}"/>
                        </a:ext>
                      </a:extLst>
                    </p:cNvPr>
                    <p:cNvSpPr/>
                    <p:nvPr/>
                  </p:nvSpPr>
                  <p:spPr>
                    <a:xfrm>
                      <a:off x="9563545" y="4567975"/>
                      <a:ext cx="31054" cy="17572"/>
                    </a:xfrm>
                    <a:custGeom>
                      <a:avLst/>
                      <a:gdLst>
                        <a:gd name="connsiteX0" fmla="*/ 16334 w 31054"/>
                        <a:gd name="connsiteY0" fmla="*/ 7665 h 17572"/>
                        <a:gd name="connsiteX1" fmla="*/ 31053 w 31054"/>
                        <a:gd name="connsiteY1" fmla="*/ 5106 h 17572"/>
                        <a:gd name="connsiteX2" fmla="*/ 25165 w 31054"/>
                        <a:gd name="connsiteY2" fmla="*/ 67 h 17572"/>
                        <a:gd name="connsiteX3" fmla="*/ 147 w 31054"/>
                        <a:gd name="connsiteY3" fmla="*/ 16336 h 17572"/>
                        <a:gd name="connsiteX4" fmla="*/ 3516 w 31054"/>
                        <a:gd name="connsiteY4" fmla="*/ 15880 h 17572"/>
                        <a:gd name="connsiteX5" fmla="*/ 16334 w 31054"/>
                        <a:gd name="connsiteY5" fmla="*/ 7665 h 1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54" h="17572">
                          <a:moveTo>
                            <a:pt x="16334" y="7665"/>
                          </a:moveTo>
                          <a:cubicBezTo>
                            <a:pt x="25856" y="2220"/>
                            <a:pt x="30505" y="8219"/>
                            <a:pt x="31053" y="5106"/>
                          </a:cubicBezTo>
                          <a:cubicBezTo>
                            <a:pt x="31136" y="2040"/>
                            <a:pt x="27869" y="369"/>
                            <a:pt x="25165" y="67"/>
                          </a:cubicBezTo>
                          <a:cubicBezTo>
                            <a:pt x="19811" y="-938"/>
                            <a:pt x="-1989" y="9666"/>
                            <a:pt x="147" y="16336"/>
                          </a:cubicBezTo>
                          <a:cubicBezTo>
                            <a:pt x="429" y="18352"/>
                            <a:pt x="3390" y="17687"/>
                            <a:pt x="3516" y="15880"/>
                          </a:cubicBezTo>
                          <a:cubicBezTo>
                            <a:pt x="3882" y="13087"/>
                            <a:pt x="13653" y="9209"/>
                            <a:pt x="16334" y="7665"/>
                          </a:cubicBezTo>
                          <a:close/>
                        </a:path>
                      </a:pathLst>
                    </a:custGeom>
                    <a:solidFill>
                      <a:srgbClr val="000000"/>
                    </a:solidFill>
                    <a:ln w="2826" cap="flat">
                      <a:noFill/>
                      <a:prstDash val="solid"/>
                      <a:miter/>
                    </a:ln>
                  </p:spPr>
                  <p:txBody>
                    <a:bodyPr rtlCol="0" anchor="ctr"/>
                    <a:lstStyle/>
                    <a:p>
                      <a:endParaRPr lang="fr-CA"/>
                    </a:p>
                  </p:txBody>
                </p:sp>
                <p:sp>
                  <p:nvSpPr>
                    <p:cNvPr id="1639" name="Forme libre : forme 1638">
                      <a:extLst>
                        <a:ext uri="{FF2B5EF4-FFF2-40B4-BE49-F238E27FC236}">
                          <a16:creationId xmlns:a16="http://schemas.microsoft.com/office/drawing/2014/main" id="{08E03FE4-C09A-A865-CA3C-E170C83B8EE7}"/>
                        </a:ext>
                      </a:extLst>
                    </p:cNvPr>
                    <p:cNvSpPr/>
                    <p:nvPr/>
                  </p:nvSpPr>
                  <p:spPr>
                    <a:xfrm>
                      <a:off x="9568091" y="4576542"/>
                      <a:ext cx="32668" cy="17540"/>
                    </a:xfrm>
                    <a:custGeom>
                      <a:avLst/>
                      <a:gdLst>
                        <a:gd name="connsiteX0" fmla="*/ 24911 w 32668"/>
                        <a:gd name="connsiteY0" fmla="*/ 49 h 17540"/>
                        <a:gd name="connsiteX1" fmla="*/ 455 w 32668"/>
                        <a:gd name="connsiteY1" fmla="*/ 14372 h 17540"/>
                        <a:gd name="connsiteX2" fmla="*/ 2668 w 32668"/>
                        <a:gd name="connsiteY2" fmla="*/ 17241 h 17540"/>
                        <a:gd name="connsiteX3" fmla="*/ 16802 w 32668"/>
                        <a:gd name="connsiteY3" fmla="*/ 8107 h 17540"/>
                        <a:gd name="connsiteX4" fmla="*/ 27786 w 32668"/>
                        <a:gd name="connsiteY4" fmla="*/ 4915 h 17540"/>
                        <a:gd name="connsiteX5" fmla="*/ 32503 w 32668"/>
                        <a:gd name="connsiteY5" fmla="*/ 2616 h 17540"/>
                        <a:gd name="connsiteX6" fmla="*/ 24911 w 32668"/>
                        <a:gd name="connsiteY6" fmla="*/ 49 h 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68" h="17540">
                          <a:moveTo>
                            <a:pt x="24911" y="49"/>
                          </a:moveTo>
                          <a:cubicBezTo>
                            <a:pt x="15548" y="1474"/>
                            <a:pt x="6802" y="7545"/>
                            <a:pt x="455" y="14372"/>
                          </a:cubicBezTo>
                          <a:cubicBezTo>
                            <a:pt x="-824" y="15865"/>
                            <a:pt x="812" y="18412"/>
                            <a:pt x="2668" y="17241"/>
                          </a:cubicBezTo>
                          <a:cubicBezTo>
                            <a:pt x="7419" y="14243"/>
                            <a:pt x="11839" y="10786"/>
                            <a:pt x="16802" y="8107"/>
                          </a:cubicBezTo>
                          <a:cubicBezTo>
                            <a:pt x="20174" y="6268"/>
                            <a:pt x="23912" y="4946"/>
                            <a:pt x="27786" y="4915"/>
                          </a:cubicBezTo>
                          <a:cubicBezTo>
                            <a:pt x="29522" y="5089"/>
                            <a:pt x="33528" y="5483"/>
                            <a:pt x="32503" y="2616"/>
                          </a:cubicBezTo>
                          <a:cubicBezTo>
                            <a:pt x="31264" y="186"/>
                            <a:pt x="27327" y="-153"/>
                            <a:pt x="24911" y="49"/>
                          </a:cubicBezTo>
                          <a:close/>
                        </a:path>
                      </a:pathLst>
                    </a:custGeom>
                    <a:solidFill>
                      <a:srgbClr val="000000"/>
                    </a:solidFill>
                    <a:ln w="2826" cap="flat">
                      <a:noFill/>
                      <a:prstDash val="solid"/>
                      <a:miter/>
                    </a:ln>
                  </p:spPr>
                  <p:txBody>
                    <a:bodyPr rtlCol="0" anchor="ctr"/>
                    <a:lstStyle/>
                    <a:p>
                      <a:endParaRPr lang="fr-CA"/>
                    </a:p>
                  </p:txBody>
                </p:sp>
                <p:sp>
                  <p:nvSpPr>
                    <p:cNvPr id="1640" name="Forme libre : forme 1639">
                      <a:extLst>
                        <a:ext uri="{FF2B5EF4-FFF2-40B4-BE49-F238E27FC236}">
                          <a16:creationId xmlns:a16="http://schemas.microsoft.com/office/drawing/2014/main" id="{348D5D7A-AB45-B94F-4784-A33C9908E80A}"/>
                        </a:ext>
                      </a:extLst>
                    </p:cNvPr>
                    <p:cNvSpPr/>
                    <p:nvPr/>
                  </p:nvSpPr>
                  <p:spPr>
                    <a:xfrm>
                      <a:off x="9574725" y="4583303"/>
                      <a:ext cx="31675" cy="15862"/>
                    </a:xfrm>
                    <a:custGeom>
                      <a:avLst/>
                      <a:gdLst>
                        <a:gd name="connsiteX0" fmla="*/ 9996 w 31675"/>
                        <a:gd name="connsiteY0" fmla="*/ 4755 h 15862"/>
                        <a:gd name="connsiteX1" fmla="*/ 1630 w 31675"/>
                        <a:gd name="connsiteY1" fmla="*/ 15588 h 15862"/>
                        <a:gd name="connsiteX2" fmla="*/ 3437 w 31675"/>
                        <a:gd name="connsiteY2" fmla="*/ 13246 h 15862"/>
                        <a:gd name="connsiteX3" fmla="*/ 9139 w 31675"/>
                        <a:gd name="connsiteY3" fmla="*/ 10094 h 15862"/>
                        <a:gd name="connsiteX4" fmla="*/ 23388 w 31675"/>
                        <a:gd name="connsiteY4" fmla="*/ 5545 h 15862"/>
                        <a:gd name="connsiteX5" fmla="*/ 30811 w 31675"/>
                        <a:gd name="connsiteY5" fmla="*/ 3692 h 15862"/>
                        <a:gd name="connsiteX6" fmla="*/ 30811 w 31675"/>
                        <a:gd name="connsiteY6" fmla="*/ 634 h 15862"/>
                        <a:gd name="connsiteX7" fmla="*/ 9996 w 31675"/>
                        <a:gd name="connsiteY7" fmla="*/ 4755 h 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75" h="15862">
                          <a:moveTo>
                            <a:pt x="9996" y="4755"/>
                          </a:moveTo>
                          <a:cubicBezTo>
                            <a:pt x="5790" y="6242"/>
                            <a:pt x="-3818" y="10225"/>
                            <a:pt x="1630" y="15588"/>
                          </a:cubicBezTo>
                          <a:cubicBezTo>
                            <a:pt x="3009" y="16639"/>
                            <a:pt x="4574" y="14423"/>
                            <a:pt x="3437" y="13246"/>
                          </a:cubicBezTo>
                          <a:cubicBezTo>
                            <a:pt x="2481" y="12256"/>
                            <a:pt x="8537" y="10320"/>
                            <a:pt x="9139" y="10094"/>
                          </a:cubicBezTo>
                          <a:cubicBezTo>
                            <a:pt x="13805" y="8329"/>
                            <a:pt x="18499" y="6588"/>
                            <a:pt x="23388" y="5545"/>
                          </a:cubicBezTo>
                          <a:cubicBezTo>
                            <a:pt x="25829" y="5009"/>
                            <a:pt x="28644" y="5037"/>
                            <a:pt x="30811" y="3692"/>
                          </a:cubicBezTo>
                          <a:cubicBezTo>
                            <a:pt x="31854" y="3044"/>
                            <a:pt x="32068" y="1225"/>
                            <a:pt x="30811" y="634"/>
                          </a:cubicBezTo>
                          <a:cubicBezTo>
                            <a:pt x="24278" y="-1576"/>
                            <a:pt x="16184" y="2524"/>
                            <a:pt x="9996" y="4755"/>
                          </a:cubicBezTo>
                          <a:close/>
                        </a:path>
                      </a:pathLst>
                    </a:custGeom>
                    <a:solidFill>
                      <a:srgbClr val="000000"/>
                    </a:solidFill>
                    <a:ln w="2826" cap="flat">
                      <a:noFill/>
                      <a:prstDash val="solid"/>
                      <a:miter/>
                    </a:ln>
                  </p:spPr>
                  <p:txBody>
                    <a:bodyPr rtlCol="0" anchor="ctr"/>
                    <a:lstStyle/>
                    <a:p>
                      <a:endParaRPr lang="fr-CA"/>
                    </a:p>
                  </p:txBody>
                </p:sp>
              </p:grpSp>
              <p:sp>
                <p:nvSpPr>
                  <p:cNvPr id="1637" name="Forme libre : forme 1636">
                    <a:extLst>
                      <a:ext uri="{FF2B5EF4-FFF2-40B4-BE49-F238E27FC236}">
                        <a16:creationId xmlns:a16="http://schemas.microsoft.com/office/drawing/2014/main" id="{D9CFB656-9608-5124-E4E1-7AA6F1A95EB6}"/>
                      </a:ext>
                    </a:extLst>
                  </p:cNvPr>
                  <p:cNvSpPr/>
                  <p:nvPr/>
                </p:nvSpPr>
                <p:spPr>
                  <a:xfrm>
                    <a:off x="9153323" y="3985440"/>
                    <a:ext cx="751062" cy="723778"/>
                  </a:xfrm>
                  <a:custGeom>
                    <a:avLst/>
                    <a:gdLst>
                      <a:gd name="connsiteX0" fmla="*/ 748257 w 751062"/>
                      <a:gd name="connsiteY0" fmla="*/ 625144 h 723778"/>
                      <a:gd name="connsiteX1" fmla="*/ 747120 w 751062"/>
                      <a:gd name="connsiteY1" fmla="*/ 625078 h 723778"/>
                      <a:gd name="connsiteX2" fmla="*/ 744528 w 751062"/>
                      <a:gd name="connsiteY2" fmla="*/ 624544 h 723778"/>
                      <a:gd name="connsiteX3" fmla="*/ 743103 w 751062"/>
                      <a:gd name="connsiteY3" fmla="*/ 624444 h 723778"/>
                      <a:gd name="connsiteX4" fmla="*/ 730288 w 751062"/>
                      <a:gd name="connsiteY4" fmla="*/ 625070 h 723778"/>
                      <a:gd name="connsiteX5" fmla="*/ 723649 w 751062"/>
                      <a:gd name="connsiteY5" fmla="*/ 621843 h 723778"/>
                      <a:gd name="connsiteX6" fmla="*/ 698145 w 751062"/>
                      <a:gd name="connsiteY6" fmla="*/ 623485 h 723778"/>
                      <a:gd name="connsiteX7" fmla="*/ 685850 w 751062"/>
                      <a:gd name="connsiteY7" fmla="*/ 609137 h 723778"/>
                      <a:gd name="connsiteX8" fmla="*/ 637204 w 751062"/>
                      <a:gd name="connsiteY8" fmla="*/ 411350 h 723778"/>
                      <a:gd name="connsiteX9" fmla="*/ 628575 w 751062"/>
                      <a:gd name="connsiteY9" fmla="*/ 388570 h 723778"/>
                      <a:gd name="connsiteX10" fmla="*/ 608918 w 751062"/>
                      <a:gd name="connsiteY10" fmla="*/ 375355 h 723778"/>
                      <a:gd name="connsiteX11" fmla="*/ 596909 w 751062"/>
                      <a:gd name="connsiteY11" fmla="*/ 306844 h 723778"/>
                      <a:gd name="connsiteX12" fmla="*/ 590793 w 751062"/>
                      <a:gd name="connsiteY12" fmla="*/ 298789 h 723778"/>
                      <a:gd name="connsiteX13" fmla="*/ 581616 w 751062"/>
                      <a:gd name="connsiteY13" fmla="*/ 290808 h 723778"/>
                      <a:gd name="connsiteX14" fmla="*/ 579077 w 751062"/>
                      <a:gd name="connsiteY14" fmla="*/ 249394 h 723778"/>
                      <a:gd name="connsiteX15" fmla="*/ 577487 w 751062"/>
                      <a:gd name="connsiteY15" fmla="*/ 247804 h 723778"/>
                      <a:gd name="connsiteX16" fmla="*/ 570702 w 751062"/>
                      <a:gd name="connsiteY16" fmla="*/ 246824 h 723778"/>
                      <a:gd name="connsiteX17" fmla="*/ 563458 w 751062"/>
                      <a:gd name="connsiteY17" fmla="*/ 246545 h 723778"/>
                      <a:gd name="connsiteX18" fmla="*/ 445376 w 751062"/>
                      <a:gd name="connsiteY18" fmla="*/ 212891 h 723778"/>
                      <a:gd name="connsiteX19" fmla="*/ 430285 w 751062"/>
                      <a:gd name="connsiteY19" fmla="*/ 181799 h 723778"/>
                      <a:gd name="connsiteX20" fmla="*/ 419971 w 751062"/>
                      <a:gd name="connsiteY20" fmla="*/ 159057 h 723778"/>
                      <a:gd name="connsiteX21" fmla="*/ 390901 w 751062"/>
                      <a:gd name="connsiteY21" fmla="*/ 100302 h 723778"/>
                      <a:gd name="connsiteX22" fmla="*/ 381727 w 751062"/>
                      <a:gd name="connsiteY22" fmla="*/ 79872 h 723778"/>
                      <a:gd name="connsiteX23" fmla="*/ 349107 w 751062"/>
                      <a:gd name="connsiteY23" fmla="*/ 42190 h 723778"/>
                      <a:gd name="connsiteX24" fmla="*/ 319001 w 751062"/>
                      <a:gd name="connsiteY24" fmla="*/ 40094 h 723778"/>
                      <a:gd name="connsiteX25" fmla="*/ 303025 w 751062"/>
                      <a:gd name="connsiteY25" fmla="*/ 26831 h 723778"/>
                      <a:gd name="connsiteX26" fmla="*/ 297020 w 751062"/>
                      <a:gd name="connsiteY26" fmla="*/ 38095 h 723778"/>
                      <a:gd name="connsiteX27" fmla="*/ 299670 w 751062"/>
                      <a:gd name="connsiteY27" fmla="*/ 51613 h 723778"/>
                      <a:gd name="connsiteX28" fmla="*/ 301851 w 751062"/>
                      <a:gd name="connsiteY28" fmla="*/ 50693 h 723778"/>
                      <a:gd name="connsiteX29" fmla="*/ 301212 w 751062"/>
                      <a:gd name="connsiteY29" fmla="*/ 38761 h 723778"/>
                      <a:gd name="connsiteX30" fmla="*/ 303533 w 751062"/>
                      <a:gd name="connsiteY30" fmla="*/ 76303 h 723778"/>
                      <a:gd name="connsiteX31" fmla="*/ 301086 w 751062"/>
                      <a:gd name="connsiteY31" fmla="*/ 88118 h 723778"/>
                      <a:gd name="connsiteX32" fmla="*/ 280234 w 751062"/>
                      <a:gd name="connsiteY32" fmla="*/ 70067 h 723778"/>
                      <a:gd name="connsiteX33" fmla="*/ 261802 w 751062"/>
                      <a:gd name="connsiteY33" fmla="*/ 58103 h 723778"/>
                      <a:gd name="connsiteX34" fmla="*/ 235270 w 751062"/>
                      <a:gd name="connsiteY34" fmla="*/ 35334 h 723778"/>
                      <a:gd name="connsiteX35" fmla="*/ 237138 w 751062"/>
                      <a:gd name="connsiteY35" fmla="*/ 3469 h 723778"/>
                      <a:gd name="connsiteX36" fmla="*/ 235542 w 751062"/>
                      <a:gd name="connsiteY36" fmla="*/ 333 h 723778"/>
                      <a:gd name="connsiteX37" fmla="*/ 233620 w 751062"/>
                      <a:gd name="connsiteY37" fmla="*/ 2027 h 723778"/>
                      <a:gd name="connsiteX38" fmla="*/ 233292 w 751062"/>
                      <a:gd name="connsiteY38" fmla="*/ 16386 h 723778"/>
                      <a:gd name="connsiteX39" fmla="*/ 215137 w 751062"/>
                      <a:gd name="connsiteY39" fmla="*/ 43572 h 723778"/>
                      <a:gd name="connsiteX40" fmla="*/ 169152 w 751062"/>
                      <a:gd name="connsiteY40" fmla="*/ 80771 h 723778"/>
                      <a:gd name="connsiteX41" fmla="*/ 137929 w 751062"/>
                      <a:gd name="connsiteY41" fmla="*/ 77439 h 723778"/>
                      <a:gd name="connsiteX42" fmla="*/ 129126 w 751062"/>
                      <a:gd name="connsiteY42" fmla="*/ 77414 h 723778"/>
                      <a:gd name="connsiteX43" fmla="*/ 108293 w 751062"/>
                      <a:gd name="connsiteY43" fmla="*/ 58979 h 723778"/>
                      <a:gd name="connsiteX44" fmla="*/ 87766 w 751062"/>
                      <a:gd name="connsiteY44" fmla="*/ 54003 h 723778"/>
                      <a:gd name="connsiteX45" fmla="*/ 68235 w 751062"/>
                      <a:gd name="connsiteY45" fmla="*/ 56898 h 723778"/>
                      <a:gd name="connsiteX46" fmla="*/ 64943 w 751062"/>
                      <a:gd name="connsiteY46" fmla="*/ 76700 h 723778"/>
                      <a:gd name="connsiteX47" fmla="*/ 82803 w 751062"/>
                      <a:gd name="connsiteY47" fmla="*/ 78864 h 723778"/>
                      <a:gd name="connsiteX48" fmla="*/ 103228 w 751062"/>
                      <a:gd name="connsiteY48" fmla="*/ 81166 h 723778"/>
                      <a:gd name="connsiteX49" fmla="*/ 111977 w 751062"/>
                      <a:gd name="connsiteY49" fmla="*/ 106644 h 723778"/>
                      <a:gd name="connsiteX50" fmla="*/ 121810 w 751062"/>
                      <a:gd name="connsiteY50" fmla="*/ 262089 h 723778"/>
                      <a:gd name="connsiteX51" fmla="*/ 122453 w 751062"/>
                      <a:gd name="connsiteY51" fmla="*/ 264530 h 723778"/>
                      <a:gd name="connsiteX52" fmla="*/ 127264 w 751062"/>
                      <a:gd name="connsiteY52" fmla="*/ 264233 h 723778"/>
                      <a:gd name="connsiteX53" fmla="*/ 127618 w 751062"/>
                      <a:gd name="connsiteY53" fmla="*/ 256747 h 723778"/>
                      <a:gd name="connsiteX54" fmla="*/ 120671 w 751062"/>
                      <a:gd name="connsiteY54" fmla="*/ 149083 h 723778"/>
                      <a:gd name="connsiteX55" fmla="*/ 116180 w 751062"/>
                      <a:gd name="connsiteY55" fmla="*/ 96002 h 723778"/>
                      <a:gd name="connsiteX56" fmla="*/ 104950 w 751062"/>
                      <a:gd name="connsiteY56" fmla="*/ 76600 h 723778"/>
                      <a:gd name="connsiteX57" fmla="*/ 106529 w 751062"/>
                      <a:gd name="connsiteY57" fmla="*/ 63377 h 723778"/>
                      <a:gd name="connsiteX58" fmla="*/ 131087 w 751062"/>
                      <a:gd name="connsiteY58" fmla="*/ 117691 h 723778"/>
                      <a:gd name="connsiteX59" fmla="*/ 133971 w 751062"/>
                      <a:gd name="connsiteY59" fmla="*/ 180306 h 723778"/>
                      <a:gd name="connsiteX60" fmla="*/ 132669 w 751062"/>
                      <a:gd name="connsiteY60" fmla="*/ 256467 h 723778"/>
                      <a:gd name="connsiteX61" fmla="*/ 131950 w 751062"/>
                      <a:gd name="connsiteY61" fmla="*/ 260753 h 723778"/>
                      <a:gd name="connsiteX62" fmla="*/ 132407 w 751062"/>
                      <a:gd name="connsiteY62" fmla="*/ 271637 h 723778"/>
                      <a:gd name="connsiteX63" fmla="*/ 122821 w 751062"/>
                      <a:gd name="connsiteY63" fmla="*/ 268134 h 723778"/>
                      <a:gd name="connsiteX64" fmla="*/ 121833 w 751062"/>
                      <a:gd name="connsiteY64" fmla="*/ 263183 h 723778"/>
                      <a:gd name="connsiteX65" fmla="*/ 119832 w 751062"/>
                      <a:gd name="connsiteY65" fmla="*/ 263183 h 723778"/>
                      <a:gd name="connsiteX66" fmla="*/ 118884 w 751062"/>
                      <a:gd name="connsiteY66" fmla="*/ 267077 h 723778"/>
                      <a:gd name="connsiteX67" fmla="*/ 38391 w 751062"/>
                      <a:gd name="connsiteY67" fmla="*/ 306230 h 723778"/>
                      <a:gd name="connsiteX68" fmla="*/ 55244 w 751062"/>
                      <a:gd name="connsiteY68" fmla="*/ 616010 h 723778"/>
                      <a:gd name="connsiteX69" fmla="*/ 55121 w 751062"/>
                      <a:gd name="connsiteY69" fmla="*/ 616118 h 723778"/>
                      <a:gd name="connsiteX70" fmla="*/ 200638 w 751062"/>
                      <a:gd name="connsiteY70" fmla="*/ 627174 h 723778"/>
                      <a:gd name="connsiteX71" fmla="*/ 238677 w 751062"/>
                      <a:gd name="connsiteY71" fmla="*/ 633256 h 723778"/>
                      <a:gd name="connsiteX72" fmla="*/ 276296 w 751062"/>
                      <a:gd name="connsiteY72" fmla="*/ 723748 h 723778"/>
                      <a:gd name="connsiteX73" fmla="*/ 307374 w 751062"/>
                      <a:gd name="connsiteY73" fmla="*/ 627671 h 723778"/>
                      <a:gd name="connsiteX74" fmla="*/ 317262 w 751062"/>
                      <a:gd name="connsiteY74" fmla="*/ 601839 h 723778"/>
                      <a:gd name="connsiteX75" fmla="*/ 319092 w 751062"/>
                      <a:gd name="connsiteY75" fmla="*/ 590286 h 723778"/>
                      <a:gd name="connsiteX76" fmla="*/ 319766 w 751062"/>
                      <a:gd name="connsiteY76" fmla="*/ 582311 h 723778"/>
                      <a:gd name="connsiteX77" fmla="*/ 378509 w 751062"/>
                      <a:gd name="connsiteY77" fmla="*/ 596082 h 723778"/>
                      <a:gd name="connsiteX78" fmla="*/ 381173 w 751062"/>
                      <a:gd name="connsiteY78" fmla="*/ 638079 h 723778"/>
                      <a:gd name="connsiteX79" fmla="*/ 386096 w 751062"/>
                      <a:gd name="connsiteY79" fmla="*/ 657567 h 723778"/>
                      <a:gd name="connsiteX80" fmla="*/ 401851 w 751062"/>
                      <a:gd name="connsiteY80" fmla="*/ 665087 h 723778"/>
                      <a:gd name="connsiteX81" fmla="*/ 404264 w 751062"/>
                      <a:gd name="connsiteY81" fmla="*/ 678456 h 723778"/>
                      <a:gd name="connsiteX82" fmla="*/ 404496 w 751062"/>
                      <a:gd name="connsiteY82" fmla="*/ 679487 h 723778"/>
                      <a:gd name="connsiteX83" fmla="*/ 409178 w 751062"/>
                      <a:gd name="connsiteY83" fmla="*/ 680803 h 723778"/>
                      <a:gd name="connsiteX84" fmla="*/ 410595 w 751062"/>
                      <a:gd name="connsiteY84" fmla="*/ 686468 h 723778"/>
                      <a:gd name="connsiteX85" fmla="*/ 419320 w 751062"/>
                      <a:gd name="connsiteY85" fmla="*/ 685212 h 723778"/>
                      <a:gd name="connsiteX86" fmla="*/ 419523 w 751062"/>
                      <a:gd name="connsiteY86" fmla="*/ 680332 h 723778"/>
                      <a:gd name="connsiteX87" fmla="*/ 420014 w 751062"/>
                      <a:gd name="connsiteY87" fmla="*/ 673345 h 723778"/>
                      <a:gd name="connsiteX88" fmla="*/ 441855 w 751062"/>
                      <a:gd name="connsiteY88" fmla="*/ 670875 h 723778"/>
                      <a:gd name="connsiteX89" fmla="*/ 462196 w 751062"/>
                      <a:gd name="connsiteY89" fmla="*/ 663580 h 723778"/>
                      <a:gd name="connsiteX90" fmla="*/ 501235 w 751062"/>
                      <a:gd name="connsiteY90" fmla="*/ 658178 h 723778"/>
                      <a:gd name="connsiteX91" fmla="*/ 515857 w 751062"/>
                      <a:gd name="connsiteY91" fmla="*/ 679621 h 723778"/>
                      <a:gd name="connsiteX92" fmla="*/ 582549 w 751062"/>
                      <a:gd name="connsiteY92" fmla="*/ 672434 h 723778"/>
                      <a:gd name="connsiteX93" fmla="*/ 598071 w 751062"/>
                      <a:gd name="connsiteY93" fmla="*/ 677043 h 723778"/>
                      <a:gd name="connsiteX94" fmla="*/ 614578 w 751062"/>
                      <a:gd name="connsiteY94" fmla="*/ 674936 h 723778"/>
                      <a:gd name="connsiteX95" fmla="*/ 709358 w 751062"/>
                      <a:gd name="connsiteY95" fmla="*/ 657475 h 723778"/>
                      <a:gd name="connsiteX96" fmla="*/ 742469 w 751062"/>
                      <a:gd name="connsiteY96" fmla="*/ 648481 h 723778"/>
                      <a:gd name="connsiteX97" fmla="*/ 743285 w 751062"/>
                      <a:gd name="connsiteY97" fmla="*/ 644749 h 723778"/>
                      <a:gd name="connsiteX98" fmla="*/ 730610 w 751062"/>
                      <a:gd name="connsiteY98" fmla="*/ 642102 h 723778"/>
                      <a:gd name="connsiteX99" fmla="*/ 731059 w 751062"/>
                      <a:gd name="connsiteY99" fmla="*/ 640157 h 723778"/>
                      <a:gd name="connsiteX100" fmla="*/ 745661 w 751062"/>
                      <a:gd name="connsiteY100" fmla="*/ 639812 h 723778"/>
                      <a:gd name="connsiteX101" fmla="*/ 748257 w 751062"/>
                      <a:gd name="connsiteY101" fmla="*/ 625144 h 723778"/>
                      <a:gd name="connsiteX102" fmla="*/ 96509 w 751062"/>
                      <a:gd name="connsiteY102" fmla="*/ 73656 h 723778"/>
                      <a:gd name="connsiteX103" fmla="*/ 73058 w 751062"/>
                      <a:gd name="connsiteY103" fmla="*/ 71623 h 723778"/>
                      <a:gd name="connsiteX104" fmla="*/ 68081 w 751062"/>
                      <a:gd name="connsiteY104" fmla="*/ 70624 h 723778"/>
                      <a:gd name="connsiteX105" fmla="*/ 73098 w 751062"/>
                      <a:gd name="connsiteY105" fmla="*/ 61387 h 723778"/>
                      <a:gd name="connsiteX106" fmla="*/ 98576 w 751062"/>
                      <a:gd name="connsiteY106" fmla="*/ 62397 h 723778"/>
                      <a:gd name="connsiteX107" fmla="*/ 96509 w 751062"/>
                      <a:gd name="connsiteY107" fmla="*/ 73656 h 723778"/>
                      <a:gd name="connsiteX108" fmla="*/ 607379 w 751062"/>
                      <a:gd name="connsiteY108" fmla="*/ 388147 h 723778"/>
                      <a:gd name="connsiteX109" fmla="*/ 608427 w 751062"/>
                      <a:gd name="connsiteY109" fmla="*/ 379318 h 723778"/>
                      <a:gd name="connsiteX110" fmla="*/ 630927 w 751062"/>
                      <a:gd name="connsiteY110" fmla="*/ 410622 h 723778"/>
                      <a:gd name="connsiteX111" fmla="*/ 678660 w 751062"/>
                      <a:gd name="connsiteY111" fmla="*/ 607478 h 723778"/>
                      <a:gd name="connsiteX112" fmla="*/ 670720 w 751062"/>
                      <a:gd name="connsiteY112" fmla="*/ 607295 h 723778"/>
                      <a:gd name="connsiteX113" fmla="*/ 617376 w 751062"/>
                      <a:gd name="connsiteY113" fmla="*/ 405836 h 723778"/>
                      <a:gd name="connsiteX114" fmla="*/ 606900 w 751062"/>
                      <a:gd name="connsiteY114" fmla="*/ 392630 h 723778"/>
                      <a:gd name="connsiteX115" fmla="*/ 607379 w 751062"/>
                      <a:gd name="connsiteY115" fmla="*/ 388147 h 723778"/>
                      <a:gd name="connsiteX116" fmla="*/ 617108 w 751062"/>
                      <a:gd name="connsiteY116" fmla="*/ 538895 h 723778"/>
                      <a:gd name="connsiteX117" fmla="*/ 650852 w 751062"/>
                      <a:gd name="connsiteY117" fmla="*/ 543107 h 723778"/>
                      <a:gd name="connsiteX118" fmla="*/ 666588 w 751062"/>
                      <a:gd name="connsiteY118" fmla="*/ 607692 h 723778"/>
                      <a:gd name="connsiteX119" fmla="*/ 618649 w 751062"/>
                      <a:gd name="connsiteY119" fmla="*/ 598198 h 723778"/>
                      <a:gd name="connsiteX120" fmla="*/ 615429 w 751062"/>
                      <a:gd name="connsiteY120" fmla="*/ 566981 h 723778"/>
                      <a:gd name="connsiteX121" fmla="*/ 617108 w 751062"/>
                      <a:gd name="connsiteY121" fmla="*/ 538895 h 723778"/>
                      <a:gd name="connsiteX122" fmla="*/ 614098 w 751062"/>
                      <a:gd name="connsiteY122" fmla="*/ 407752 h 723778"/>
                      <a:gd name="connsiteX123" fmla="*/ 649961 w 751062"/>
                      <a:gd name="connsiteY123" fmla="*/ 539024 h 723778"/>
                      <a:gd name="connsiteX124" fmla="*/ 609324 w 751062"/>
                      <a:gd name="connsiteY124" fmla="*/ 533927 h 723778"/>
                      <a:gd name="connsiteX125" fmla="*/ 599236 w 751062"/>
                      <a:gd name="connsiteY125" fmla="*/ 509908 h 723778"/>
                      <a:gd name="connsiteX126" fmla="*/ 607294 w 751062"/>
                      <a:gd name="connsiteY126" fmla="*/ 510356 h 723778"/>
                      <a:gd name="connsiteX127" fmla="*/ 607459 w 751062"/>
                      <a:gd name="connsiteY127" fmla="*/ 519764 h 723778"/>
                      <a:gd name="connsiteX128" fmla="*/ 644647 w 751062"/>
                      <a:gd name="connsiteY128" fmla="*/ 525735 h 723778"/>
                      <a:gd name="connsiteX129" fmla="*/ 644647 w 751062"/>
                      <a:gd name="connsiteY129" fmla="*/ 522012 h 723778"/>
                      <a:gd name="connsiteX130" fmla="*/ 610152 w 751062"/>
                      <a:gd name="connsiteY130" fmla="*/ 519290 h 723778"/>
                      <a:gd name="connsiteX131" fmla="*/ 610717 w 751062"/>
                      <a:gd name="connsiteY131" fmla="*/ 510025 h 723778"/>
                      <a:gd name="connsiteX132" fmla="*/ 611954 w 751062"/>
                      <a:gd name="connsiteY132" fmla="*/ 508669 h 723778"/>
                      <a:gd name="connsiteX133" fmla="*/ 610849 w 751062"/>
                      <a:gd name="connsiteY133" fmla="*/ 501116 h 723778"/>
                      <a:gd name="connsiteX134" fmla="*/ 607551 w 751062"/>
                      <a:gd name="connsiteY134" fmla="*/ 492519 h 723778"/>
                      <a:gd name="connsiteX135" fmla="*/ 599110 w 751062"/>
                      <a:gd name="connsiteY135" fmla="*/ 487059 h 723778"/>
                      <a:gd name="connsiteX136" fmla="*/ 606471 w 751062"/>
                      <a:gd name="connsiteY136" fmla="*/ 396682 h 723778"/>
                      <a:gd name="connsiteX137" fmla="*/ 614098 w 751062"/>
                      <a:gd name="connsiteY137" fmla="*/ 407752 h 723778"/>
                      <a:gd name="connsiteX138" fmla="*/ 602380 w 751062"/>
                      <a:gd name="connsiteY138" fmla="*/ 576372 h 723778"/>
                      <a:gd name="connsiteX139" fmla="*/ 602083 w 751062"/>
                      <a:gd name="connsiteY139" fmla="*/ 547127 h 723778"/>
                      <a:gd name="connsiteX140" fmla="*/ 608179 w 751062"/>
                      <a:gd name="connsiteY140" fmla="*/ 537425 h 723778"/>
                      <a:gd name="connsiteX141" fmla="*/ 613924 w 751062"/>
                      <a:gd name="connsiteY141" fmla="*/ 538444 h 723778"/>
                      <a:gd name="connsiteX142" fmla="*/ 611865 w 751062"/>
                      <a:gd name="connsiteY142" fmla="*/ 568126 h 723778"/>
                      <a:gd name="connsiteX143" fmla="*/ 614355 w 751062"/>
                      <a:gd name="connsiteY143" fmla="*/ 594960 h 723778"/>
                      <a:gd name="connsiteX144" fmla="*/ 602334 w 751062"/>
                      <a:gd name="connsiteY144" fmla="*/ 579604 h 723778"/>
                      <a:gd name="connsiteX145" fmla="*/ 602380 w 751062"/>
                      <a:gd name="connsiteY145" fmla="*/ 576372 h 723778"/>
                      <a:gd name="connsiteX146" fmla="*/ 598833 w 751062"/>
                      <a:gd name="connsiteY146" fmla="*/ 507229 h 723778"/>
                      <a:gd name="connsiteX147" fmla="*/ 598942 w 751062"/>
                      <a:gd name="connsiteY147" fmla="*/ 489923 h 723778"/>
                      <a:gd name="connsiteX148" fmla="*/ 604510 w 751062"/>
                      <a:gd name="connsiteY148" fmla="*/ 495123 h 723778"/>
                      <a:gd name="connsiteX149" fmla="*/ 608596 w 751062"/>
                      <a:gd name="connsiteY149" fmla="*/ 503398 h 723778"/>
                      <a:gd name="connsiteX150" fmla="*/ 608896 w 751062"/>
                      <a:gd name="connsiteY150" fmla="*/ 506787 h 723778"/>
                      <a:gd name="connsiteX151" fmla="*/ 598833 w 751062"/>
                      <a:gd name="connsiteY151" fmla="*/ 507229 h 723778"/>
                      <a:gd name="connsiteX152" fmla="*/ 579003 w 751062"/>
                      <a:gd name="connsiteY152" fmla="*/ 296887 h 723778"/>
                      <a:gd name="connsiteX153" fmla="*/ 588243 w 751062"/>
                      <a:gd name="connsiteY153" fmla="*/ 306398 h 723778"/>
                      <a:gd name="connsiteX154" fmla="*/ 603919 w 751062"/>
                      <a:gd name="connsiteY154" fmla="*/ 341259 h 723778"/>
                      <a:gd name="connsiteX155" fmla="*/ 601654 w 751062"/>
                      <a:gd name="connsiteY155" fmla="*/ 379167 h 723778"/>
                      <a:gd name="connsiteX156" fmla="*/ 591081 w 751062"/>
                      <a:gd name="connsiteY156" fmla="*/ 496476 h 723778"/>
                      <a:gd name="connsiteX157" fmla="*/ 598562 w 751062"/>
                      <a:gd name="connsiteY157" fmla="*/ 525698 h 723778"/>
                      <a:gd name="connsiteX158" fmla="*/ 601929 w 751062"/>
                      <a:gd name="connsiteY158" fmla="*/ 531094 h 723778"/>
                      <a:gd name="connsiteX159" fmla="*/ 580411 w 751062"/>
                      <a:gd name="connsiteY159" fmla="*/ 555625 h 723778"/>
                      <a:gd name="connsiteX160" fmla="*/ 525694 w 751062"/>
                      <a:gd name="connsiteY160" fmla="*/ 556718 h 723778"/>
                      <a:gd name="connsiteX161" fmla="*/ 518472 w 751062"/>
                      <a:gd name="connsiteY161" fmla="*/ 527400 h 723778"/>
                      <a:gd name="connsiteX162" fmla="*/ 519343 w 751062"/>
                      <a:gd name="connsiteY162" fmla="*/ 381802 h 723778"/>
                      <a:gd name="connsiteX163" fmla="*/ 520685 w 751062"/>
                      <a:gd name="connsiteY163" fmla="*/ 372417 h 723778"/>
                      <a:gd name="connsiteX164" fmla="*/ 519903 w 751062"/>
                      <a:gd name="connsiteY164" fmla="*/ 358020 h 723778"/>
                      <a:gd name="connsiteX165" fmla="*/ 512131 w 751062"/>
                      <a:gd name="connsiteY165" fmla="*/ 358020 h 723778"/>
                      <a:gd name="connsiteX166" fmla="*/ 512956 w 751062"/>
                      <a:gd name="connsiteY166" fmla="*/ 374653 h 723778"/>
                      <a:gd name="connsiteX167" fmla="*/ 437084 w 751062"/>
                      <a:gd name="connsiteY167" fmla="*/ 346425 h 723778"/>
                      <a:gd name="connsiteX168" fmla="*/ 424980 w 751062"/>
                      <a:gd name="connsiteY168" fmla="*/ 309182 h 723778"/>
                      <a:gd name="connsiteX169" fmla="*/ 418664 w 751062"/>
                      <a:gd name="connsiteY169" fmla="*/ 298797 h 723778"/>
                      <a:gd name="connsiteX170" fmla="*/ 388477 w 751062"/>
                      <a:gd name="connsiteY170" fmla="*/ 279307 h 723778"/>
                      <a:gd name="connsiteX171" fmla="*/ 387095 w 751062"/>
                      <a:gd name="connsiteY171" fmla="*/ 284321 h 723778"/>
                      <a:gd name="connsiteX172" fmla="*/ 403568 w 751062"/>
                      <a:gd name="connsiteY172" fmla="*/ 292941 h 723778"/>
                      <a:gd name="connsiteX173" fmla="*/ 407719 w 751062"/>
                      <a:gd name="connsiteY173" fmla="*/ 296887 h 723778"/>
                      <a:gd name="connsiteX174" fmla="*/ 430525 w 751062"/>
                      <a:gd name="connsiteY174" fmla="*/ 347870 h 723778"/>
                      <a:gd name="connsiteX175" fmla="*/ 434362 w 751062"/>
                      <a:gd name="connsiteY175" fmla="*/ 448723 h 723778"/>
                      <a:gd name="connsiteX176" fmla="*/ 432792 w 751062"/>
                      <a:gd name="connsiteY176" fmla="*/ 512186 h 723778"/>
                      <a:gd name="connsiteX177" fmla="*/ 429388 w 751062"/>
                      <a:gd name="connsiteY177" fmla="*/ 551462 h 723778"/>
                      <a:gd name="connsiteX178" fmla="*/ 414215 w 751062"/>
                      <a:gd name="connsiteY178" fmla="*/ 561093 h 723778"/>
                      <a:gd name="connsiteX179" fmla="*/ 404358 w 751062"/>
                      <a:gd name="connsiteY179" fmla="*/ 561207 h 723778"/>
                      <a:gd name="connsiteX180" fmla="*/ 400584 w 751062"/>
                      <a:gd name="connsiteY180" fmla="*/ 560596 h 723778"/>
                      <a:gd name="connsiteX181" fmla="*/ 379308 w 751062"/>
                      <a:gd name="connsiteY181" fmla="*/ 455245 h 723778"/>
                      <a:gd name="connsiteX182" fmla="*/ 347771 w 751062"/>
                      <a:gd name="connsiteY182" fmla="*/ 414650 h 723778"/>
                      <a:gd name="connsiteX183" fmla="*/ 345755 w 751062"/>
                      <a:gd name="connsiteY183" fmla="*/ 380949 h 723778"/>
                      <a:gd name="connsiteX184" fmla="*/ 345093 w 751062"/>
                      <a:gd name="connsiteY184" fmla="*/ 362586 h 723778"/>
                      <a:gd name="connsiteX185" fmla="*/ 341287 w 751062"/>
                      <a:gd name="connsiteY185" fmla="*/ 362072 h 723778"/>
                      <a:gd name="connsiteX186" fmla="*/ 340419 w 751062"/>
                      <a:gd name="connsiteY186" fmla="*/ 378405 h 723778"/>
                      <a:gd name="connsiteX187" fmla="*/ 330368 w 751062"/>
                      <a:gd name="connsiteY187" fmla="*/ 374356 h 723778"/>
                      <a:gd name="connsiteX188" fmla="*/ 329643 w 751062"/>
                      <a:gd name="connsiteY188" fmla="*/ 378921 h 723778"/>
                      <a:gd name="connsiteX189" fmla="*/ 339922 w 751062"/>
                      <a:gd name="connsiteY189" fmla="*/ 385166 h 723778"/>
                      <a:gd name="connsiteX190" fmla="*/ 340424 w 751062"/>
                      <a:gd name="connsiteY190" fmla="*/ 389897 h 723778"/>
                      <a:gd name="connsiteX191" fmla="*/ 328044 w 751062"/>
                      <a:gd name="connsiteY191" fmla="*/ 393004 h 723778"/>
                      <a:gd name="connsiteX192" fmla="*/ 325445 w 751062"/>
                      <a:gd name="connsiteY192" fmla="*/ 283947 h 723778"/>
                      <a:gd name="connsiteX193" fmla="*/ 324868 w 751062"/>
                      <a:gd name="connsiteY193" fmla="*/ 266586 h 723778"/>
                      <a:gd name="connsiteX194" fmla="*/ 329177 w 751062"/>
                      <a:gd name="connsiteY194" fmla="*/ 266364 h 723778"/>
                      <a:gd name="connsiteX195" fmla="*/ 335368 w 751062"/>
                      <a:gd name="connsiteY195" fmla="*/ 265969 h 723778"/>
                      <a:gd name="connsiteX196" fmla="*/ 352463 w 751062"/>
                      <a:gd name="connsiteY196" fmla="*/ 277871 h 723778"/>
                      <a:gd name="connsiteX197" fmla="*/ 359038 w 751062"/>
                      <a:gd name="connsiteY197" fmla="*/ 279338 h 723778"/>
                      <a:gd name="connsiteX198" fmla="*/ 359432 w 751062"/>
                      <a:gd name="connsiteY198" fmla="*/ 267534 h 723778"/>
                      <a:gd name="connsiteX199" fmla="*/ 369620 w 751062"/>
                      <a:gd name="connsiteY199" fmla="*/ 268982 h 723778"/>
                      <a:gd name="connsiteX200" fmla="*/ 370283 w 751062"/>
                      <a:gd name="connsiteY200" fmla="*/ 267606 h 723778"/>
                      <a:gd name="connsiteX201" fmla="*/ 370979 w 751062"/>
                      <a:gd name="connsiteY201" fmla="*/ 268148 h 723778"/>
                      <a:gd name="connsiteX202" fmla="*/ 377081 w 751062"/>
                      <a:gd name="connsiteY202" fmla="*/ 260450 h 723778"/>
                      <a:gd name="connsiteX203" fmla="*/ 378489 w 751062"/>
                      <a:gd name="connsiteY203" fmla="*/ 257900 h 723778"/>
                      <a:gd name="connsiteX204" fmla="*/ 426416 w 751062"/>
                      <a:gd name="connsiteY204" fmla="*/ 251841 h 723778"/>
                      <a:gd name="connsiteX205" fmla="*/ 427521 w 751062"/>
                      <a:gd name="connsiteY205" fmla="*/ 251656 h 723778"/>
                      <a:gd name="connsiteX206" fmla="*/ 449227 w 751062"/>
                      <a:gd name="connsiteY206" fmla="*/ 258080 h 723778"/>
                      <a:gd name="connsiteX207" fmla="*/ 509826 w 751062"/>
                      <a:gd name="connsiteY207" fmla="*/ 272380 h 723778"/>
                      <a:gd name="connsiteX208" fmla="*/ 570708 w 751062"/>
                      <a:gd name="connsiteY208" fmla="*/ 291368 h 723778"/>
                      <a:gd name="connsiteX209" fmla="*/ 579003 w 751062"/>
                      <a:gd name="connsiteY209" fmla="*/ 296887 h 723778"/>
                      <a:gd name="connsiteX210" fmla="*/ 598351 w 751062"/>
                      <a:gd name="connsiteY210" fmla="*/ 569867 h 723778"/>
                      <a:gd name="connsiteX211" fmla="*/ 592283 w 751062"/>
                      <a:gd name="connsiteY211" fmla="*/ 561584 h 723778"/>
                      <a:gd name="connsiteX212" fmla="*/ 593602 w 751062"/>
                      <a:gd name="connsiteY212" fmla="*/ 554691 h 723778"/>
                      <a:gd name="connsiteX213" fmla="*/ 598465 w 751062"/>
                      <a:gd name="connsiteY213" fmla="*/ 550782 h 723778"/>
                      <a:gd name="connsiteX214" fmla="*/ 598351 w 751062"/>
                      <a:gd name="connsiteY214" fmla="*/ 569867 h 723778"/>
                      <a:gd name="connsiteX215" fmla="*/ 588289 w 751062"/>
                      <a:gd name="connsiteY215" fmla="*/ 560659 h 723778"/>
                      <a:gd name="connsiteX216" fmla="*/ 579348 w 751062"/>
                      <a:gd name="connsiteY216" fmla="*/ 576172 h 723778"/>
                      <a:gd name="connsiteX217" fmla="*/ 569992 w 751062"/>
                      <a:gd name="connsiteY217" fmla="*/ 579590 h 723778"/>
                      <a:gd name="connsiteX218" fmla="*/ 560666 w 751062"/>
                      <a:gd name="connsiteY218" fmla="*/ 581803 h 723778"/>
                      <a:gd name="connsiteX219" fmla="*/ 528489 w 751062"/>
                      <a:gd name="connsiteY219" fmla="*/ 583170 h 723778"/>
                      <a:gd name="connsiteX220" fmla="*/ 525731 w 751062"/>
                      <a:gd name="connsiteY220" fmla="*/ 575558 h 723778"/>
                      <a:gd name="connsiteX221" fmla="*/ 525925 w 751062"/>
                      <a:gd name="connsiteY221" fmla="*/ 560770 h 723778"/>
                      <a:gd name="connsiteX222" fmla="*/ 560046 w 751062"/>
                      <a:gd name="connsiteY222" fmla="*/ 564088 h 723778"/>
                      <a:gd name="connsiteX223" fmla="*/ 588309 w 751062"/>
                      <a:gd name="connsiteY223" fmla="*/ 558160 h 723778"/>
                      <a:gd name="connsiteX224" fmla="*/ 588289 w 751062"/>
                      <a:gd name="connsiteY224" fmla="*/ 560659 h 723778"/>
                      <a:gd name="connsiteX225" fmla="*/ 527887 w 751062"/>
                      <a:gd name="connsiteY225" fmla="*/ 586457 h 723778"/>
                      <a:gd name="connsiteX226" fmla="*/ 559658 w 751062"/>
                      <a:gd name="connsiteY226" fmla="*/ 586431 h 723778"/>
                      <a:gd name="connsiteX227" fmla="*/ 541695 w 751062"/>
                      <a:gd name="connsiteY227" fmla="*/ 600260 h 723778"/>
                      <a:gd name="connsiteX228" fmla="*/ 524417 w 751062"/>
                      <a:gd name="connsiteY228" fmla="*/ 605965 h 723778"/>
                      <a:gd name="connsiteX229" fmla="*/ 527887 w 751062"/>
                      <a:gd name="connsiteY229" fmla="*/ 586457 h 723778"/>
                      <a:gd name="connsiteX230" fmla="*/ 451752 w 751062"/>
                      <a:gd name="connsiteY230" fmla="*/ 357586 h 723778"/>
                      <a:gd name="connsiteX231" fmla="*/ 467779 w 751062"/>
                      <a:gd name="connsiteY231" fmla="*/ 361364 h 723778"/>
                      <a:gd name="connsiteX232" fmla="*/ 484297 w 751062"/>
                      <a:gd name="connsiteY232" fmla="*/ 369844 h 723778"/>
                      <a:gd name="connsiteX233" fmla="*/ 439862 w 751062"/>
                      <a:gd name="connsiteY233" fmla="*/ 375915 h 723778"/>
                      <a:gd name="connsiteX234" fmla="*/ 438714 w 751062"/>
                      <a:gd name="connsiteY234" fmla="*/ 359485 h 723778"/>
                      <a:gd name="connsiteX235" fmla="*/ 451752 w 751062"/>
                      <a:gd name="connsiteY235" fmla="*/ 357586 h 723778"/>
                      <a:gd name="connsiteX236" fmla="*/ 438488 w 751062"/>
                      <a:gd name="connsiteY236" fmla="*/ 357232 h 723778"/>
                      <a:gd name="connsiteX237" fmla="*/ 437840 w 751062"/>
                      <a:gd name="connsiteY237" fmla="*/ 351693 h 723778"/>
                      <a:gd name="connsiteX238" fmla="*/ 451312 w 751062"/>
                      <a:gd name="connsiteY238" fmla="*/ 354748 h 723778"/>
                      <a:gd name="connsiteX239" fmla="*/ 438488 w 751062"/>
                      <a:gd name="connsiteY239" fmla="*/ 357232 h 723778"/>
                      <a:gd name="connsiteX240" fmla="*/ 469806 w 751062"/>
                      <a:gd name="connsiteY240" fmla="*/ 652932 h 723778"/>
                      <a:gd name="connsiteX241" fmla="*/ 453139 w 751062"/>
                      <a:gd name="connsiteY241" fmla="*/ 655628 h 723778"/>
                      <a:gd name="connsiteX242" fmla="*/ 448285 w 751062"/>
                      <a:gd name="connsiteY242" fmla="*/ 656430 h 723778"/>
                      <a:gd name="connsiteX243" fmla="*/ 452968 w 751062"/>
                      <a:gd name="connsiteY243" fmla="*/ 642119 h 723778"/>
                      <a:gd name="connsiteX244" fmla="*/ 468638 w 751062"/>
                      <a:gd name="connsiteY244" fmla="*/ 642296 h 723778"/>
                      <a:gd name="connsiteX245" fmla="*/ 469806 w 751062"/>
                      <a:gd name="connsiteY245" fmla="*/ 652932 h 723778"/>
                      <a:gd name="connsiteX246" fmla="*/ 470460 w 751062"/>
                      <a:gd name="connsiteY246" fmla="*/ 642416 h 723778"/>
                      <a:gd name="connsiteX247" fmla="*/ 475205 w 751062"/>
                      <a:gd name="connsiteY247" fmla="*/ 644912 h 723778"/>
                      <a:gd name="connsiteX248" fmla="*/ 474857 w 751062"/>
                      <a:gd name="connsiteY248" fmla="*/ 651388 h 723778"/>
                      <a:gd name="connsiteX249" fmla="*/ 470460 w 751062"/>
                      <a:gd name="connsiteY249" fmla="*/ 642416 h 723778"/>
                      <a:gd name="connsiteX250" fmla="*/ 472119 w 751062"/>
                      <a:gd name="connsiteY250" fmla="*/ 639703 h 723778"/>
                      <a:gd name="connsiteX251" fmla="*/ 462565 w 751062"/>
                      <a:gd name="connsiteY251" fmla="*/ 639372 h 723778"/>
                      <a:gd name="connsiteX252" fmla="*/ 457145 w 751062"/>
                      <a:gd name="connsiteY252" fmla="*/ 639678 h 723778"/>
                      <a:gd name="connsiteX253" fmla="*/ 434240 w 751062"/>
                      <a:gd name="connsiteY253" fmla="*/ 639835 h 723778"/>
                      <a:gd name="connsiteX254" fmla="*/ 461957 w 751062"/>
                      <a:gd name="connsiteY254" fmla="*/ 625552 h 723778"/>
                      <a:gd name="connsiteX255" fmla="*/ 486513 w 751062"/>
                      <a:gd name="connsiteY255" fmla="*/ 631500 h 723778"/>
                      <a:gd name="connsiteX256" fmla="*/ 485490 w 751062"/>
                      <a:gd name="connsiteY256" fmla="*/ 638624 h 723778"/>
                      <a:gd name="connsiteX257" fmla="*/ 477218 w 751062"/>
                      <a:gd name="connsiteY257" fmla="*/ 642387 h 723778"/>
                      <a:gd name="connsiteX258" fmla="*/ 472119 w 751062"/>
                      <a:gd name="connsiteY258" fmla="*/ 639703 h 723778"/>
                      <a:gd name="connsiteX259" fmla="*/ 476876 w 751062"/>
                      <a:gd name="connsiteY259" fmla="*/ 619876 h 723778"/>
                      <a:gd name="connsiteX260" fmla="*/ 429703 w 751062"/>
                      <a:gd name="connsiteY260" fmla="*/ 638050 h 723778"/>
                      <a:gd name="connsiteX261" fmla="*/ 429554 w 751062"/>
                      <a:gd name="connsiteY261" fmla="*/ 640406 h 723778"/>
                      <a:gd name="connsiteX262" fmla="*/ 415934 w 751062"/>
                      <a:gd name="connsiteY262" fmla="*/ 642633 h 723778"/>
                      <a:gd name="connsiteX263" fmla="*/ 403773 w 751062"/>
                      <a:gd name="connsiteY263" fmla="*/ 577348 h 723778"/>
                      <a:gd name="connsiteX264" fmla="*/ 433988 w 751062"/>
                      <a:gd name="connsiteY264" fmla="*/ 571575 h 723778"/>
                      <a:gd name="connsiteX265" fmla="*/ 436841 w 751062"/>
                      <a:gd name="connsiteY265" fmla="*/ 572740 h 723778"/>
                      <a:gd name="connsiteX266" fmla="*/ 446106 w 751062"/>
                      <a:gd name="connsiteY266" fmla="*/ 588210 h 723778"/>
                      <a:gd name="connsiteX267" fmla="*/ 466982 w 751062"/>
                      <a:gd name="connsiteY267" fmla="*/ 611615 h 723778"/>
                      <a:gd name="connsiteX268" fmla="*/ 483414 w 751062"/>
                      <a:gd name="connsiteY268" fmla="*/ 621975 h 723778"/>
                      <a:gd name="connsiteX269" fmla="*/ 476876 w 751062"/>
                      <a:gd name="connsiteY269" fmla="*/ 619876 h 723778"/>
                      <a:gd name="connsiteX270" fmla="*/ 403153 w 751062"/>
                      <a:gd name="connsiteY270" fmla="*/ 574096 h 723778"/>
                      <a:gd name="connsiteX271" fmla="*/ 401574 w 751062"/>
                      <a:gd name="connsiteY271" fmla="*/ 565821 h 723778"/>
                      <a:gd name="connsiteX272" fmla="*/ 417484 w 751062"/>
                      <a:gd name="connsiteY272" fmla="*/ 566310 h 723778"/>
                      <a:gd name="connsiteX273" fmla="*/ 434322 w 751062"/>
                      <a:gd name="connsiteY273" fmla="*/ 557878 h 723778"/>
                      <a:gd name="connsiteX274" fmla="*/ 433857 w 751062"/>
                      <a:gd name="connsiteY274" fmla="*/ 566118 h 723778"/>
                      <a:gd name="connsiteX275" fmla="*/ 403153 w 751062"/>
                      <a:gd name="connsiteY275" fmla="*/ 574096 h 723778"/>
                      <a:gd name="connsiteX276" fmla="*/ 328540 w 751062"/>
                      <a:gd name="connsiteY276" fmla="*/ 407589 h 723778"/>
                      <a:gd name="connsiteX277" fmla="*/ 328138 w 751062"/>
                      <a:gd name="connsiteY277" fmla="*/ 395682 h 723778"/>
                      <a:gd name="connsiteX278" fmla="*/ 340781 w 751062"/>
                      <a:gd name="connsiteY278" fmla="*/ 393218 h 723778"/>
                      <a:gd name="connsiteX279" fmla="*/ 342355 w 751062"/>
                      <a:gd name="connsiteY279" fmla="*/ 412872 h 723778"/>
                      <a:gd name="connsiteX280" fmla="*/ 328406 w 751062"/>
                      <a:gd name="connsiteY280" fmla="*/ 410656 h 723778"/>
                      <a:gd name="connsiteX281" fmla="*/ 328540 w 751062"/>
                      <a:gd name="connsiteY281" fmla="*/ 407589 h 723778"/>
                      <a:gd name="connsiteX282" fmla="*/ 569677 w 751062"/>
                      <a:gd name="connsiteY282" fmla="*/ 251276 h 723778"/>
                      <a:gd name="connsiteX283" fmla="*/ 574891 w 751062"/>
                      <a:gd name="connsiteY283" fmla="*/ 252013 h 723778"/>
                      <a:gd name="connsiteX284" fmla="*/ 574971 w 751062"/>
                      <a:gd name="connsiteY284" fmla="*/ 252581 h 723778"/>
                      <a:gd name="connsiteX285" fmla="*/ 577818 w 751062"/>
                      <a:gd name="connsiteY285" fmla="*/ 288113 h 723778"/>
                      <a:gd name="connsiteX286" fmla="*/ 569143 w 751062"/>
                      <a:gd name="connsiteY286" fmla="*/ 283062 h 723778"/>
                      <a:gd name="connsiteX287" fmla="*/ 567350 w 751062"/>
                      <a:gd name="connsiteY287" fmla="*/ 269873 h 723778"/>
                      <a:gd name="connsiteX288" fmla="*/ 563630 w 751062"/>
                      <a:gd name="connsiteY288" fmla="*/ 250125 h 723778"/>
                      <a:gd name="connsiteX289" fmla="*/ 569677 w 751062"/>
                      <a:gd name="connsiteY289" fmla="*/ 251276 h 723778"/>
                      <a:gd name="connsiteX290" fmla="*/ 559809 w 751062"/>
                      <a:gd name="connsiteY290" fmla="*/ 257518 h 723778"/>
                      <a:gd name="connsiteX291" fmla="*/ 564144 w 751062"/>
                      <a:gd name="connsiteY291" fmla="*/ 280712 h 723778"/>
                      <a:gd name="connsiteX292" fmla="*/ 521305 w 751062"/>
                      <a:gd name="connsiteY292" fmla="*/ 269667 h 723778"/>
                      <a:gd name="connsiteX293" fmla="*/ 428689 w 751062"/>
                      <a:gd name="connsiteY293" fmla="*/ 249217 h 723778"/>
                      <a:gd name="connsiteX294" fmla="*/ 426062 w 751062"/>
                      <a:gd name="connsiteY294" fmla="*/ 244149 h 723778"/>
                      <a:gd name="connsiteX295" fmla="*/ 512328 w 751062"/>
                      <a:gd name="connsiteY295" fmla="*/ 256898 h 723778"/>
                      <a:gd name="connsiteX296" fmla="*/ 559809 w 751062"/>
                      <a:gd name="connsiteY296" fmla="*/ 257518 h 723778"/>
                      <a:gd name="connsiteX297" fmla="*/ 444713 w 751062"/>
                      <a:gd name="connsiteY297" fmla="*/ 218028 h 723778"/>
                      <a:gd name="connsiteX298" fmla="*/ 535799 w 751062"/>
                      <a:gd name="connsiteY298" fmla="*/ 232773 h 723778"/>
                      <a:gd name="connsiteX299" fmla="*/ 558396 w 751062"/>
                      <a:gd name="connsiteY299" fmla="*/ 247767 h 723778"/>
                      <a:gd name="connsiteX300" fmla="*/ 558504 w 751062"/>
                      <a:gd name="connsiteY300" fmla="*/ 247761 h 723778"/>
                      <a:gd name="connsiteX301" fmla="*/ 557068 w 751062"/>
                      <a:gd name="connsiteY301" fmla="*/ 253583 h 723778"/>
                      <a:gd name="connsiteX302" fmla="*/ 515369 w 751062"/>
                      <a:gd name="connsiteY302" fmla="*/ 252469 h 723778"/>
                      <a:gd name="connsiteX303" fmla="*/ 423432 w 751062"/>
                      <a:gd name="connsiteY303" fmla="*/ 238861 h 723778"/>
                      <a:gd name="connsiteX304" fmla="*/ 419946 w 751062"/>
                      <a:gd name="connsiteY304" fmla="*/ 231311 h 723778"/>
                      <a:gd name="connsiteX305" fmla="*/ 536630 w 751062"/>
                      <a:gd name="connsiteY305" fmla="*/ 245996 h 723778"/>
                      <a:gd name="connsiteX306" fmla="*/ 537178 w 751062"/>
                      <a:gd name="connsiteY306" fmla="*/ 245959 h 723778"/>
                      <a:gd name="connsiteX307" fmla="*/ 537912 w 751062"/>
                      <a:gd name="connsiteY307" fmla="*/ 245896 h 723778"/>
                      <a:gd name="connsiteX308" fmla="*/ 537535 w 751062"/>
                      <a:gd name="connsiteY308" fmla="*/ 242747 h 723778"/>
                      <a:gd name="connsiteX309" fmla="*/ 417779 w 751062"/>
                      <a:gd name="connsiteY309" fmla="*/ 226320 h 723778"/>
                      <a:gd name="connsiteX310" fmla="*/ 413476 w 751062"/>
                      <a:gd name="connsiteY310" fmla="*/ 215838 h 723778"/>
                      <a:gd name="connsiteX311" fmla="*/ 441432 w 751062"/>
                      <a:gd name="connsiteY311" fmla="*/ 217754 h 723778"/>
                      <a:gd name="connsiteX312" fmla="*/ 444713 w 751062"/>
                      <a:gd name="connsiteY312" fmla="*/ 218028 h 723778"/>
                      <a:gd name="connsiteX313" fmla="*/ 438466 w 751062"/>
                      <a:gd name="connsiteY313" fmla="*/ 212329 h 723778"/>
                      <a:gd name="connsiteX314" fmla="*/ 411428 w 751062"/>
                      <a:gd name="connsiteY314" fmla="*/ 210556 h 723778"/>
                      <a:gd name="connsiteX315" fmla="*/ 405401 w 751062"/>
                      <a:gd name="connsiteY315" fmla="*/ 193763 h 723778"/>
                      <a:gd name="connsiteX316" fmla="*/ 425597 w 751062"/>
                      <a:gd name="connsiteY316" fmla="*/ 185817 h 723778"/>
                      <a:gd name="connsiteX317" fmla="*/ 438466 w 751062"/>
                      <a:gd name="connsiteY317" fmla="*/ 212329 h 723778"/>
                      <a:gd name="connsiteX318" fmla="*/ 305909 w 751062"/>
                      <a:gd name="connsiteY318" fmla="*/ 79267 h 723778"/>
                      <a:gd name="connsiteX319" fmla="*/ 302677 w 751062"/>
                      <a:gd name="connsiteY319" fmla="*/ 34049 h 723778"/>
                      <a:gd name="connsiteX320" fmla="*/ 304524 w 751062"/>
                      <a:gd name="connsiteY320" fmla="*/ 30951 h 723778"/>
                      <a:gd name="connsiteX321" fmla="*/ 315640 w 751062"/>
                      <a:gd name="connsiteY321" fmla="*/ 93669 h 723778"/>
                      <a:gd name="connsiteX322" fmla="*/ 311471 w 751062"/>
                      <a:gd name="connsiteY322" fmla="*/ 81448 h 723778"/>
                      <a:gd name="connsiteX323" fmla="*/ 304524 w 751062"/>
                      <a:gd name="connsiteY323" fmla="*/ 83033 h 723778"/>
                      <a:gd name="connsiteX324" fmla="*/ 305909 w 751062"/>
                      <a:gd name="connsiteY324" fmla="*/ 79267 h 723778"/>
                      <a:gd name="connsiteX325" fmla="*/ 221059 w 751062"/>
                      <a:gd name="connsiteY325" fmla="*/ 47744 h 723778"/>
                      <a:gd name="connsiteX326" fmla="*/ 232966 w 751062"/>
                      <a:gd name="connsiteY326" fmla="*/ 21948 h 723778"/>
                      <a:gd name="connsiteX327" fmla="*/ 232072 w 751062"/>
                      <a:gd name="connsiteY327" fmla="*/ 29181 h 723778"/>
                      <a:gd name="connsiteX328" fmla="*/ 229100 w 751062"/>
                      <a:gd name="connsiteY328" fmla="*/ 26426 h 723778"/>
                      <a:gd name="connsiteX329" fmla="*/ 298651 w 751062"/>
                      <a:gd name="connsiteY329" fmla="*/ 90248 h 723778"/>
                      <a:gd name="connsiteX330" fmla="*/ 265360 w 751062"/>
                      <a:gd name="connsiteY330" fmla="*/ 99197 h 723778"/>
                      <a:gd name="connsiteX331" fmla="*/ 223406 w 751062"/>
                      <a:gd name="connsiteY331" fmla="*/ 56590 h 723778"/>
                      <a:gd name="connsiteX332" fmla="*/ 221059 w 751062"/>
                      <a:gd name="connsiteY332" fmla="*/ 47744 h 723778"/>
                      <a:gd name="connsiteX333" fmla="*/ 279785 w 751062"/>
                      <a:gd name="connsiteY333" fmla="*/ 87958 h 723778"/>
                      <a:gd name="connsiteX334" fmla="*/ 279785 w 751062"/>
                      <a:gd name="connsiteY334" fmla="*/ 87958 h 723778"/>
                      <a:gd name="connsiteX335" fmla="*/ 279785 w 751062"/>
                      <a:gd name="connsiteY335" fmla="*/ 87958 h 723778"/>
                      <a:gd name="connsiteX336" fmla="*/ 187329 w 751062"/>
                      <a:gd name="connsiteY336" fmla="*/ 69898 h 723778"/>
                      <a:gd name="connsiteX337" fmla="*/ 214352 w 751062"/>
                      <a:gd name="connsiteY337" fmla="*/ 49166 h 723778"/>
                      <a:gd name="connsiteX338" fmla="*/ 219612 w 751062"/>
                      <a:gd name="connsiteY338" fmla="*/ 62474 h 723778"/>
                      <a:gd name="connsiteX339" fmla="*/ 264269 w 751062"/>
                      <a:gd name="connsiteY339" fmla="*/ 106181 h 723778"/>
                      <a:gd name="connsiteX340" fmla="*/ 268826 w 751062"/>
                      <a:gd name="connsiteY340" fmla="*/ 105584 h 723778"/>
                      <a:gd name="connsiteX341" fmla="*/ 278415 w 751062"/>
                      <a:gd name="connsiteY341" fmla="*/ 88275 h 723778"/>
                      <a:gd name="connsiteX342" fmla="*/ 291766 w 751062"/>
                      <a:gd name="connsiteY342" fmla="*/ 92884 h 723778"/>
                      <a:gd name="connsiteX343" fmla="*/ 297991 w 751062"/>
                      <a:gd name="connsiteY343" fmla="*/ 96496 h 723778"/>
                      <a:gd name="connsiteX344" fmla="*/ 301566 w 751062"/>
                      <a:gd name="connsiteY344" fmla="*/ 97747 h 723778"/>
                      <a:gd name="connsiteX345" fmla="*/ 329491 w 751062"/>
                      <a:gd name="connsiteY345" fmla="*/ 175189 h 723778"/>
                      <a:gd name="connsiteX346" fmla="*/ 335536 w 751062"/>
                      <a:gd name="connsiteY346" fmla="*/ 189532 h 723778"/>
                      <a:gd name="connsiteX347" fmla="*/ 358930 w 751062"/>
                      <a:gd name="connsiteY347" fmla="*/ 231623 h 723778"/>
                      <a:gd name="connsiteX348" fmla="*/ 361799 w 751062"/>
                      <a:gd name="connsiteY348" fmla="*/ 229410 h 723778"/>
                      <a:gd name="connsiteX349" fmla="*/ 333343 w 751062"/>
                      <a:gd name="connsiteY349" fmla="*/ 171389 h 723778"/>
                      <a:gd name="connsiteX350" fmla="*/ 329174 w 751062"/>
                      <a:gd name="connsiteY350" fmla="*/ 161061 h 723778"/>
                      <a:gd name="connsiteX351" fmla="*/ 304815 w 751062"/>
                      <a:gd name="connsiteY351" fmla="*/ 96490 h 723778"/>
                      <a:gd name="connsiteX352" fmla="*/ 308613 w 751062"/>
                      <a:gd name="connsiteY352" fmla="*/ 86128 h 723778"/>
                      <a:gd name="connsiteX353" fmla="*/ 314843 w 751062"/>
                      <a:gd name="connsiteY353" fmla="*/ 101810 h 723778"/>
                      <a:gd name="connsiteX354" fmla="*/ 318675 w 751062"/>
                      <a:gd name="connsiteY354" fmla="*/ 100805 h 723778"/>
                      <a:gd name="connsiteX355" fmla="*/ 320848 w 751062"/>
                      <a:gd name="connsiteY355" fmla="*/ 44426 h 723778"/>
                      <a:gd name="connsiteX356" fmla="*/ 332287 w 751062"/>
                      <a:gd name="connsiteY356" fmla="*/ 44323 h 723778"/>
                      <a:gd name="connsiteX357" fmla="*/ 375040 w 751062"/>
                      <a:gd name="connsiteY357" fmla="*/ 81671 h 723778"/>
                      <a:gd name="connsiteX358" fmla="*/ 384351 w 751062"/>
                      <a:gd name="connsiteY358" fmla="*/ 102215 h 723778"/>
                      <a:gd name="connsiteX359" fmla="*/ 422210 w 751062"/>
                      <a:gd name="connsiteY359" fmla="*/ 179732 h 723778"/>
                      <a:gd name="connsiteX360" fmla="*/ 403293 w 751062"/>
                      <a:gd name="connsiteY360" fmla="*/ 187499 h 723778"/>
                      <a:gd name="connsiteX361" fmla="*/ 378463 w 751062"/>
                      <a:gd name="connsiteY361" fmla="*/ 102215 h 723778"/>
                      <a:gd name="connsiteX362" fmla="*/ 377512 w 751062"/>
                      <a:gd name="connsiteY362" fmla="*/ 98009 h 723778"/>
                      <a:gd name="connsiteX363" fmla="*/ 374780 w 751062"/>
                      <a:gd name="connsiteY363" fmla="*/ 92024 h 723778"/>
                      <a:gd name="connsiteX364" fmla="*/ 370051 w 751062"/>
                      <a:gd name="connsiteY364" fmla="*/ 95691 h 723778"/>
                      <a:gd name="connsiteX365" fmla="*/ 371967 w 751062"/>
                      <a:gd name="connsiteY365" fmla="*/ 100308 h 723778"/>
                      <a:gd name="connsiteX366" fmla="*/ 371907 w 751062"/>
                      <a:gd name="connsiteY366" fmla="*/ 100308 h 723778"/>
                      <a:gd name="connsiteX367" fmla="*/ 408062 w 751062"/>
                      <a:gd name="connsiteY367" fmla="*/ 218808 h 723778"/>
                      <a:gd name="connsiteX368" fmla="*/ 422807 w 751062"/>
                      <a:gd name="connsiteY368" fmla="*/ 248098 h 723778"/>
                      <a:gd name="connsiteX369" fmla="*/ 378823 w 751062"/>
                      <a:gd name="connsiteY369" fmla="*/ 256575 h 723778"/>
                      <a:gd name="connsiteX370" fmla="*/ 366488 w 751062"/>
                      <a:gd name="connsiteY370" fmla="*/ 237836 h 723778"/>
                      <a:gd name="connsiteX371" fmla="*/ 345073 w 751062"/>
                      <a:gd name="connsiteY371" fmla="*/ 228933 h 723778"/>
                      <a:gd name="connsiteX372" fmla="*/ 335536 w 751062"/>
                      <a:gd name="connsiteY372" fmla="*/ 227474 h 723778"/>
                      <a:gd name="connsiteX373" fmla="*/ 303719 w 751062"/>
                      <a:gd name="connsiteY373" fmla="*/ 233281 h 723778"/>
                      <a:gd name="connsiteX374" fmla="*/ 215234 w 751062"/>
                      <a:gd name="connsiteY374" fmla="*/ 227682 h 723778"/>
                      <a:gd name="connsiteX375" fmla="*/ 218067 w 751062"/>
                      <a:gd name="connsiteY375" fmla="*/ 215587 h 723778"/>
                      <a:gd name="connsiteX376" fmla="*/ 219552 w 751062"/>
                      <a:gd name="connsiteY376" fmla="*/ 143832 h 723778"/>
                      <a:gd name="connsiteX377" fmla="*/ 217342 w 751062"/>
                      <a:gd name="connsiteY377" fmla="*/ 122662 h 723778"/>
                      <a:gd name="connsiteX378" fmla="*/ 212291 w 751062"/>
                      <a:gd name="connsiteY378" fmla="*/ 123345 h 723778"/>
                      <a:gd name="connsiteX379" fmla="*/ 210003 w 751062"/>
                      <a:gd name="connsiteY379" fmla="*/ 190340 h 723778"/>
                      <a:gd name="connsiteX380" fmla="*/ 210203 w 751062"/>
                      <a:gd name="connsiteY380" fmla="*/ 226463 h 723778"/>
                      <a:gd name="connsiteX381" fmla="*/ 151289 w 751062"/>
                      <a:gd name="connsiteY381" fmla="*/ 236742 h 723778"/>
                      <a:gd name="connsiteX382" fmla="*/ 143354 w 751062"/>
                      <a:gd name="connsiteY382" fmla="*/ 239723 h 723778"/>
                      <a:gd name="connsiteX383" fmla="*/ 144619 w 751062"/>
                      <a:gd name="connsiteY383" fmla="*/ 240988 h 723778"/>
                      <a:gd name="connsiteX384" fmla="*/ 206149 w 751062"/>
                      <a:gd name="connsiteY384" fmla="*/ 230794 h 723778"/>
                      <a:gd name="connsiteX385" fmla="*/ 228118 w 751062"/>
                      <a:gd name="connsiteY385" fmla="*/ 232553 h 723778"/>
                      <a:gd name="connsiteX386" fmla="*/ 286378 w 751062"/>
                      <a:gd name="connsiteY386" fmla="*/ 241334 h 723778"/>
                      <a:gd name="connsiteX387" fmla="*/ 305635 w 751062"/>
                      <a:gd name="connsiteY387" fmla="*/ 237567 h 723778"/>
                      <a:gd name="connsiteX388" fmla="*/ 329177 w 751062"/>
                      <a:gd name="connsiteY388" fmla="*/ 231994 h 723778"/>
                      <a:gd name="connsiteX389" fmla="*/ 346675 w 751062"/>
                      <a:gd name="connsiteY389" fmla="*/ 234261 h 723778"/>
                      <a:gd name="connsiteX390" fmla="*/ 363930 w 751062"/>
                      <a:gd name="connsiteY390" fmla="*/ 241836 h 723778"/>
                      <a:gd name="connsiteX391" fmla="*/ 375057 w 751062"/>
                      <a:gd name="connsiteY391" fmla="*/ 256515 h 723778"/>
                      <a:gd name="connsiteX392" fmla="*/ 357719 w 751062"/>
                      <a:gd name="connsiteY392" fmla="*/ 239629 h 723778"/>
                      <a:gd name="connsiteX393" fmla="*/ 356289 w 751062"/>
                      <a:gd name="connsiteY393" fmla="*/ 242076 h 723778"/>
                      <a:gd name="connsiteX394" fmla="*/ 374617 w 751062"/>
                      <a:gd name="connsiteY394" fmla="*/ 262403 h 723778"/>
                      <a:gd name="connsiteX395" fmla="*/ 371468 w 751062"/>
                      <a:gd name="connsiteY395" fmla="*/ 266595 h 723778"/>
                      <a:gd name="connsiteX396" fmla="*/ 370437 w 751062"/>
                      <a:gd name="connsiteY396" fmla="*/ 266855 h 723778"/>
                      <a:gd name="connsiteX397" fmla="*/ 359324 w 751062"/>
                      <a:gd name="connsiteY397" fmla="*/ 252435 h 723778"/>
                      <a:gd name="connsiteX398" fmla="*/ 349767 w 751062"/>
                      <a:gd name="connsiteY398" fmla="*/ 245594 h 723778"/>
                      <a:gd name="connsiteX399" fmla="*/ 348337 w 751062"/>
                      <a:gd name="connsiteY399" fmla="*/ 248041 h 723778"/>
                      <a:gd name="connsiteX400" fmla="*/ 367579 w 751062"/>
                      <a:gd name="connsiteY400" fmla="*/ 266412 h 723778"/>
                      <a:gd name="connsiteX401" fmla="*/ 364709 w 751062"/>
                      <a:gd name="connsiteY401" fmla="*/ 267608 h 723778"/>
                      <a:gd name="connsiteX402" fmla="*/ 361919 w 751062"/>
                      <a:gd name="connsiteY402" fmla="*/ 265801 h 723778"/>
                      <a:gd name="connsiteX403" fmla="*/ 354484 w 751062"/>
                      <a:gd name="connsiteY403" fmla="*/ 260473 h 723778"/>
                      <a:gd name="connsiteX404" fmla="*/ 353739 w 751062"/>
                      <a:gd name="connsiteY404" fmla="*/ 260262 h 723778"/>
                      <a:gd name="connsiteX405" fmla="*/ 341338 w 751062"/>
                      <a:gd name="connsiteY405" fmla="*/ 253029 h 723778"/>
                      <a:gd name="connsiteX406" fmla="*/ 340427 w 751062"/>
                      <a:gd name="connsiteY406" fmla="*/ 256336 h 723778"/>
                      <a:gd name="connsiteX407" fmla="*/ 356948 w 751062"/>
                      <a:gd name="connsiteY407" fmla="*/ 277023 h 723778"/>
                      <a:gd name="connsiteX408" fmla="*/ 339756 w 751062"/>
                      <a:gd name="connsiteY408" fmla="*/ 264062 h 723778"/>
                      <a:gd name="connsiteX409" fmla="*/ 335999 w 751062"/>
                      <a:gd name="connsiteY409" fmla="*/ 261866 h 723778"/>
                      <a:gd name="connsiteX410" fmla="*/ 335542 w 751062"/>
                      <a:gd name="connsiteY410" fmla="*/ 261781 h 723778"/>
                      <a:gd name="connsiteX411" fmla="*/ 331601 w 751062"/>
                      <a:gd name="connsiteY411" fmla="*/ 262335 h 723778"/>
                      <a:gd name="connsiteX412" fmla="*/ 314189 w 751062"/>
                      <a:gd name="connsiteY412" fmla="*/ 262712 h 723778"/>
                      <a:gd name="connsiteX413" fmla="*/ 309001 w 751062"/>
                      <a:gd name="connsiteY413" fmla="*/ 262101 h 723778"/>
                      <a:gd name="connsiteX414" fmla="*/ 307374 w 751062"/>
                      <a:gd name="connsiteY414" fmla="*/ 262395 h 723778"/>
                      <a:gd name="connsiteX415" fmla="*/ 279825 w 751062"/>
                      <a:gd name="connsiteY415" fmla="*/ 264667 h 723778"/>
                      <a:gd name="connsiteX416" fmla="*/ 268744 w 751062"/>
                      <a:gd name="connsiteY416" fmla="*/ 264836 h 723778"/>
                      <a:gd name="connsiteX417" fmla="*/ 257248 w 751062"/>
                      <a:gd name="connsiteY417" fmla="*/ 266052 h 723778"/>
                      <a:gd name="connsiteX418" fmla="*/ 139990 w 751062"/>
                      <a:gd name="connsiteY418" fmla="*/ 259111 h 723778"/>
                      <a:gd name="connsiteX419" fmla="*/ 141004 w 751062"/>
                      <a:gd name="connsiteY419" fmla="*/ 249457 h 723778"/>
                      <a:gd name="connsiteX420" fmla="*/ 146061 w 751062"/>
                      <a:gd name="connsiteY420" fmla="*/ 146573 h 723778"/>
                      <a:gd name="connsiteX421" fmla="*/ 187329 w 751062"/>
                      <a:gd name="connsiteY421" fmla="*/ 69898 h 723778"/>
                      <a:gd name="connsiteX422" fmla="*/ 137952 w 751062"/>
                      <a:gd name="connsiteY422" fmla="*/ 266409 h 723778"/>
                      <a:gd name="connsiteX423" fmla="*/ 137549 w 751062"/>
                      <a:gd name="connsiteY423" fmla="*/ 261127 h 723778"/>
                      <a:gd name="connsiteX424" fmla="*/ 252582 w 751062"/>
                      <a:gd name="connsiteY424" fmla="*/ 271903 h 723778"/>
                      <a:gd name="connsiteX425" fmla="*/ 272918 w 751062"/>
                      <a:gd name="connsiteY425" fmla="*/ 269193 h 723778"/>
                      <a:gd name="connsiteX426" fmla="*/ 281673 w 751062"/>
                      <a:gd name="connsiteY426" fmla="*/ 270741 h 723778"/>
                      <a:gd name="connsiteX427" fmla="*/ 241801 w 751062"/>
                      <a:gd name="connsiteY427" fmla="*/ 283501 h 723778"/>
                      <a:gd name="connsiteX428" fmla="*/ 159727 w 751062"/>
                      <a:gd name="connsiteY428" fmla="*/ 276346 h 723778"/>
                      <a:gd name="connsiteX429" fmla="*/ 138120 w 751062"/>
                      <a:gd name="connsiteY429" fmla="*/ 272211 h 723778"/>
                      <a:gd name="connsiteX430" fmla="*/ 137952 w 751062"/>
                      <a:gd name="connsiteY430" fmla="*/ 266409 h 723778"/>
                      <a:gd name="connsiteX431" fmla="*/ 240464 w 751062"/>
                      <a:gd name="connsiteY431" fmla="*/ 289900 h 723778"/>
                      <a:gd name="connsiteX432" fmla="*/ 285230 w 751062"/>
                      <a:gd name="connsiteY432" fmla="*/ 278070 h 723778"/>
                      <a:gd name="connsiteX433" fmla="*/ 306608 w 751062"/>
                      <a:gd name="connsiteY433" fmla="*/ 281220 h 723778"/>
                      <a:gd name="connsiteX434" fmla="*/ 305466 w 751062"/>
                      <a:gd name="connsiteY434" fmla="*/ 367095 h 723778"/>
                      <a:gd name="connsiteX435" fmla="*/ 303765 w 751062"/>
                      <a:gd name="connsiteY435" fmla="*/ 380538 h 723778"/>
                      <a:gd name="connsiteX436" fmla="*/ 212528 w 751062"/>
                      <a:gd name="connsiteY436" fmla="*/ 365827 h 723778"/>
                      <a:gd name="connsiteX437" fmla="*/ 149893 w 751062"/>
                      <a:gd name="connsiteY437" fmla="*/ 281445 h 723778"/>
                      <a:gd name="connsiteX438" fmla="*/ 240464 w 751062"/>
                      <a:gd name="connsiteY438" fmla="*/ 289900 h 723778"/>
                      <a:gd name="connsiteX439" fmla="*/ 286344 w 751062"/>
                      <a:gd name="connsiteY439" fmla="*/ 274541 h 723778"/>
                      <a:gd name="connsiteX440" fmla="*/ 286944 w 751062"/>
                      <a:gd name="connsiteY440" fmla="*/ 271466 h 723778"/>
                      <a:gd name="connsiteX441" fmla="*/ 306534 w 751062"/>
                      <a:gd name="connsiteY441" fmla="*/ 274147 h 723778"/>
                      <a:gd name="connsiteX442" fmla="*/ 306586 w 751062"/>
                      <a:gd name="connsiteY442" fmla="*/ 277374 h 723778"/>
                      <a:gd name="connsiteX443" fmla="*/ 286344 w 751062"/>
                      <a:gd name="connsiteY443" fmla="*/ 274541 h 723778"/>
                      <a:gd name="connsiteX444" fmla="*/ 306483 w 751062"/>
                      <a:gd name="connsiteY444" fmla="*/ 269896 h 723778"/>
                      <a:gd name="connsiteX445" fmla="*/ 289242 w 751062"/>
                      <a:gd name="connsiteY445" fmla="*/ 267531 h 723778"/>
                      <a:gd name="connsiteX446" fmla="*/ 306766 w 751062"/>
                      <a:gd name="connsiteY446" fmla="*/ 265830 h 723778"/>
                      <a:gd name="connsiteX447" fmla="*/ 306483 w 751062"/>
                      <a:gd name="connsiteY447" fmla="*/ 269896 h 723778"/>
                      <a:gd name="connsiteX448" fmla="*/ 133175 w 751062"/>
                      <a:gd name="connsiteY448" fmla="*/ 88758 h 723778"/>
                      <a:gd name="connsiteX449" fmla="*/ 130936 w 751062"/>
                      <a:gd name="connsiteY449" fmla="*/ 81591 h 723778"/>
                      <a:gd name="connsiteX450" fmla="*/ 165140 w 751062"/>
                      <a:gd name="connsiteY450" fmla="*/ 85837 h 723778"/>
                      <a:gd name="connsiteX451" fmla="*/ 138237 w 751062"/>
                      <a:gd name="connsiteY451" fmla="*/ 142932 h 723778"/>
                      <a:gd name="connsiteX452" fmla="*/ 133175 w 751062"/>
                      <a:gd name="connsiteY452" fmla="*/ 88758 h 723778"/>
                      <a:gd name="connsiteX453" fmla="*/ 7014 w 751062"/>
                      <a:gd name="connsiteY453" fmla="*/ 477659 h 723778"/>
                      <a:gd name="connsiteX454" fmla="*/ 36153 w 751062"/>
                      <a:gd name="connsiteY454" fmla="*/ 336451 h 723778"/>
                      <a:gd name="connsiteX455" fmla="*/ 96323 w 751062"/>
                      <a:gd name="connsiteY455" fmla="*/ 634644 h 723778"/>
                      <a:gd name="connsiteX456" fmla="*/ 7014 w 751062"/>
                      <a:gd name="connsiteY456" fmla="*/ 477659 h 723778"/>
                      <a:gd name="connsiteX457" fmla="*/ 49893 w 751062"/>
                      <a:gd name="connsiteY457" fmla="*/ 320498 h 723778"/>
                      <a:gd name="connsiteX458" fmla="*/ 120251 w 751062"/>
                      <a:gd name="connsiteY458" fmla="*/ 313662 h 723778"/>
                      <a:gd name="connsiteX459" fmla="*/ 121779 w 751062"/>
                      <a:gd name="connsiteY459" fmla="*/ 343475 h 723778"/>
                      <a:gd name="connsiteX460" fmla="*/ 123224 w 751062"/>
                      <a:gd name="connsiteY460" fmla="*/ 352290 h 723778"/>
                      <a:gd name="connsiteX461" fmla="*/ 125083 w 751062"/>
                      <a:gd name="connsiteY461" fmla="*/ 354114 h 723778"/>
                      <a:gd name="connsiteX462" fmla="*/ 126405 w 751062"/>
                      <a:gd name="connsiteY462" fmla="*/ 375050 h 723778"/>
                      <a:gd name="connsiteX463" fmla="*/ 124791 w 751062"/>
                      <a:gd name="connsiteY463" fmla="*/ 444203 h 723778"/>
                      <a:gd name="connsiteX464" fmla="*/ 118918 w 751062"/>
                      <a:gd name="connsiteY464" fmla="*/ 455528 h 723778"/>
                      <a:gd name="connsiteX465" fmla="*/ 107205 w 751062"/>
                      <a:gd name="connsiteY465" fmla="*/ 452507 h 723778"/>
                      <a:gd name="connsiteX466" fmla="*/ 88785 w 751062"/>
                      <a:gd name="connsiteY466" fmla="*/ 466001 h 723778"/>
                      <a:gd name="connsiteX467" fmla="*/ 91906 w 751062"/>
                      <a:gd name="connsiteY467" fmla="*/ 475232 h 723778"/>
                      <a:gd name="connsiteX468" fmla="*/ 100361 w 751062"/>
                      <a:gd name="connsiteY468" fmla="*/ 485437 h 723778"/>
                      <a:gd name="connsiteX469" fmla="*/ 110689 w 751062"/>
                      <a:gd name="connsiteY469" fmla="*/ 475152 h 723778"/>
                      <a:gd name="connsiteX470" fmla="*/ 120017 w 751062"/>
                      <a:gd name="connsiteY470" fmla="*/ 472297 h 723778"/>
                      <a:gd name="connsiteX471" fmla="*/ 127267 w 751062"/>
                      <a:gd name="connsiteY471" fmla="*/ 480129 h 723778"/>
                      <a:gd name="connsiteX472" fmla="*/ 129514 w 751062"/>
                      <a:gd name="connsiteY472" fmla="*/ 483173 h 723778"/>
                      <a:gd name="connsiteX473" fmla="*/ 141752 w 751062"/>
                      <a:gd name="connsiteY473" fmla="*/ 478687 h 723778"/>
                      <a:gd name="connsiteX474" fmla="*/ 144448 w 751062"/>
                      <a:gd name="connsiteY474" fmla="*/ 463400 h 723778"/>
                      <a:gd name="connsiteX475" fmla="*/ 144482 w 751062"/>
                      <a:gd name="connsiteY475" fmla="*/ 463400 h 723778"/>
                      <a:gd name="connsiteX476" fmla="*/ 145141 w 751062"/>
                      <a:gd name="connsiteY476" fmla="*/ 445785 h 723778"/>
                      <a:gd name="connsiteX477" fmla="*/ 122290 w 751062"/>
                      <a:gd name="connsiteY477" fmla="*/ 478428 h 723778"/>
                      <a:gd name="connsiteX478" fmla="*/ 119263 w 751062"/>
                      <a:gd name="connsiteY478" fmla="*/ 476940 h 723778"/>
                      <a:gd name="connsiteX479" fmla="*/ 117776 w 751062"/>
                      <a:gd name="connsiteY479" fmla="*/ 479969 h 723778"/>
                      <a:gd name="connsiteX480" fmla="*/ 136852 w 751062"/>
                      <a:gd name="connsiteY480" fmla="*/ 496745 h 723778"/>
                      <a:gd name="connsiteX481" fmla="*/ 152086 w 751062"/>
                      <a:gd name="connsiteY481" fmla="*/ 487725 h 723778"/>
                      <a:gd name="connsiteX482" fmla="*/ 145373 w 751062"/>
                      <a:gd name="connsiteY482" fmla="*/ 439601 h 723778"/>
                      <a:gd name="connsiteX483" fmla="*/ 147614 w 751062"/>
                      <a:gd name="connsiteY483" fmla="*/ 379652 h 723778"/>
                      <a:gd name="connsiteX484" fmla="*/ 171907 w 751062"/>
                      <a:gd name="connsiteY484" fmla="*/ 383356 h 723778"/>
                      <a:gd name="connsiteX485" fmla="*/ 165092 w 751062"/>
                      <a:gd name="connsiteY485" fmla="*/ 596919 h 723778"/>
                      <a:gd name="connsiteX486" fmla="*/ 163576 w 751062"/>
                      <a:gd name="connsiteY486" fmla="*/ 595708 h 723778"/>
                      <a:gd name="connsiteX487" fmla="*/ 125782 w 751062"/>
                      <a:gd name="connsiteY487" fmla="*/ 587808 h 723778"/>
                      <a:gd name="connsiteX488" fmla="*/ 97531 w 751062"/>
                      <a:gd name="connsiteY488" fmla="*/ 589601 h 723778"/>
                      <a:gd name="connsiteX489" fmla="*/ 101769 w 751062"/>
                      <a:gd name="connsiteY489" fmla="*/ 602618 h 723778"/>
                      <a:gd name="connsiteX490" fmla="*/ 113201 w 751062"/>
                      <a:gd name="connsiteY490" fmla="*/ 606267 h 723778"/>
                      <a:gd name="connsiteX491" fmla="*/ 132078 w 751062"/>
                      <a:gd name="connsiteY491" fmla="*/ 611947 h 723778"/>
                      <a:gd name="connsiteX492" fmla="*/ 149701 w 751062"/>
                      <a:gd name="connsiteY492" fmla="*/ 617021 h 723778"/>
                      <a:gd name="connsiteX493" fmla="*/ 104621 w 751062"/>
                      <a:gd name="connsiteY493" fmla="*/ 635852 h 723778"/>
                      <a:gd name="connsiteX494" fmla="*/ 104644 w 751062"/>
                      <a:gd name="connsiteY494" fmla="*/ 635817 h 723778"/>
                      <a:gd name="connsiteX495" fmla="*/ 49901 w 751062"/>
                      <a:gd name="connsiteY495" fmla="*/ 320501 h 723778"/>
                      <a:gd name="connsiteX496" fmla="*/ 49893 w 751062"/>
                      <a:gd name="connsiteY496" fmla="*/ 320498 h 723778"/>
                      <a:gd name="connsiteX497" fmla="*/ 119769 w 751062"/>
                      <a:gd name="connsiteY497" fmla="*/ 294574 h 723778"/>
                      <a:gd name="connsiteX498" fmla="*/ 119954 w 751062"/>
                      <a:gd name="connsiteY498" fmla="*/ 301427 h 723778"/>
                      <a:gd name="connsiteX499" fmla="*/ 69063 w 751062"/>
                      <a:gd name="connsiteY499" fmla="*/ 297333 h 723778"/>
                      <a:gd name="connsiteX500" fmla="*/ 119635 w 751062"/>
                      <a:gd name="connsiteY500" fmla="*/ 289084 h 723778"/>
                      <a:gd name="connsiteX501" fmla="*/ 119769 w 751062"/>
                      <a:gd name="connsiteY501" fmla="*/ 294574 h 723778"/>
                      <a:gd name="connsiteX502" fmla="*/ 158502 w 751062"/>
                      <a:gd name="connsiteY502" fmla="*/ 618151 h 723778"/>
                      <a:gd name="connsiteX503" fmla="*/ 159795 w 751062"/>
                      <a:gd name="connsiteY503" fmla="*/ 619328 h 723778"/>
                      <a:gd name="connsiteX504" fmla="*/ 179922 w 751062"/>
                      <a:gd name="connsiteY504" fmla="*/ 621643 h 723778"/>
                      <a:gd name="connsiteX505" fmla="*/ 120631 w 751062"/>
                      <a:gd name="connsiteY505" fmla="*/ 641011 h 723778"/>
                      <a:gd name="connsiteX506" fmla="*/ 158502 w 751062"/>
                      <a:gd name="connsiteY506" fmla="*/ 618151 h 723778"/>
                      <a:gd name="connsiteX507" fmla="*/ 151891 w 751062"/>
                      <a:gd name="connsiteY507" fmla="*/ 613951 h 723778"/>
                      <a:gd name="connsiteX508" fmla="*/ 133360 w 751062"/>
                      <a:gd name="connsiteY508" fmla="*/ 609163 h 723778"/>
                      <a:gd name="connsiteX509" fmla="*/ 103639 w 751062"/>
                      <a:gd name="connsiteY509" fmla="*/ 600748 h 723778"/>
                      <a:gd name="connsiteX510" fmla="*/ 101923 w 751062"/>
                      <a:gd name="connsiteY510" fmla="*/ 597356 h 723778"/>
                      <a:gd name="connsiteX511" fmla="*/ 104618 w 751062"/>
                      <a:gd name="connsiteY511" fmla="*/ 589010 h 723778"/>
                      <a:gd name="connsiteX512" fmla="*/ 121445 w 751062"/>
                      <a:gd name="connsiteY512" fmla="*/ 591442 h 723778"/>
                      <a:gd name="connsiteX513" fmla="*/ 163107 w 751062"/>
                      <a:gd name="connsiteY513" fmla="*/ 600123 h 723778"/>
                      <a:gd name="connsiteX514" fmla="*/ 152317 w 751062"/>
                      <a:gd name="connsiteY514" fmla="*/ 614279 h 723778"/>
                      <a:gd name="connsiteX515" fmla="*/ 151891 w 751062"/>
                      <a:gd name="connsiteY515" fmla="*/ 613951 h 723778"/>
                      <a:gd name="connsiteX516" fmla="*/ 178192 w 751062"/>
                      <a:gd name="connsiteY516" fmla="*/ 618839 h 723778"/>
                      <a:gd name="connsiteX517" fmla="*/ 159961 w 751062"/>
                      <a:gd name="connsiteY517" fmla="*/ 616515 h 723778"/>
                      <a:gd name="connsiteX518" fmla="*/ 171299 w 751062"/>
                      <a:gd name="connsiteY518" fmla="*/ 601108 h 723778"/>
                      <a:gd name="connsiteX519" fmla="*/ 190764 w 751062"/>
                      <a:gd name="connsiteY519" fmla="*/ 605613 h 723778"/>
                      <a:gd name="connsiteX520" fmla="*/ 181598 w 751062"/>
                      <a:gd name="connsiteY520" fmla="*/ 619365 h 723778"/>
                      <a:gd name="connsiteX521" fmla="*/ 178192 w 751062"/>
                      <a:gd name="connsiteY521" fmla="*/ 618839 h 723778"/>
                      <a:gd name="connsiteX522" fmla="*/ 190427 w 751062"/>
                      <a:gd name="connsiteY522" fmla="*/ 601439 h 723778"/>
                      <a:gd name="connsiteX523" fmla="*/ 172750 w 751062"/>
                      <a:gd name="connsiteY523" fmla="*/ 598721 h 723778"/>
                      <a:gd name="connsiteX524" fmla="*/ 182621 w 751062"/>
                      <a:gd name="connsiteY524" fmla="*/ 384898 h 723778"/>
                      <a:gd name="connsiteX525" fmla="*/ 191552 w 751062"/>
                      <a:gd name="connsiteY525" fmla="*/ 387088 h 723778"/>
                      <a:gd name="connsiteX526" fmla="*/ 200018 w 751062"/>
                      <a:gd name="connsiteY526" fmla="*/ 388487 h 723778"/>
                      <a:gd name="connsiteX527" fmla="*/ 193154 w 751062"/>
                      <a:gd name="connsiteY527" fmla="*/ 601936 h 723778"/>
                      <a:gd name="connsiteX528" fmla="*/ 190427 w 751062"/>
                      <a:gd name="connsiteY528" fmla="*/ 601439 h 723778"/>
                      <a:gd name="connsiteX529" fmla="*/ 197226 w 751062"/>
                      <a:gd name="connsiteY529" fmla="*/ 384943 h 723778"/>
                      <a:gd name="connsiteX530" fmla="*/ 182141 w 751062"/>
                      <a:gd name="connsiteY530" fmla="*/ 383607 h 723778"/>
                      <a:gd name="connsiteX531" fmla="*/ 172653 w 751062"/>
                      <a:gd name="connsiteY531" fmla="*/ 361624 h 723778"/>
                      <a:gd name="connsiteX532" fmla="*/ 190641 w 751062"/>
                      <a:gd name="connsiteY532" fmla="*/ 365207 h 723778"/>
                      <a:gd name="connsiteX533" fmla="*/ 198825 w 751062"/>
                      <a:gd name="connsiteY533" fmla="*/ 385155 h 723778"/>
                      <a:gd name="connsiteX534" fmla="*/ 197226 w 751062"/>
                      <a:gd name="connsiteY534" fmla="*/ 384943 h 723778"/>
                      <a:gd name="connsiteX535" fmla="*/ 181667 w 751062"/>
                      <a:gd name="connsiteY535" fmla="*/ 360099 h 723778"/>
                      <a:gd name="connsiteX536" fmla="*/ 171545 w 751062"/>
                      <a:gd name="connsiteY536" fmla="*/ 359425 h 723778"/>
                      <a:gd name="connsiteX537" fmla="*/ 122761 w 751062"/>
                      <a:gd name="connsiteY537" fmla="*/ 302992 h 723778"/>
                      <a:gd name="connsiteX538" fmla="*/ 122204 w 751062"/>
                      <a:gd name="connsiteY538" fmla="*/ 289937 h 723778"/>
                      <a:gd name="connsiteX539" fmla="*/ 188962 w 751062"/>
                      <a:gd name="connsiteY539" fmla="*/ 361632 h 723778"/>
                      <a:gd name="connsiteX540" fmla="*/ 181667 w 751062"/>
                      <a:gd name="connsiteY540" fmla="*/ 360099 h 723778"/>
                      <a:gd name="connsiteX541" fmla="*/ 121730 w 751062"/>
                      <a:gd name="connsiteY541" fmla="*/ 464254 h 723778"/>
                      <a:gd name="connsiteX542" fmla="*/ 120208 w 751062"/>
                      <a:gd name="connsiteY542" fmla="*/ 458115 h 723778"/>
                      <a:gd name="connsiteX543" fmla="*/ 122952 w 751062"/>
                      <a:gd name="connsiteY543" fmla="*/ 453126 h 723778"/>
                      <a:gd name="connsiteX544" fmla="*/ 126736 w 751062"/>
                      <a:gd name="connsiteY544" fmla="*/ 446208 h 723778"/>
                      <a:gd name="connsiteX545" fmla="*/ 138171 w 751062"/>
                      <a:gd name="connsiteY545" fmla="*/ 474870 h 723778"/>
                      <a:gd name="connsiteX546" fmla="*/ 130419 w 751062"/>
                      <a:gd name="connsiteY546" fmla="*/ 478496 h 723778"/>
                      <a:gd name="connsiteX547" fmla="*/ 121162 w 751062"/>
                      <a:gd name="connsiteY547" fmla="*/ 470050 h 723778"/>
                      <a:gd name="connsiteX548" fmla="*/ 121730 w 751062"/>
                      <a:gd name="connsiteY548" fmla="*/ 464254 h 723778"/>
                      <a:gd name="connsiteX549" fmla="*/ 125648 w 751062"/>
                      <a:gd name="connsiteY549" fmla="*/ 342804 h 723778"/>
                      <a:gd name="connsiteX550" fmla="*/ 123698 w 751062"/>
                      <a:gd name="connsiteY550" fmla="*/ 315924 h 723778"/>
                      <a:gd name="connsiteX551" fmla="*/ 158927 w 751062"/>
                      <a:gd name="connsiteY551" fmla="*/ 356407 h 723778"/>
                      <a:gd name="connsiteX552" fmla="*/ 126036 w 751062"/>
                      <a:gd name="connsiteY552" fmla="*/ 351259 h 723778"/>
                      <a:gd name="connsiteX553" fmla="*/ 125648 w 751062"/>
                      <a:gd name="connsiteY553" fmla="*/ 342804 h 723778"/>
                      <a:gd name="connsiteX554" fmla="*/ 139159 w 751062"/>
                      <a:gd name="connsiteY554" fmla="*/ 448364 h 723778"/>
                      <a:gd name="connsiteX555" fmla="*/ 129594 w 751062"/>
                      <a:gd name="connsiteY555" fmla="*/ 441973 h 723778"/>
                      <a:gd name="connsiteX556" fmla="*/ 131136 w 751062"/>
                      <a:gd name="connsiteY556" fmla="*/ 376372 h 723778"/>
                      <a:gd name="connsiteX557" fmla="*/ 142871 w 751062"/>
                      <a:gd name="connsiteY557" fmla="*/ 378770 h 723778"/>
                      <a:gd name="connsiteX558" fmla="*/ 140210 w 751062"/>
                      <a:gd name="connsiteY558" fmla="*/ 449948 h 723778"/>
                      <a:gd name="connsiteX559" fmla="*/ 139159 w 751062"/>
                      <a:gd name="connsiteY559" fmla="*/ 448364 h 723778"/>
                      <a:gd name="connsiteX560" fmla="*/ 141147 w 751062"/>
                      <a:gd name="connsiteY560" fmla="*/ 375409 h 723778"/>
                      <a:gd name="connsiteX561" fmla="*/ 130559 w 751062"/>
                      <a:gd name="connsiteY561" fmla="*/ 373608 h 723778"/>
                      <a:gd name="connsiteX562" fmla="*/ 129437 w 751062"/>
                      <a:gd name="connsiteY562" fmla="*/ 373005 h 723778"/>
                      <a:gd name="connsiteX563" fmla="*/ 127709 w 751062"/>
                      <a:gd name="connsiteY563" fmla="*/ 354834 h 723778"/>
                      <a:gd name="connsiteX564" fmla="*/ 158953 w 751062"/>
                      <a:gd name="connsiteY564" fmla="*/ 359742 h 723778"/>
                      <a:gd name="connsiteX565" fmla="*/ 160520 w 751062"/>
                      <a:gd name="connsiteY565" fmla="*/ 359222 h 723778"/>
                      <a:gd name="connsiteX566" fmla="*/ 170925 w 751062"/>
                      <a:gd name="connsiteY566" fmla="*/ 380926 h 723778"/>
                      <a:gd name="connsiteX567" fmla="*/ 141147 w 751062"/>
                      <a:gd name="connsiteY567" fmla="*/ 375409 h 723778"/>
                      <a:gd name="connsiteX568" fmla="*/ 110349 w 751062"/>
                      <a:gd name="connsiteY568" fmla="*/ 458243 h 723778"/>
                      <a:gd name="connsiteX569" fmla="*/ 108796 w 751062"/>
                      <a:gd name="connsiteY569" fmla="*/ 455156 h 723778"/>
                      <a:gd name="connsiteX570" fmla="*/ 117170 w 751062"/>
                      <a:gd name="connsiteY570" fmla="*/ 459731 h 723778"/>
                      <a:gd name="connsiteX571" fmla="*/ 111631 w 751062"/>
                      <a:gd name="connsiteY571" fmla="*/ 472731 h 723778"/>
                      <a:gd name="connsiteX572" fmla="*/ 110349 w 751062"/>
                      <a:gd name="connsiteY572" fmla="*/ 458243 h 723778"/>
                      <a:gd name="connsiteX573" fmla="*/ 96960 w 751062"/>
                      <a:gd name="connsiteY573" fmla="*/ 478245 h 723778"/>
                      <a:gd name="connsiteX574" fmla="*/ 93794 w 751062"/>
                      <a:gd name="connsiteY574" fmla="*/ 455005 h 723778"/>
                      <a:gd name="connsiteX575" fmla="*/ 102197 w 751062"/>
                      <a:gd name="connsiteY575" fmla="*/ 451496 h 723778"/>
                      <a:gd name="connsiteX576" fmla="*/ 109472 w 751062"/>
                      <a:gd name="connsiteY576" fmla="*/ 466130 h 723778"/>
                      <a:gd name="connsiteX577" fmla="*/ 103656 w 751062"/>
                      <a:gd name="connsiteY577" fmla="*/ 481220 h 723778"/>
                      <a:gd name="connsiteX578" fmla="*/ 96323 w 751062"/>
                      <a:gd name="connsiteY578" fmla="*/ 478185 h 723778"/>
                      <a:gd name="connsiteX579" fmla="*/ 96960 w 751062"/>
                      <a:gd name="connsiteY579" fmla="*/ 478245 h 723778"/>
                      <a:gd name="connsiteX580" fmla="*/ 92497 w 751062"/>
                      <a:gd name="connsiteY580" fmla="*/ 466001 h 723778"/>
                      <a:gd name="connsiteX581" fmla="*/ 93968 w 751062"/>
                      <a:gd name="connsiteY581" fmla="*/ 458340 h 723778"/>
                      <a:gd name="connsiteX582" fmla="*/ 99810 w 751062"/>
                      <a:gd name="connsiteY582" fmla="*/ 465085 h 723778"/>
                      <a:gd name="connsiteX583" fmla="*/ 96392 w 751062"/>
                      <a:gd name="connsiteY583" fmla="*/ 473962 h 723778"/>
                      <a:gd name="connsiteX584" fmla="*/ 92497 w 751062"/>
                      <a:gd name="connsiteY584" fmla="*/ 466001 h 723778"/>
                      <a:gd name="connsiteX585" fmla="*/ 197674 w 751062"/>
                      <a:gd name="connsiteY585" fmla="*/ 624473 h 723778"/>
                      <a:gd name="connsiteX586" fmla="*/ 79725 w 751062"/>
                      <a:gd name="connsiteY586" fmla="*/ 634604 h 723778"/>
                      <a:gd name="connsiteX587" fmla="*/ 110095 w 751062"/>
                      <a:gd name="connsiteY587" fmla="*/ 642150 h 723778"/>
                      <a:gd name="connsiteX588" fmla="*/ 196212 w 751062"/>
                      <a:gd name="connsiteY588" fmla="*/ 604563 h 723778"/>
                      <a:gd name="connsiteX589" fmla="*/ 136872 w 751062"/>
                      <a:gd name="connsiteY589" fmla="*/ 292516 h 723778"/>
                      <a:gd name="connsiteX590" fmla="*/ 53539 w 751062"/>
                      <a:gd name="connsiteY590" fmla="*/ 305725 h 723778"/>
                      <a:gd name="connsiteX591" fmla="*/ 53573 w 751062"/>
                      <a:gd name="connsiteY591" fmla="*/ 305756 h 723778"/>
                      <a:gd name="connsiteX592" fmla="*/ 27641 w 751062"/>
                      <a:gd name="connsiteY592" fmla="*/ 334606 h 723778"/>
                      <a:gd name="connsiteX593" fmla="*/ 179860 w 751062"/>
                      <a:gd name="connsiteY593" fmla="*/ 316358 h 723778"/>
                      <a:gd name="connsiteX594" fmla="*/ 197674 w 751062"/>
                      <a:gd name="connsiteY594" fmla="*/ 624473 h 723778"/>
                      <a:gd name="connsiteX595" fmla="*/ 308821 w 751062"/>
                      <a:gd name="connsiteY595" fmla="*/ 446450 h 723778"/>
                      <a:gd name="connsiteX596" fmla="*/ 311368 w 751062"/>
                      <a:gd name="connsiteY596" fmla="*/ 544792 h 723778"/>
                      <a:gd name="connsiteX597" fmla="*/ 292743 w 751062"/>
                      <a:gd name="connsiteY597" fmla="*/ 552147 h 723778"/>
                      <a:gd name="connsiteX598" fmla="*/ 290873 w 751062"/>
                      <a:gd name="connsiteY598" fmla="*/ 554585 h 723778"/>
                      <a:gd name="connsiteX599" fmla="*/ 248948 w 751062"/>
                      <a:gd name="connsiteY599" fmla="*/ 588110 h 723778"/>
                      <a:gd name="connsiteX600" fmla="*/ 236627 w 751062"/>
                      <a:gd name="connsiteY600" fmla="*/ 608163 h 723778"/>
                      <a:gd name="connsiteX601" fmla="*/ 213179 w 751062"/>
                      <a:gd name="connsiteY601" fmla="*/ 605653 h 723778"/>
                      <a:gd name="connsiteX602" fmla="*/ 229017 w 751062"/>
                      <a:gd name="connsiteY602" fmla="*/ 417757 h 723778"/>
                      <a:gd name="connsiteX603" fmla="*/ 286019 w 751062"/>
                      <a:gd name="connsiteY603" fmla="*/ 423739 h 723778"/>
                      <a:gd name="connsiteX604" fmla="*/ 289434 w 751062"/>
                      <a:gd name="connsiteY604" fmla="*/ 424361 h 723778"/>
                      <a:gd name="connsiteX605" fmla="*/ 308807 w 751062"/>
                      <a:gd name="connsiteY605" fmla="*/ 425992 h 723778"/>
                      <a:gd name="connsiteX606" fmla="*/ 308821 w 751062"/>
                      <a:gd name="connsiteY606" fmla="*/ 446450 h 723778"/>
                      <a:gd name="connsiteX607" fmla="*/ 285145 w 751062"/>
                      <a:gd name="connsiteY607" fmla="*/ 410847 h 723778"/>
                      <a:gd name="connsiteX608" fmla="*/ 283791 w 751062"/>
                      <a:gd name="connsiteY608" fmla="*/ 420430 h 723778"/>
                      <a:gd name="connsiteX609" fmla="*/ 228346 w 751062"/>
                      <a:gd name="connsiteY609" fmla="*/ 414839 h 723778"/>
                      <a:gd name="connsiteX610" fmla="*/ 222604 w 751062"/>
                      <a:gd name="connsiteY610" fmla="*/ 393632 h 723778"/>
                      <a:gd name="connsiteX611" fmla="*/ 284482 w 751062"/>
                      <a:gd name="connsiteY611" fmla="*/ 402424 h 723778"/>
                      <a:gd name="connsiteX612" fmla="*/ 286610 w 751062"/>
                      <a:gd name="connsiteY612" fmla="*/ 409642 h 723778"/>
                      <a:gd name="connsiteX613" fmla="*/ 285145 w 751062"/>
                      <a:gd name="connsiteY613" fmla="*/ 410847 h 723778"/>
                      <a:gd name="connsiteX614" fmla="*/ 236570 w 751062"/>
                      <a:gd name="connsiteY614" fmla="*/ 630626 h 723778"/>
                      <a:gd name="connsiteX615" fmla="*/ 201946 w 751062"/>
                      <a:gd name="connsiteY615" fmla="*/ 625036 h 723778"/>
                      <a:gd name="connsiteX616" fmla="*/ 211243 w 751062"/>
                      <a:gd name="connsiteY616" fmla="*/ 609131 h 723778"/>
                      <a:gd name="connsiteX617" fmla="*/ 231010 w 751062"/>
                      <a:gd name="connsiteY617" fmla="*/ 612780 h 723778"/>
                      <a:gd name="connsiteX618" fmla="*/ 243134 w 751062"/>
                      <a:gd name="connsiteY618" fmla="*/ 609605 h 723778"/>
                      <a:gd name="connsiteX619" fmla="*/ 264366 w 751062"/>
                      <a:gd name="connsiteY619" fmla="*/ 564311 h 723778"/>
                      <a:gd name="connsiteX620" fmla="*/ 290858 w 751062"/>
                      <a:gd name="connsiteY620" fmla="*/ 559217 h 723778"/>
                      <a:gd name="connsiteX621" fmla="*/ 290901 w 751062"/>
                      <a:gd name="connsiteY621" fmla="*/ 562144 h 723778"/>
                      <a:gd name="connsiteX622" fmla="*/ 292769 w 751062"/>
                      <a:gd name="connsiteY622" fmla="*/ 564371 h 723778"/>
                      <a:gd name="connsiteX623" fmla="*/ 292109 w 751062"/>
                      <a:gd name="connsiteY623" fmla="*/ 573225 h 723778"/>
                      <a:gd name="connsiteX624" fmla="*/ 261017 w 751062"/>
                      <a:gd name="connsiteY624" fmla="*/ 602484 h 723778"/>
                      <a:gd name="connsiteX625" fmla="*/ 253036 w 751062"/>
                      <a:gd name="connsiteY625" fmla="*/ 622417 h 723778"/>
                      <a:gd name="connsiteX626" fmla="*/ 242623 w 751062"/>
                      <a:gd name="connsiteY626" fmla="*/ 629664 h 723778"/>
                      <a:gd name="connsiteX627" fmla="*/ 236570 w 751062"/>
                      <a:gd name="connsiteY627" fmla="*/ 630626 h 723778"/>
                      <a:gd name="connsiteX628" fmla="*/ 296649 w 751062"/>
                      <a:gd name="connsiteY628" fmla="*/ 591539 h 723778"/>
                      <a:gd name="connsiteX629" fmla="*/ 292694 w 751062"/>
                      <a:gd name="connsiteY629" fmla="*/ 600891 h 723778"/>
                      <a:gd name="connsiteX630" fmla="*/ 284988 w 751062"/>
                      <a:gd name="connsiteY630" fmla="*/ 618300 h 723778"/>
                      <a:gd name="connsiteX631" fmla="*/ 256706 w 751062"/>
                      <a:gd name="connsiteY631" fmla="*/ 621329 h 723778"/>
                      <a:gd name="connsiteX632" fmla="*/ 271259 w 751062"/>
                      <a:gd name="connsiteY632" fmla="*/ 587276 h 723778"/>
                      <a:gd name="connsiteX633" fmla="*/ 292152 w 751062"/>
                      <a:gd name="connsiteY633" fmla="*/ 576843 h 723778"/>
                      <a:gd name="connsiteX634" fmla="*/ 296649 w 751062"/>
                      <a:gd name="connsiteY634" fmla="*/ 591539 h 723778"/>
                      <a:gd name="connsiteX635" fmla="*/ 325397 w 751062"/>
                      <a:gd name="connsiteY635" fmla="*/ 670667 h 723778"/>
                      <a:gd name="connsiteX636" fmla="*/ 227187 w 751062"/>
                      <a:gd name="connsiteY636" fmla="*/ 670664 h 723778"/>
                      <a:gd name="connsiteX637" fmla="*/ 283409 w 751062"/>
                      <a:gd name="connsiteY637" fmla="*/ 622080 h 723778"/>
                      <a:gd name="connsiteX638" fmla="*/ 278992 w 751062"/>
                      <a:gd name="connsiteY638" fmla="*/ 632731 h 723778"/>
                      <a:gd name="connsiteX639" fmla="*/ 276293 w 751062"/>
                      <a:gd name="connsiteY639" fmla="*/ 708700 h 723778"/>
                      <a:gd name="connsiteX640" fmla="*/ 301377 w 751062"/>
                      <a:gd name="connsiteY640" fmla="*/ 642088 h 723778"/>
                      <a:gd name="connsiteX641" fmla="*/ 305789 w 751062"/>
                      <a:gd name="connsiteY641" fmla="*/ 631437 h 723778"/>
                      <a:gd name="connsiteX642" fmla="*/ 325397 w 751062"/>
                      <a:gd name="connsiteY642" fmla="*/ 670667 h 723778"/>
                      <a:gd name="connsiteX643" fmla="*/ 260486 w 751062"/>
                      <a:gd name="connsiteY643" fmla="*/ 683182 h 723778"/>
                      <a:gd name="connsiteX644" fmla="*/ 264509 w 751062"/>
                      <a:gd name="connsiteY644" fmla="*/ 684056 h 723778"/>
                      <a:gd name="connsiteX645" fmla="*/ 257242 w 751062"/>
                      <a:gd name="connsiteY645" fmla="*/ 691020 h 723778"/>
                      <a:gd name="connsiteX646" fmla="*/ 247631 w 751062"/>
                      <a:gd name="connsiteY646" fmla="*/ 672186 h 723778"/>
                      <a:gd name="connsiteX647" fmla="*/ 249964 w 751062"/>
                      <a:gd name="connsiteY647" fmla="*/ 668939 h 723778"/>
                      <a:gd name="connsiteX648" fmla="*/ 262665 w 751062"/>
                      <a:gd name="connsiteY648" fmla="*/ 672263 h 723778"/>
                      <a:gd name="connsiteX649" fmla="*/ 259161 w 751062"/>
                      <a:gd name="connsiteY649" fmla="*/ 680449 h 723778"/>
                      <a:gd name="connsiteX650" fmla="*/ 260486 w 751062"/>
                      <a:gd name="connsiteY650" fmla="*/ 683182 h 723778"/>
                      <a:gd name="connsiteX651" fmla="*/ 251752 w 751062"/>
                      <a:gd name="connsiteY651" fmla="*/ 661338 h 723778"/>
                      <a:gd name="connsiteX652" fmla="*/ 249741 w 751062"/>
                      <a:gd name="connsiteY652" fmla="*/ 657895 h 723778"/>
                      <a:gd name="connsiteX653" fmla="*/ 265529 w 751062"/>
                      <a:gd name="connsiteY653" fmla="*/ 643829 h 723778"/>
                      <a:gd name="connsiteX654" fmla="*/ 269261 w 751062"/>
                      <a:gd name="connsiteY654" fmla="*/ 645266 h 723778"/>
                      <a:gd name="connsiteX655" fmla="*/ 269261 w 751062"/>
                      <a:gd name="connsiteY655" fmla="*/ 656419 h 723778"/>
                      <a:gd name="connsiteX656" fmla="*/ 266000 w 751062"/>
                      <a:gd name="connsiteY656" fmla="*/ 664319 h 723778"/>
                      <a:gd name="connsiteX657" fmla="*/ 251752 w 751062"/>
                      <a:gd name="connsiteY657" fmla="*/ 661338 h 723778"/>
                      <a:gd name="connsiteX658" fmla="*/ 292069 w 751062"/>
                      <a:gd name="connsiteY658" fmla="*/ 691271 h 723778"/>
                      <a:gd name="connsiteX659" fmla="*/ 291447 w 751062"/>
                      <a:gd name="connsiteY659" fmla="*/ 695209 h 723778"/>
                      <a:gd name="connsiteX660" fmla="*/ 270323 w 751062"/>
                      <a:gd name="connsiteY660" fmla="*/ 696125 h 723778"/>
                      <a:gd name="connsiteX661" fmla="*/ 268338 w 751062"/>
                      <a:gd name="connsiteY661" fmla="*/ 692653 h 723778"/>
                      <a:gd name="connsiteX662" fmla="*/ 275220 w 751062"/>
                      <a:gd name="connsiteY662" fmla="*/ 684221 h 723778"/>
                      <a:gd name="connsiteX663" fmla="*/ 285028 w 751062"/>
                      <a:gd name="connsiteY663" fmla="*/ 681906 h 723778"/>
                      <a:gd name="connsiteX664" fmla="*/ 292069 w 751062"/>
                      <a:gd name="connsiteY664" fmla="*/ 691271 h 723778"/>
                      <a:gd name="connsiteX665" fmla="*/ 287857 w 751062"/>
                      <a:gd name="connsiteY665" fmla="*/ 674684 h 723778"/>
                      <a:gd name="connsiteX666" fmla="*/ 290122 w 751062"/>
                      <a:gd name="connsiteY666" fmla="*/ 669139 h 723778"/>
                      <a:gd name="connsiteX667" fmla="*/ 301041 w 751062"/>
                      <a:gd name="connsiteY667" fmla="*/ 663157 h 723778"/>
                      <a:gd name="connsiteX668" fmla="*/ 304841 w 751062"/>
                      <a:gd name="connsiteY668" fmla="*/ 664362 h 723778"/>
                      <a:gd name="connsiteX669" fmla="*/ 302577 w 751062"/>
                      <a:gd name="connsiteY669" fmla="*/ 685383 h 723778"/>
                      <a:gd name="connsiteX670" fmla="*/ 298848 w 751062"/>
                      <a:gd name="connsiteY670" fmla="*/ 686825 h 723778"/>
                      <a:gd name="connsiteX671" fmla="*/ 287857 w 751062"/>
                      <a:gd name="connsiteY671" fmla="*/ 674684 h 723778"/>
                      <a:gd name="connsiteX672" fmla="*/ 312436 w 751062"/>
                      <a:gd name="connsiteY672" fmla="*/ 606082 h 723778"/>
                      <a:gd name="connsiteX673" fmla="*/ 282349 w 751062"/>
                      <a:gd name="connsiteY673" fmla="*/ 679601 h 723778"/>
                      <a:gd name="connsiteX674" fmla="*/ 262962 w 751062"/>
                      <a:gd name="connsiteY674" fmla="*/ 680972 h 723778"/>
                      <a:gd name="connsiteX675" fmla="*/ 294545 w 751062"/>
                      <a:gd name="connsiteY675" fmla="*/ 602695 h 723778"/>
                      <a:gd name="connsiteX676" fmla="*/ 312930 w 751062"/>
                      <a:gd name="connsiteY676" fmla="*/ 605191 h 723778"/>
                      <a:gd name="connsiteX677" fmla="*/ 312436 w 751062"/>
                      <a:gd name="connsiteY677" fmla="*/ 606082 h 723778"/>
                      <a:gd name="connsiteX678" fmla="*/ 314558 w 751062"/>
                      <a:gd name="connsiteY678" fmla="*/ 596368 h 723778"/>
                      <a:gd name="connsiteX679" fmla="*/ 313872 w 751062"/>
                      <a:gd name="connsiteY679" fmla="*/ 601316 h 723778"/>
                      <a:gd name="connsiteX680" fmla="*/ 296703 w 751062"/>
                      <a:gd name="connsiteY680" fmla="*/ 599189 h 723778"/>
                      <a:gd name="connsiteX681" fmla="*/ 299067 w 751062"/>
                      <a:gd name="connsiteY681" fmla="*/ 592150 h 723778"/>
                      <a:gd name="connsiteX682" fmla="*/ 315380 w 751062"/>
                      <a:gd name="connsiteY682" fmla="*/ 592684 h 723778"/>
                      <a:gd name="connsiteX683" fmla="*/ 314558 w 751062"/>
                      <a:gd name="connsiteY683" fmla="*/ 596368 h 723778"/>
                      <a:gd name="connsiteX684" fmla="*/ 316939 w 751062"/>
                      <a:gd name="connsiteY684" fmla="*/ 571506 h 723778"/>
                      <a:gd name="connsiteX685" fmla="*/ 316357 w 751062"/>
                      <a:gd name="connsiteY685" fmla="*/ 588678 h 723778"/>
                      <a:gd name="connsiteX686" fmla="*/ 300027 w 751062"/>
                      <a:gd name="connsiteY686" fmla="*/ 588778 h 723778"/>
                      <a:gd name="connsiteX687" fmla="*/ 295961 w 751062"/>
                      <a:gd name="connsiteY687" fmla="*/ 583262 h 723778"/>
                      <a:gd name="connsiteX688" fmla="*/ 294376 w 751062"/>
                      <a:gd name="connsiteY688" fmla="*/ 564745 h 723778"/>
                      <a:gd name="connsiteX689" fmla="*/ 317159 w 751062"/>
                      <a:gd name="connsiteY689" fmla="*/ 565087 h 723778"/>
                      <a:gd name="connsiteX690" fmla="*/ 316939 w 751062"/>
                      <a:gd name="connsiteY690" fmla="*/ 571506 h 723778"/>
                      <a:gd name="connsiteX691" fmla="*/ 318193 w 751062"/>
                      <a:gd name="connsiteY691" fmla="*/ 561090 h 723778"/>
                      <a:gd name="connsiteX692" fmla="*/ 293836 w 751062"/>
                      <a:gd name="connsiteY692" fmla="*/ 561924 h 723778"/>
                      <a:gd name="connsiteX693" fmla="*/ 294527 w 751062"/>
                      <a:gd name="connsiteY693" fmla="*/ 554474 h 723778"/>
                      <a:gd name="connsiteX694" fmla="*/ 318935 w 751062"/>
                      <a:gd name="connsiteY694" fmla="*/ 556273 h 723778"/>
                      <a:gd name="connsiteX695" fmla="*/ 318193 w 751062"/>
                      <a:gd name="connsiteY695" fmla="*/ 561090 h 723778"/>
                      <a:gd name="connsiteX696" fmla="*/ 386804 w 751062"/>
                      <a:gd name="connsiteY696" fmla="*/ 634253 h 723778"/>
                      <a:gd name="connsiteX697" fmla="*/ 383237 w 751062"/>
                      <a:gd name="connsiteY697" fmla="*/ 597090 h 723778"/>
                      <a:gd name="connsiteX698" fmla="*/ 389508 w 751062"/>
                      <a:gd name="connsiteY698" fmla="*/ 598281 h 723778"/>
                      <a:gd name="connsiteX699" fmla="*/ 397868 w 751062"/>
                      <a:gd name="connsiteY699" fmla="*/ 643056 h 723778"/>
                      <a:gd name="connsiteX700" fmla="*/ 387678 w 751062"/>
                      <a:gd name="connsiteY700" fmla="*/ 639843 h 723778"/>
                      <a:gd name="connsiteX701" fmla="*/ 386804 w 751062"/>
                      <a:gd name="connsiteY701" fmla="*/ 634253 h 723778"/>
                      <a:gd name="connsiteX702" fmla="*/ 390322 w 751062"/>
                      <a:gd name="connsiteY702" fmla="*/ 651953 h 723778"/>
                      <a:gd name="connsiteX703" fmla="*/ 388226 w 751062"/>
                      <a:gd name="connsiteY703" fmla="*/ 644072 h 723778"/>
                      <a:gd name="connsiteX704" fmla="*/ 398688 w 751062"/>
                      <a:gd name="connsiteY704" fmla="*/ 647501 h 723778"/>
                      <a:gd name="connsiteX705" fmla="*/ 400664 w 751062"/>
                      <a:gd name="connsiteY705" fmla="*/ 658383 h 723778"/>
                      <a:gd name="connsiteX706" fmla="*/ 390322 w 751062"/>
                      <a:gd name="connsiteY706" fmla="*/ 651953 h 723778"/>
                      <a:gd name="connsiteX707" fmla="*/ 414524 w 751062"/>
                      <a:gd name="connsiteY707" fmla="*/ 684510 h 723778"/>
                      <a:gd name="connsiteX708" fmla="*/ 413627 w 751062"/>
                      <a:gd name="connsiteY708" fmla="*/ 684572 h 723778"/>
                      <a:gd name="connsiteX709" fmla="*/ 412528 w 751062"/>
                      <a:gd name="connsiteY709" fmla="*/ 680586 h 723778"/>
                      <a:gd name="connsiteX710" fmla="*/ 416188 w 751062"/>
                      <a:gd name="connsiteY710" fmla="*/ 680475 h 723778"/>
                      <a:gd name="connsiteX711" fmla="*/ 416674 w 751062"/>
                      <a:gd name="connsiteY711" fmla="*/ 682579 h 723778"/>
                      <a:gd name="connsiteX712" fmla="*/ 414524 w 751062"/>
                      <a:gd name="connsiteY712" fmla="*/ 684510 h 723778"/>
                      <a:gd name="connsiteX713" fmla="*/ 408573 w 751062"/>
                      <a:gd name="connsiteY713" fmla="*/ 677603 h 723778"/>
                      <a:gd name="connsiteX714" fmla="*/ 380294 w 751062"/>
                      <a:gd name="connsiteY714" fmla="*/ 525464 h 723778"/>
                      <a:gd name="connsiteX715" fmla="*/ 366191 w 751062"/>
                      <a:gd name="connsiteY715" fmla="*/ 459548 h 723778"/>
                      <a:gd name="connsiteX716" fmla="*/ 328229 w 751062"/>
                      <a:gd name="connsiteY716" fmla="*/ 424627 h 723778"/>
                      <a:gd name="connsiteX717" fmla="*/ 326824 w 751062"/>
                      <a:gd name="connsiteY717" fmla="*/ 424810 h 723778"/>
                      <a:gd name="connsiteX718" fmla="*/ 326459 w 751062"/>
                      <a:gd name="connsiteY718" fmla="*/ 428153 h 723778"/>
                      <a:gd name="connsiteX719" fmla="*/ 328912 w 751062"/>
                      <a:gd name="connsiteY719" fmla="*/ 562241 h 723778"/>
                      <a:gd name="connsiteX720" fmla="*/ 330105 w 751062"/>
                      <a:gd name="connsiteY720" fmla="*/ 570007 h 723778"/>
                      <a:gd name="connsiteX721" fmla="*/ 332461 w 751062"/>
                      <a:gd name="connsiteY721" fmla="*/ 568574 h 723778"/>
                      <a:gd name="connsiteX722" fmla="*/ 357788 w 751062"/>
                      <a:gd name="connsiteY722" fmla="*/ 574750 h 723778"/>
                      <a:gd name="connsiteX723" fmla="*/ 385830 w 751062"/>
                      <a:gd name="connsiteY723" fmla="*/ 578987 h 723778"/>
                      <a:gd name="connsiteX724" fmla="*/ 388871 w 751062"/>
                      <a:gd name="connsiteY724" fmla="*/ 594957 h 723778"/>
                      <a:gd name="connsiteX725" fmla="*/ 319814 w 751062"/>
                      <a:gd name="connsiteY725" fmla="*/ 579633 h 723778"/>
                      <a:gd name="connsiteX726" fmla="*/ 319914 w 751062"/>
                      <a:gd name="connsiteY726" fmla="*/ 564619 h 723778"/>
                      <a:gd name="connsiteX727" fmla="*/ 322370 w 751062"/>
                      <a:gd name="connsiteY727" fmla="*/ 561264 h 723778"/>
                      <a:gd name="connsiteX728" fmla="*/ 322019 w 751062"/>
                      <a:gd name="connsiteY728" fmla="*/ 556142 h 723778"/>
                      <a:gd name="connsiteX729" fmla="*/ 314943 w 751062"/>
                      <a:gd name="connsiteY729" fmla="*/ 546676 h 723778"/>
                      <a:gd name="connsiteX730" fmla="*/ 312182 w 751062"/>
                      <a:gd name="connsiteY730" fmla="*/ 436465 h 723778"/>
                      <a:gd name="connsiteX731" fmla="*/ 309786 w 751062"/>
                      <a:gd name="connsiteY731" fmla="*/ 422531 h 723778"/>
                      <a:gd name="connsiteX732" fmla="*/ 288611 w 751062"/>
                      <a:gd name="connsiteY732" fmla="*/ 421469 h 723778"/>
                      <a:gd name="connsiteX733" fmla="*/ 287817 w 751062"/>
                      <a:gd name="connsiteY733" fmla="*/ 411173 h 723778"/>
                      <a:gd name="connsiteX734" fmla="*/ 289251 w 751062"/>
                      <a:gd name="connsiteY734" fmla="*/ 410279 h 723778"/>
                      <a:gd name="connsiteX735" fmla="*/ 289902 w 751062"/>
                      <a:gd name="connsiteY735" fmla="*/ 409899 h 723778"/>
                      <a:gd name="connsiteX736" fmla="*/ 305906 w 751062"/>
                      <a:gd name="connsiteY736" fmla="*/ 412175 h 723778"/>
                      <a:gd name="connsiteX737" fmla="*/ 311602 w 751062"/>
                      <a:gd name="connsiteY737" fmla="*/ 410656 h 723778"/>
                      <a:gd name="connsiteX738" fmla="*/ 311428 w 751062"/>
                      <a:gd name="connsiteY738" fmla="*/ 403969 h 723778"/>
                      <a:gd name="connsiteX739" fmla="*/ 293008 w 751062"/>
                      <a:gd name="connsiteY739" fmla="*/ 399457 h 723778"/>
                      <a:gd name="connsiteX740" fmla="*/ 221827 w 751062"/>
                      <a:gd name="connsiteY740" fmla="*/ 391177 h 723778"/>
                      <a:gd name="connsiteX741" fmla="*/ 213798 w 751062"/>
                      <a:gd name="connsiteY741" fmla="*/ 368911 h 723778"/>
                      <a:gd name="connsiteX742" fmla="*/ 305920 w 751062"/>
                      <a:gd name="connsiteY742" fmla="*/ 384292 h 723778"/>
                      <a:gd name="connsiteX743" fmla="*/ 308170 w 751062"/>
                      <a:gd name="connsiteY743" fmla="*/ 382319 h 723778"/>
                      <a:gd name="connsiteX744" fmla="*/ 310209 w 751062"/>
                      <a:gd name="connsiteY744" fmla="*/ 356544 h 723778"/>
                      <a:gd name="connsiteX745" fmla="*/ 310192 w 751062"/>
                      <a:gd name="connsiteY745" fmla="*/ 333007 h 723778"/>
                      <a:gd name="connsiteX746" fmla="*/ 310306 w 751062"/>
                      <a:gd name="connsiteY746" fmla="*/ 266192 h 723778"/>
                      <a:gd name="connsiteX747" fmla="*/ 322339 w 751062"/>
                      <a:gd name="connsiteY747" fmla="*/ 266626 h 723778"/>
                      <a:gd name="connsiteX748" fmla="*/ 321830 w 751062"/>
                      <a:gd name="connsiteY748" fmla="*/ 281842 h 723778"/>
                      <a:gd name="connsiteX749" fmla="*/ 324826 w 751062"/>
                      <a:gd name="connsiteY749" fmla="*/ 411724 h 723778"/>
                      <a:gd name="connsiteX750" fmla="*/ 326390 w 751062"/>
                      <a:gd name="connsiteY750" fmla="*/ 414388 h 723778"/>
                      <a:gd name="connsiteX751" fmla="*/ 357485 w 751062"/>
                      <a:gd name="connsiteY751" fmla="*/ 424456 h 723778"/>
                      <a:gd name="connsiteX752" fmla="*/ 374243 w 751062"/>
                      <a:gd name="connsiteY752" fmla="*/ 454203 h 723778"/>
                      <a:gd name="connsiteX753" fmla="*/ 416816 w 751062"/>
                      <a:gd name="connsiteY753" fmla="*/ 676586 h 723778"/>
                      <a:gd name="connsiteX754" fmla="*/ 408573 w 751062"/>
                      <a:gd name="connsiteY754" fmla="*/ 677603 h 723778"/>
                      <a:gd name="connsiteX755" fmla="*/ 370097 w 751062"/>
                      <a:gd name="connsiteY755" fmla="*/ 514613 h 723778"/>
                      <a:gd name="connsiteX756" fmla="*/ 360289 w 751062"/>
                      <a:gd name="connsiteY756" fmla="*/ 486611 h 723778"/>
                      <a:gd name="connsiteX757" fmla="*/ 350332 w 751062"/>
                      <a:gd name="connsiteY757" fmla="*/ 440283 h 723778"/>
                      <a:gd name="connsiteX758" fmla="*/ 361508 w 751062"/>
                      <a:gd name="connsiteY758" fmla="*/ 460025 h 723778"/>
                      <a:gd name="connsiteX759" fmla="*/ 381541 w 751062"/>
                      <a:gd name="connsiteY759" fmla="*/ 556656 h 723778"/>
                      <a:gd name="connsiteX760" fmla="*/ 368869 w 751062"/>
                      <a:gd name="connsiteY760" fmla="*/ 531891 h 723778"/>
                      <a:gd name="connsiteX761" fmla="*/ 370583 w 751062"/>
                      <a:gd name="connsiteY761" fmla="*/ 515921 h 723778"/>
                      <a:gd name="connsiteX762" fmla="*/ 370097 w 751062"/>
                      <a:gd name="connsiteY762" fmla="*/ 514613 h 723778"/>
                      <a:gd name="connsiteX763" fmla="*/ 354139 w 751062"/>
                      <a:gd name="connsiteY763" fmla="*/ 483878 h 723778"/>
                      <a:gd name="connsiteX764" fmla="*/ 368273 w 751062"/>
                      <a:gd name="connsiteY764" fmla="*/ 515025 h 723778"/>
                      <a:gd name="connsiteX765" fmla="*/ 365688 w 751062"/>
                      <a:gd name="connsiteY765" fmla="*/ 547484 h 723778"/>
                      <a:gd name="connsiteX766" fmla="*/ 382980 w 751062"/>
                      <a:gd name="connsiteY766" fmla="*/ 564111 h 723778"/>
                      <a:gd name="connsiteX767" fmla="*/ 385265 w 751062"/>
                      <a:gd name="connsiteY767" fmla="*/ 576003 h 723778"/>
                      <a:gd name="connsiteX768" fmla="*/ 344485 w 751062"/>
                      <a:gd name="connsiteY768" fmla="*/ 568194 h 723778"/>
                      <a:gd name="connsiteX769" fmla="*/ 332649 w 751062"/>
                      <a:gd name="connsiteY769" fmla="*/ 566047 h 723778"/>
                      <a:gd name="connsiteX770" fmla="*/ 328620 w 751062"/>
                      <a:gd name="connsiteY770" fmla="*/ 428296 h 723778"/>
                      <a:gd name="connsiteX771" fmla="*/ 344405 w 751062"/>
                      <a:gd name="connsiteY771" fmla="*/ 434467 h 723778"/>
                      <a:gd name="connsiteX772" fmla="*/ 354139 w 751062"/>
                      <a:gd name="connsiteY772" fmla="*/ 483878 h 723778"/>
                      <a:gd name="connsiteX773" fmla="*/ 286912 w 751062"/>
                      <a:gd name="connsiteY773" fmla="*/ 402801 h 723778"/>
                      <a:gd name="connsiteX774" fmla="*/ 308216 w 751062"/>
                      <a:gd name="connsiteY774" fmla="*/ 405927 h 723778"/>
                      <a:gd name="connsiteX775" fmla="*/ 308604 w 751062"/>
                      <a:gd name="connsiteY775" fmla="*/ 409619 h 723778"/>
                      <a:gd name="connsiteX776" fmla="*/ 288945 w 751062"/>
                      <a:gd name="connsiteY776" fmla="*/ 408400 h 723778"/>
                      <a:gd name="connsiteX777" fmla="*/ 286912 w 751062"/>
                      <a:gd name="connsiteY777" fmla="*/ 402801 h 723778"/>
                      <a:gd name="connsiteX778" fmla="*/ 440975 w 751062"/>
                      <a:gd name="connsiteY778" fmla="*/ 667686 h 723778"/>
                      <a:gd name="connsiteX779" fmla="*/ 430728 w 751062"/>
                      <a:gd name="connsiteY779" fmla="*/ 669919 h 723778"/>
                      <a:gd name="connsiteX780" fmla="*/ 419820 w 751062"/>
                      <a:gd name="connsiteY780" fmla="*/ 672574 h 723778"/>
                      <a:gd name="connsiteX781" fmla="*/ 419169 w 751062"/>
                      <a:gd name="connsiteY781" fmla="*/ 668608 h 723778"/>
                      <a:gd name="connsiteX782" fmla="*/ 419483 w 751062"/>
                      <a:gd name="connsiteY782" fmla="*/ 663606 h 723778"/>
                      <a:gd name="connsiteX783" fmla="*/ 416308 w 751062"/>
                      <a:gd name="connsiteY783" fmla="*/ 644686 h 723778"/>
                      <a:gd name="connsiteX784" fmla="*/ 449450 w 751062"/>
                      <a:gd name="connsiteY784" fmla="*/ 640634 h 723778"/>
                      <a:gd name="connsiteX785" fmla="*/ 445929 w 751062"/>
                      <a:gd name="connsiteY785" fmla="*/ 657655 h 723778"/>
                      <a:gd name="connsiteX786" fmla="*/ 448388 w 751062"/>
                      <a:gd name="connsiteY786" fmla="*/ 666295 h 723778"/>
                      <a:gd name="connsiteX787" fmla="*/ 440975 w 751062"/>
                      <a:gd name="connsiteY787" fmla="*/ 667686 h 723778"/>
                      <a:gd name="connsiteX788" fmla="*/ 450923 w 751062"/>
                      <a:gd name="connsiteY788" fmla="*/ 665730 h 723778"/>
                      <a:gd name="connsiteX789" fmla="*/ 450138 w 751062"/>
                      <a:gd name="connsiteY789" fmla="*/ 665916 h 723778"/>
                      <a:gd name="connsiteX790" fmla="*/ 448633 w 751062"/>
                      <a:gd name="connsiteY790" fmla="*/ 658123 h 723778"/>
                      <a:gd name="connsiteX791" fmla="*/ 457891 w 751062"/>
                      <a:gd name="connsiteY791" fmla="*/ 657350 h 723778"/>
                      <a:gd name="connsiteX792" fmla="*/ 458779 w 751062"/>
                      <a:gd name="connsiteY792" fmla="*/ 662849 h 723778"/>
                      <a:gd name="connsiteX793" fmla="*/ 450923 w 751062"/>
                      <a:gd name="connsiteY793" fmla="*/ 665730 h 723778"/>
                      <a:gd name="connsiteX794" fmla="*/ 485288 w 751062"/>
                      <a:gd name="connsiteY794" fmla="*/ 657387 h 723778"/>
                      <a:gd name="connsiteX795" fmla="*/ 462022 w 751062"/>
                      <a:gd name="connsiteY795" fmla="*/ 659797 h 723778"/>
                      <a:gd name="connsiteX796" fmla="*/ 460709 w 751062"/>
                      <a:gd name="connsiteY796" fmla="*/ 656753 h 723778"/>
                      <a:gd name="connsiteX797" fmla="*/ 473201 w 751062"/>
                      <a:gd name="connsiteY797" fmla="*/ 654808 h 723778"/>
                      <a:gd name="connsiteX798" fmla="*/ 478361 w 751062"/>
                      <a:gd name="connsiteY798" fmla="*/ 646045 h 723778"/>
                      <a:gd name="connsiteX799" fmla="*/ 507756 w 751062"/>
                      <a:gd name="connsiteY799" fmla="*/ 635829 h 723778"/>
                      <a:gd name="connsiteX800" fmla="*/ 535696 w 751062"/>
                      <a:gd name="connsiteY800" fmla="*/ 633019 h 723778"/>
                      <a:gd name="connsiteX801" fmla="*/ 563824 w 751062"/>
                      <a:gd name="connsiteY801" fmla="*/ 630129 h 723778"/>
                      <a:gd name="connsiteX802" fmla="*/ 564272 w 751062"/>
                      <a:gd name="connsiteY802" fmla="*/ 630141 h 723778"/>
                      <a:gd name="connsiteX803" fmla="*/ 564278 w 751062"/>
                      <a:gd name="connsiteY803" fmla="*/ 630144 h 723778"/>
                      <a:gd name="connsiteX804" fmla="*/ 569538 w 751062"/>
                      <a:gd name="connsiteY804" fmla="*/ 630626 h 723778"/>
                      <a:gd name="connsiteX805" fmla="*/ 485288 w 751062"/>
                      <a:gd name="connsiteY805" fmla="*/ 657387 h 723778"/>
                      <a:gd name="connsiteX806" fmla="*/ 573752 w 751062"/>
                      <a:gd name="connsiteY806" fmla="*/ 667380 h 723778"/>
                      <a:gd name="connsiteX807" fmla="*/ 507713 w 751062"/>
                      <a:gd name="connsiteY807" fmla="*/ 671612 h 723778"/>
                      <a:gd name="connsiteX808" fmla="*/ 507091 w 751062"/>
                      <a:gd name="connsiteY808" fmla="*/ 656613 h 723778"/>
                      <a:gd name="connsiteX809" fmla="*/ 576604 w 751062"/>
                      <a:gd name="connsiteY809" fmla="*/ 629661 h 723778"/>
                      <a:gd name="connsiteX810" fmla="*/ 564878 w 751062"/>
                      <a:gd name="connsiteY810" fmla="*/ 625224 h 723778"/>
                      <a:gd name="connsiteX811" fmla="*/ 551640 w 751062"/>
                      <a:gd name="connsiteY811" fmla="*/ 625512 h 723778"/>
                      <a:gd name="connsiteX812" fmla="*/ 493405 w 751062"/>
                      <a:gd name="connsiteY812" fmla="*/ 635897 h 723778"/>
                      <a:gd name="connsiteX813" fmla="*/ 490921 w 751062"/>
                      <a:gd name="connsiteY813" fmla="*/ 627991 h 723778"/>
                      <a:gd name="connsiteX814" fmla="*/ 483312 w 751062"/>
                      <a:gd name="connsiteY814" fmla="*/ 612769 h 723778"/>
                      <a:gd name="connsiteX815" fmla="*/ 465229 w 751062"/>
                      <a:gd name="connsiteY815" fmla="*/ 603852 h 723778"/>
                      <a:gd name="connsiteX816" fmla="*/ 451666 w 751062"/>
                      <a:gd name="connsiteY816" fmla="*/ 586234 h 723778"/>
                      <a:gd name="connsiteX817" fmla="*/ 439785 w 751062"/>
                      <a:gd name="connsiteY817" fmla="*/ 568548 h 723778"/>
                      <a:gd name="connsiteX818" fmla="*/ 438546 w 751062"/>
                      <a:gd name="connsiteY818" fmla="*/ 554585 h 723778"/>
                      <a:gd name="connsiteX819" fmla="*/ 448616 w 751062"/>
                      <a:gd name="connsiteY819" fmla="*/ 535352 h 723778"/>
                      <a:gd name="connsiteX820" fmla="*/ 442095 w 751062"/>
                      <a:gd name="connsiteY820" fmla="*/ 521643 h 723778"/>
                      <a:gd name="connsiteX821" fmla="*/ 438406 w 751062"/>
                      <a:gd name="connsiteY821" fmla="*/ 491910 h 723778"/>
                      <a:gd name="connsiteX822" fmla="*/ 440013 w 751062"/>
                      <a:gd name="connsiteY822" fmla="*/ 378987 h 723778"/>
                      <a:gd name="connsiteX823" fmla="*/ 482232 w 751062"/>
                      <a:gd name="connsiteY823" fmla="*/ 374393 h 723778"/>
                      <a:gd name="connsiteX824" fmla="*/ 491901 w 751062"/>
                      <a:gd name="connsiteY824" fmla="*/ 373676 h 723778"/>
                      <a:gd name="connsiteX825" fmla="*/ 514167 w 751062"/>
                      <a:gd name="connsiteY825" fmla="*/ 382108 h 723778"/>
                      <a:gd name="connsiteX826" fmla="*/ 513130 w 751062"/>
                      <a:gd name="connsiteY826" fmla="*/ 505599 h 723778"/>
                      <a:gd name="connsiteX827" fmla="*/ 512759 w 751062"/>
                      <a:gd name="connsiteY827" fmla="*/ 536728 h 723778"/>
                      <a:gd name="connsiteX828" fmla="*/ 516162 w 751062"/>
                      <a:gd name="connsiteY828" fmla="*/ 546219 h 723778"/>
                      <a:gd name="connsiteX829" fmla="*/ 518567 w 751062"/>
                      <a:gd name="connsiteY829" fmla="*/ 568631 h 723778"/>
                      <a:gd name="connsiteX830" fmla="*/ 522556 w 751062"/>
                      <a:gd name="connsiteY830" fmla="*/ 586060 h 723778"/>
                      <a:gd name="connsiteX831" fmla="*/ 519412 w 751062"/>
                      <a:gd name="connsiteY831" fmla="*/ 601125 h 723778"/>
                      <a:gd name="connsiteX832" fmla="*/ 502394 w 751062"/>
                      <a:gd name="connsiteY832" fmla="*/ 600280 h 723778"/>
                      <a:gd name="connsiteX833" fmla="*/ 507397 w 751062"/>
                      <a:gd name="connsiteY833" fmla="*/ 626435 h 723778"/>
                      <a:gd name="connsiteX834" fmla="*/ 512399 w 751062"/>
                      <a:gd name="connsiteY834" fmla="*/ 627788 h 723778"/>
                      <a:gd name="connsiteX835" fmla="*/ 513259 w 751062"/>
                      <a:gd name="connsiteY835" fmla="*/ 616161 h 723778"/>
                      <a:gd name="connsiteX836" fmla="*/ 507999 w 751062"/>
                      <a:gd name="connsiteY836" fmla="*/ 606042 h 723778"/>
                      <a:gd name="connsiteX837" fmla="*/ 510252 w 751062"/>
                      <a:gd name="connsiteY837" fmla="*/ 601933 h 723778"/>
                      <a:gd name="connsiteX838" fmla="*/ 519732 w 751062"/>
                      <a:gd name="connsiteY838" fmla="*/ 611141 h 723778"/>
                      <a:gd name="connsiteX839" fmla="*/ 563147 w 751062"/>
                      <a:gd name="connsiteY839" fmla="*/ 592607 h 723778"/>
                      <a:gd name="connsiteX840" fmla="*/ 573389 w 751062"/>
                      <a:gd name="connsiteY840" fmla="*/ 585732 h 723778"/>
                      <a:gd name="connsiteX841" fmla="*/ 584040 w 751062"/>
                      <a:gd name="connsiteY841" fmla="*/ 583079 h 723778"/>
                      <a:gd name="connsiteX842" fmla="*/ 585436 w 751062"/>
                      <a:gd name="connsiteY842" fmla="*/ 576383 h 723778"/>
                      <a:gd name="connsiteX843" fmla="*/ 589388 w 751062"/>
                      <a:gd name="connsiteY843" fmla="*/ 569582 h 723778"/>
                      <a:gd name="connsiteX844" fmla="*/ 600495 w 751062"/>
                      <a:gd name="connsiteY844" fmla="*/ 591879 h 723778"/>
                      <a:gd name="connsiteX845" fmla="*/ 589197 w 751062"/>
                      <a:gd name="connsiteY845" fmla="*/ 598663 h 723778"/>
                      <a:gd name="connsiteX846" fmla="*/ 592240 w 751062"/>
                      <a:gd name="connsiteY846" fmla="*/ 601014 h 723778"/>
                      <a:gd name="connsiteX847" fmla="*/ 603847 w 751062"/>
                      <a:gd name="connsiteY847" fmla="*/ 595777 h 723778"/>
                      <a:gd name="connsiteX848" fmla="*/ 607522 w 751062"/>
                      <a:gd name="connsiteY848" fmla="*/ 599323 h 723778"/>
                      <a:gd name="connsiteX849" fmla="*/ 601006 w 751062"/>
                      <a:gd name="connsiteY849" fmla="*/ 605816 h 723778"/>
                      <a:gd name="connsiteX850" fmla="*/ 603582 w 751062"/>
                      <a:gd name="connsiteY850" fmla="*/ 607803 h 723778"/>
                      <a:gd name="connsiteX851" fmla="*/ 611937 w 751062"/>
                      <a:gd name="connsiteY851" fmla="*/ 602864 h 723778"/>
                      <a:gd name="connsiteX852" fmla="*/ 618444 w 751062"/>
                      <a:gd name="connsiteY852" fmla="*/ 607058 h 723778"/>
                      <a:gd name="connsiteX853" fmla="*/ 610880 w 751062"/>
                      <a:gd name="connsiteY853" fmla="*/ 612092 h 723778"/>
                      <a:gd name="connsiteX854" fmla="*/ 613364 w 751062"/>
                      <a:gd name="connsiteY854" fmla="*/ 615313 h 723778"/>
                      <a:gd name="connsiteX855" fmla="*/ 623552 w 751062"/>
                      <a:gd name="connsiteY855" fmla="*/ 609714 h 723778"/>
                      <a:gd name="connsiteX856" fmla="*/ 684348 w 751062"/>
                      <a:gd name="connsiteY856" fmla="*/ 617003 h 723778"/>
                      <a:gd name="connsiteX857" fmla="*/ 594707 w 751062"/>
                      <a:gd name="connsiteY857" fmla="*/ 647213 h 723778"/>
                      <a:gd name="connsiteX858" fmla="*/ 524343 w 751062"/>
                      <a:gd name="connsiteY858" fmla="*/ 652327 h 723778"/>
                      <a:gd name="connsiteX859" fmla="*/ 524586 w 751062"/>
                      <a:gd name="connsiteY859" fmla="*/ 654120 h 723778"/>
                      <a:gd name="connsiteX860" fmla="*/ 592018 w 751062"/>
                      <a:gd name="connsiteY860" fmla="*/ 650836 h 723778"/>
                      <a:gd name="connsiteX861" fmla="*/ 624046 w 751062"/>
                      <a:gd name="connsiteY861" fmla="*/ 644358 h 723778"/>
                      <a:gd name="connsiteX862" fmla="*/ 688189 w 751062"/>
                      <a:gd name="connsiteY862" fmla="*/ 619579 h 723778"/>
                      <a:gd name="connsiteX863" fmla="*/ 689479 w 751062"/>
                      <a:gd name="connsiteY863" fmla="*/ 621372 h 723778"/>
                      <a:gd name="connsiteX864" fmla="*/ 657993 w 751062"/>
                      <a:gd name="connsiteY864" fmla="*/ 639975 h 723778"/>
                      <a:gd name="connsiteX865" fmla="*/ 573752 w 751062"/>
                      <a:gd name="connsiteY865" fmla="*/ 667380 h 723778"/>
                      <a:gd name="connsiteX866" fmla="*/ 732095 w 751062"/>
                      <a:gd name="connsiteY866" fmla="*/ 645580 h 723778"/>
                      <a:gd name="connsiteX867" fmla="*/ 736807 w 751062"/>
                      <a:gd name="connsiteY867" fmla="*/ 645791 h 723778"/>
                      <a:gd name="connsiteX868" fmla="*/ 586244 w 751062"/>
                      <a:gd name="connsiteY868" fmla="*/ 673708 h 723778"/>
                      <a:gd name="connsiteX869" fmla="*/ 586892 w 751062"/>
                      <a:gd name="connsiteY869" fmla="*/ 671141 h 723778"/>
                      <a:gd name="connsiteX870" fmla="*/ 643762 w 751062"/>
                      <a:gd name="connsiteY870" fmla="*/ 654112 h 723778"/>
                      <a:gd name="connsiteX871" fmla="*/ 644916 w 751062"/>
                      <a:gd name="connsiteY871" fmla="*/ 655060 h 723778"/>
                      <a:gd name="connsiteX872" fmla="*/ 654935 w 751062"/>
                      <a:gd name="connsiteY872" fmla="*/ 653746 h 723778"/>
                      <a:gd name="connsiteX873" fmla="*/ 683711 w 751062"/>
                      <a:gd name="connsiteY873" fmla="*/ 651673 h 723778"/>
                      <a:gd name="connsiteX874" fmla="*/ 732095 w 751062"/>
                      <a:gd name="connsiteY874" fmla="*/ 645580 h 723778"/>
                      <a:gd name="connsiteX875" fmla="*/ 737920 w 751062"/>
                      <a:gd name="connsiteY875" fmla="*/ 636874 h 723778"/>
                      <a:gd name="connsiteX876" fmla="*/ 729737 w 751062"/>
                      <a:gd name="connsiteY876" fmla="*/ 636885 h 723778"/>
                      <a:gd name="connsiteX877" fmla="*/ 726305 w 751062"/>
                      <a:gd name="connsiteY877" fmla="*/ 641859 h 723778"/>
                      <a:gd name="connsiteX878" fmla="*/ 685585 w 751062"/>
                      <a:gd name="connsiteY878" fmla="*/ 647424 h 723778"/>
                      <a:gd name="connsiteX879" fmla="*/ 651589 w 751062"/>
                      <a:gd name="connsiteY879" fmla="*/ 651242 h 723778"/>
                      <a:gd name="connsiteX880" fmla="*/ 700361 w 751062"/>
                      <a:gd name="connsiteY880" fmla="*/ 626752 h 723778"/>
                      <a:gd name="connsiteX881" fmla="*/ 719249 w 751062"/>
                      <a:gd name="connsiteY881" fmla="*/ 625715 h 723778"/>
                      <a:gd name="connsiteX882" fmla="*/ 721345 w 751062"/>
                      <a:gd name="connsiteY882" fmla="*/ 640826 h 723778"/>
                      <a:gd name="connsiteX883" fmla="*/ 721602 w 751062"/>
                      <a:gd name="connsiteY883" fmla="*/ 639344 h 723778"/>
                      <a:gd name="connsiteX884" fmla="*/ 724637 w 751062"/>
                      <a:gd name="connsiteY884" fmla="*/ 624590 h 723778"/>
                      <a:gd name="connsiteX885" fmla="*/ 725280 w 751062"/>
                      <a:gd name="connsiteY885" fmla="*/ 624127 h 723778"/>
                      <a:gd name="connsiteX886" fmla="*/ 726973 w 751062"/>
                      <a:gd name="connsiteY886" fmla="*/ 626121 h 723778"/>
                      <a:gd name="connsiteX887" fmla="*/ 727998 w 751062"/>
                      <a:gd name="connsiteY887" fmla="*/ 627645 h 723778"/>
                      <a:gd name="connsiteX888" fmla="*/ 741218 w 751062"/>
                      <a:gd name="connsiteY888" fmla="*/ 627457 h 723778"/>
                      <a:gd name="connsiteX889" fmla="*/ 741284 w 751062"/>
                      <a:gd name="connsiteY889" fmla="*/ 636802 h 723778"/>
                      <a:gd name="connsiteX890" fmla="*/ 737920 w 751062"/>
                      <a:gd name="connsiteY890" fmla="*/ 636874 h 723778"/>
                      <a:gd name="connsiteX891" fmla="*/ 745156 w 751062"/>
                      <a:gd name="connsiteY891" fmla="*/ 636854 h 723778"/>
                      <a:gd name="connsiteX892" fmla="*/ 743868 w 751062"/>
                      <a:gd name="connsiteY892" fmla="*/ 627902 h 723778"/>
                      <a:gd name="connsiteX893" fmla="*/ 746421 w 751062"/>
                      <a:gd name="connsiteY893" fmla="*/ 628262 h 723778"/>
                      <a:gd name="connsiteX894" fmla="*/ 745156 w 751062"/>
                      <a:gd name="connsiteY894" fmla="*/ 636854 h 72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Lst>
                    <a:rect l="l" t="t" r="r" b="b"/>
                    <a:pathLst>
                      <a:path w="751062" h="723778">
                        <a:moveTo>
                          <a:pt x="748257" y="625144"/>
                        </a:moveTo>
                        <a:cubicBezTo>
                          <a:pt x="747877" y="624970"/>
                          <a:pt x="747469" y="624950"/>
                          <a:pt x="747120" y="625078"/>
                        </a:cubicBezTo>
                        <a:cubicBezTo>
                          <a:pt x="746372" y="624661"/>
                          <a:pt x="745427" y="624510"/>
                          <a:pt x="744528" y="624544"/>
                        </a:cubicBezTo>
                        <a:cubicBezTo>
                          <a:pt x="744102" y="624230"/>
                          <a:pt x="743534" y="624122"/>
                          <a:pt x="743103" y="624444"/>
                        </a:cubicBezTo>
                        <a:cubicBezTo>
                          <a:pt x="739008" y="623345"/>
                          <a:pt x="734411" y="624693"/>
                          <a:pt x="730288" y="625070"/>
                        </a:cubicBezTo>
                        <a:cubicBezTo>
                          <a:pt x="729914" y="622320"/>
                          <a:pt x="725996" y="619742"/>
                          <a:pt x="723649" y="621843"/>
                        </a:cubicBezTo>
                        <a:cubicBezTo>
                          <a:pt x="715180" y="621178"/>
                          <a:pt x="706617" y="622905"/>
                          <a:pt x="698145" y="623485"/>
                        </a:cubicBezTo>
                        <a:cubicBezTo>
                          <a:pt x="697700" y="616706"/>
                          <a:pt x="692263" y="611250"/>
                          <a:pt x="685850" y="609137"/>
                        </a:cubicBezTo>
                        <a:cubicBezTo>
                          <a:pt x="670174" y="543076"/>
                          <a:pt x="653496" y="477260"/>
                          <a:pt x="637204" y="411350"/>
                        </a:cubicBezTo>
                        <a:cubicBezTo>
                          <a:pt x="635250" y="403526"/>
                          <a:pt x="633429" y="395200"/>
                          <a:pt x="628575" y="388570"/>
                        </a:cubicBezTo>
                        <a:cubicBezTo>
                          <a:pt x="623723" y="382188"/>
                          <a:pt x="616685" y="377385"/>
                          <a:pt x="608918" y="375355"/>
                        </a:cubicBezTo>
                        <a:cubicBezTo>
                          <a:pt x="613359" y="351773"/>
                          <a:pt x="610306" y="326249"/>
                          <a:pt x="596909" y="306844"/>
                        </a:cubicBezTo>
                        <a:cubicBezTo>
                          <a:pt x="594959" y="304023"/>
                          <a:pt x="590793" y="298789"/>
                          <a:pt x="590793" y="298789"/>
                        </a:cubicBezTo>
                        <a:cubicBezTo>
                          <a:pt x="588034" y="295914"/>
                          <a:pt x="584979" y="293241"/>
                          <a:pt x="581616" y="290808"/>
                        </a:cubicBezTo>
                        <a:cubicBezTo>
                          <a:pt x="582058" y="277028"/>
                          <a:pt x="580773" y="263083"/>
                          <a:pt x="579077" y="249394"/>
                        </a:cubicBezTo>
                        <a:cubicBezTo>
                          <a:pt x="578963" y="248706"/>
                          <a:pt x="578184" y="247904"/>
                          <a:pt x="577487" y="247804"/>
                        </a:cubicBezTo>
                        <a:cubicBezTo>
                          <a:pt x="575225" y="247475"/>
                          <a:pt x="572964" y="247150"/>
                          <a:pt x="570702" y="246824"/>
                        </a:cubicBezTo>
                        <a:cubicBezTo>
                          <a:pt x="568658" y="246530"/>
                          <a:pt x="565314" y="245302"/>
                          <a:pt x="563458" y="246545"/>
                        </a:cubicBezTo>
                        <a:cubicBezTo>
                          <a:pt x="556634" y="220898"/>
                          <a:pt x="473198" y="216321"/>
                          <a:pt x="445376" y="212891"/>
                        </a:cubicBezTo>
                        <a:lnTo>
                          <a:pt x="430285" y="181799"/>
                        </a:lnTo>
                        <a:cubicBezTo>
                          <a:pt x="428301" y="173842"/>
                          <a:pt x="423344" y="166563"/>
                          <a:pt x="419971" y="159057"/>
                        </a:cubicBezTo>
                        <a:cubicBezTo>
                          <a:pt x="410318" y="139455"/>
                          <a:pt x="400341" y="120007"/>
                          <a:pt x="390901" y="100302"/>
                        </a:cubicBezTo>
                        <a:cubicBezTo>
                          <a:pt x="390901" y="100302"/>
                          <a:pt x="384822" y="86516"/>
                          <a:pt x="381727" y="79872"/>
                        </a:cubicBezTo>
                        <a:cubicBezTo>
                          <a:pt x="374340" y="64016"/>
                          <a:pt x="364712" y="49797"/>
                          <a:pt x="349107" y="42190"/>
                        </a:cubicBezTo>
                        <a:cubicBezTo>
                          <a:pt x="339819" y="38258"/>
                          <a:pt x="328666" y="36351"/>
                          <a:pt x="319001" y="40094"/>
                        </a:cubicBezTo>
                        <a:cubicBezTo>
                          <a:pt x="317390" y="36157"/>
                          <a:pt x="307731" y="21409"/>
                          <a:pt x="303025" y="26831"/>
                        </a:cubicBezTo>
                        <a:cubicBezTo>
                          <a:pt x="299013" y="28581"/>
                          <a:pt x="297905" y="34164"/>
                          <a:pt x="297020" y="38095"/>
                        </a:cubicBezTo>
                        <a:cubicBezTo>
                          <a:pt x="296332" y="42810"/>
                          <a:pt x="297291" y="47507"/>
                          <a:pt x="299670" y="51613"/>
                        </a:cubicBezTo>
                        <a:cubicBezTo>
                          <a:pt x="300335" y="52760"/>
                          <a:pt x="302271" y="52004"/>
                          <a:pt x="301851" y="50693"/>
                        </a:cubicBezTo>
                        <a:cubicBezTo>
                          <a:pt x="300624" y="46850"/>
                          <a:pt x="300418" y="42715"/>
                          <a:pt x="301212" y="38761"/>
                        </a:cubicBezTo>
                        <a:cubicBezTo>
                          <a:pt x="306994" y="50268"/>
                          <a:pt x="306560" y="63991"/>
                          <a:pt x="303533" y="76303"/>
                        </a:cubicBezTo>
                        <a:cubicBezTo>
                          <a:pt x="302203" y="79992"/>
                          <a:pt x="300461" y="84081"/>
                          <a:pt x="301086" y="88118"/>
                        </a:cubicBezTo>
                        <a:cubicBezTo>
                          <a:pt x="295787" y="80437"/>
                          <a:pt x="287709" y="75392"/>
                          <a:pt x="280234" y="70067"/>
                        </a:cubicBezTo>
                        <a:cubicBezTo>
                          <a:pt x="274223" y="65827"/>
                          <a:pt x="268104" y="61903"/>
                          <a:pt x="261802" y="58103"/>
                        </a:cubicBezTo>
                        <a:cubicBezTo>
                          <a:pt x="251797" y="52101"/>
                          <a:pt x="241624" y="45382"/>
                          <a:pt x="235270" y="35334"/>
                        </a:cubicBezTo>
                        <a:cubicBezTo>
                          <a:pt x="238848" y="25660"/>
                          <a:pt x="238331" y="13671"/>
                          <a:pt x="237138" y="3469"/>
                        </a:cubicBezTo>
                        <a:cubicBezTo>
                          <a:pt x="237004" y="2224"/>
                          <a:pt x="236413" y="1193"/>
                          <a:pt x="235542" y="333"/>
                        </a:cubicBezTo>
                        <a:cubicBezTo>
                          <a:pt x="234500" y="-797"/>
                          <a:pt x="233920" y="1247"/>
                          <a:pt x="233620" y="2027"/>
                        </a:cubicBezTo>
                        <a:cubicBezTo>
                          <a:pt x="233300" y="6795"/>
                          <a:pt x="233671" y="11606"/>
                          <a:pt x="233292" y="16386"/>
                        </a:cubicBezTo>
                        <a:cubicBezTo>
                          <a:pt x="221585" y="19915"/>
                          <a:pt x="216736" y="32473"/>
                          <a:pt x="215137" y="43572"/>
                        </a:cubicBezTo>
                        <a:cubicBezTo>
                          <a:pt x="196763" y="51299"/>
                          <a:pt x="181878" y="65738"/>
                          <a:pt x="169152" y="80771"/>
                        </a:cubicBezTo>
                        <a:cubicBezTo>
                          <a:pt x="158670" y="79698"/>
                          <a:pt x="148371" y="78644"/>
                          <a:pt x="137929" y="77439"/>
                        </a:cubicBezTo>
                        <a:cubicBezTo>
                          <a:pt x="135410" y="77162"/>
                          <a:pt x="131681" y="76326"/>
                          <a:pt x="129126" y="77414"/>
                        </a:cubicBezTo>
                        <a:cubicBezTo>
                          <a:pt x="125003" y="69170"/>
                          <a:pt x="117976" y="60370"/>
                          <a:pt x="108293" y="58979"/>
                        </a:cubicBezTo>
                        <a:cubicBezTo>
                          <a:pt x="107776" y="53491"/>
                          <a:pt x="92186" y="54360"/>
                          <a:pt x="87766" y="54003"/>
                        </a:cubicBezTo>
                        <a:cubicBezTo>
                          <a:pt x="81878" y="54368"/>
                          <a:pt x="73078" y="53277"/>
                          <a:pt x="68235" y="56898"/>
                        </a:cubicBezTo>
                        <a:cubicBezTo>
                          <a:pt x="59838" y="59765"/>
                          <a:pt x="57060" y="71574"/>
                          <a:pt x="64943" y="76700"/>
                        </a:cubicBezTo>
                        <a:cubicBezTo>
                          <a:pt x="70371" y="79549"/>
                          <a:pt x="76913" y="77950"/>
                          <a:pt x="82803" y="78864"/>
                        </a:cubicBezTo>
                        <a:cubicBezTo>
                          <a:pt x="89653" y="78958"/>
                          <a:pt x="96452" y="81234"/>
                          <a:pt x="103228" y="81166"/>
                        </a:cubicBezTo>
                        <a:cubicBezTo>
                          <a:pt x="111448" y="86528"/>
                          <a:pt x="111000" y="97921"/>
                          <a:pt x="111977" y="106644"/>
                        </a:cubicBezTo>
                        <a:cubicBezTo>
                          <a:pt x="116371" y="158380"/>
                          <a:pt x="117941" y="210330"/>
                          <a:pt x="121810" y="262089"/>
                        </a:cubicBezTo>
                        <a:cubicBezTo>
                          <a:pt x="121896" y="262920"/>
                          <a:pt x="122170" y="263751"/>
                          <a:pt x="122453" y="264530"/>
                        </a:cubicBezTo>
                        <a:cubicBezTo>
                          <a:pt x="123167" y="266946"/>
                          <a:pt x="127107" y="266863"/>
                          <a:pt x="127264" y="264233"/>
                        </a:cubicBezTo>
                        <a:cubicBezTo>
                          <a:pt x="128104" y="262021"/>
                          <a:pt x="127638" y="258586"/>
                          <a:pt x="127618" y="256747"/>
                        </a:cubicBezTo>
                        <a:cubicBezTo>
                          <a:pt x="125605" y="220852"/>
                          <a:pt x="123147" y="184958"/>
                          <a:pt x="120671" y="149083"/>
                        </a:cubicBezTo>
                        <a:cubicBezTo>
                          <a:pt x="119343" y="131377"/>
                          <a:pt x="118247" y="113639"/>
                          <a:pt x="116180" y="96002"/>
                        </a:cubicBezTo>
                        <a:cubicBezTo>
                          <a:pt x="115326" y="88527"/>
                          <a:pt x="112034" y="80120"/>
                          <a:pt x="104950" y="76600"/>
                        </a:cubicBezTo>
                        <a:cubicBezTo>
                          <a:pt x="100218" y="71477"/>
                          <a:pt x="102308" y="67854"/>
                          <a:pt x="106529" y="63377"/>
                        </a:cubicBezTo>
                        <a:cubicBezTo>
                          <a:pt x="128826" y="69950"/>
                          <a:pt x="130134" y="98266"/>
                          <a:pt x="131087" y="117691"/>
                        </a:cubicBezTo>
                        <a:cubicBezTo>
                          <a:pt x="132101" y="138561"/>
                          <a:pt x="133189" y="159425"/>
                          <a:pt x="133971" y="180306"/>
                        </a:cubicBezTo>
                        <a:cubicBezTo>
                          <a:pt x="132612" y="205659"/>
                          <a:pt x="132481" y="231100"/>
                          <a:pt x="132669" y="256467"/>
                        </a:cubicBezTo>
                        <a:cubicBezTo>
                          <a:pt x="131576" y="257469"/>
                          <a:pt x="131304" y="259231"/>
                          <a:pt x="131950" y="260753"/>
                        </a:cubicBezTo>
                        <a:cubicBezTo>
                          <a:pt x="132067" y="263545"/>
                          <a:pt x="131433" y="268282"/>
                          <a:pt x="132407" y="271637"/>
                        </a:cubicBezTo>
                        <a:cubicBezTo>
                          <a:pt x="129217" y="270255"/>
                          <a:pt x="126022" y="269085"/>
                          <a:pt x="122821" y="268134"/>
                        </a:cubicBezTo>
                        <a:cubicBezTo>
                          <a:pt x="122861" y="266341"/>
                          <a:pt x="122281" y="264844"/>
                          <a:pt x="121833" y="263183"/>
                        </a:cubicBezTo>
                        <a:cubicBezTo>
                          <a:pt x="121473" y="262426"/>
                          <a:pt x="120191" y="262426"/>
                          <a:pt x="119832" y="263183"/>
                        </a:cubicBezTo>
                        <a:cubicBezTo>
                          <a:pt x="119478" y="264490"/>
                          <a:pt x="119052" y="265707"/>
                          <a:pt x="118884" y="267077"/>
                        </a:cubicBezTo>
                        <a:cubicBezTo>
                          <a:pt x="85493" y="259379"/>
                          <a:pt x="60497" y="273028"/>
                          <a:pt x="38391" y="306230"/>
                        </a:cubicBezTo>
                        <a:cubicBezTo>
                          <a:pt x="-17462" y="388021"/>
                          <a:pt x="-12816" y="548484"/>
                          <a:pt x="55244" y="616010"/>
                        </a:cubicBezTo>
                        <a:lnTo>
                          <a:pt x="55121" y="616118"/>
                        </a:lnTo>
                        <a:cubicBezTo>
                          <a:pt x="99136" y="666989"/>
                          <a:pt x="157999" y="689072"/>
                          <a:pt x="200638" y="627174"/>
                        </a:cubicBezTo>
                        <a:cubicBezTo>
                          <a:pt x="213110" y="629930"/>
                          <a:pt x="226031" y="631868"/>
                          <a:pt x="238677" y="633256"/>
                        </a:cubicBezTo>
                        <a:cubicBezTo>
                          <a:pt x="205526" y="664279"/>
                          <a:pt x="230174" y="725335"/>
                          <a:pt x="276296" y="723748"/>
                        </a:cubicBezTo>
                        <a:cubicBezTo>
                          <a:pt x="327021" y="724770"/>
                          <a:pt x="348599" y="655933"/>
                          <a:pt x="307374" y="627671"/>
                        </a:cubicBezTo>
                        <a:cubicBezTo>
                          <a:pt x="310512" y="619116"/>
                          <a:pt x="315860" y="610759"/>
                          <a:pt x="317262" y="601839"/>
                        </a:cubicBezTo>
                        <a:cubicBezTo>
                          <a:pt x="317944" y="598144"/>
                          <a:pt x="320291" y="594035"/>
                          <a:pt x="319092" y="590286"/>
                        </a:cubicBezTo>
                        <a:cubicBezTo>
                          <a:pt x="320114" y="587876"/>
                          <a:pt x="319557" y="584904"/>
                          <a:pt x="319766" y="582311"/>
                        </a:cubicBezTo>
                        <a:cubicBezTo>
                          <a:pt x="338982" y="588281"/>
                          <a:pt x="358907" y="591631"/>
                          <a:pt x="378509" y="596082"/>
                        </a:cubicBezTo>
                        <a:cubicBezTo>
                          <a:pt x="372915" y="609134"/>
                          <a:pt x="379568" y="624681"/>
                          <a:pt x="381173" y="638079"/>
                        </a:cubicBezTo>
                        <a:cubicBezTo>
                          <a:pt x="382147" y="644817"/>
                          <a:pt x="381713" y="651899"/>
                          <a:pt x="386096" y="657567"/>
                        </a:cubicBezTo>
                        <a:cubicBezTo>
                          <a:pt x="389682" y="662204"/>
                          <a:pt x="395864" y="665624"/>
                          <a:pt x="401851" y="665087"/>
                        </a:cubicBezTo>
                        <a:cubicBezTo>
                          <a:pt x="402705" y="669528"/>
                          <a:pt x="403245" y="674050"/>
                          <a:pt x="404264" y="678456"/>
                        </a:cubicBezTo>
                        <a:cubicBezTo>
                          <a:pt x="404307" y="678636"/>
                          <a:pt x="404476" y="679424"/>
                          <a:pt x="404496" y="679487"/>
                        </a:cubicBezTo>
                        <a:cubicBezTo>
                          <a:pt x="405155" y="681774"/>
                          <a:pt x="407439" y="680952"/>
                          <a:pt x="409178" y="680803"/>
                        </a:cubicBezTo>
                        <a:cubicBezTo>
                          <a:pt x="409515" y="682616"/>
                          <a:pt x="409784" y="684804"/>
                          <a:pt x="410595" y="686468"/>
                        </a:cubicBezTo>
                        <a:cubicBezTo>
                          <a:pt x="412642" y="689629"/>
                          <a:pt x="417727" y="687999"/>
                          <a:pt x="419320" y="685212"/>
                        </a:cubicBezTo>
                        <a:cubicBezTo>
                          <a:pt x="421339" y="684458"/>
                          <a:pt x="419846" y="681880"/>
                          <a:pt x="419523" y="680332"/>
                        </a:cubicBezTo>
                        <a:cubicBezTo>
                          <a:pt x="421945" y="678996"/>
                          <a:pt x="420337" y="675458"/>
                          <a:pt x="420014" y="673345"/>
                        </a:cubicBezTo>
                        <a:cubicBezTo>
                          <a:pt x="426727" y="675270"/>
                          <a:pt x="435008" y="671803"/>
                          <a:pt x="441855" y="670875"/>
                        </a:cubicBezTo>
                        <a:cubicBezTo>
                          <a:pt x="448711" y="669011"/>
                          <a:pt x="456666" y="668268"/>
                          <a:pt x="462196" y="663580"/>
                        </a:cubicBezTo>
                        <a:cubicBezTo>
                          <a:pt x="471659" y="669151"/>
                          <a:pt x="490581" y="660096"/>
                          <a:pt x="501235" y="658178"/>
                        </a:cubicBezTo>
                        <a:cubicBezTo>
                          <a:pt x="491381" y="673482"/>
                          <a:pt x="500135" y="679901"/>
                          <a:pt x="515857" y="679621"/>
                        </a:cubicBezTo>
                        <a:cubicBezTo>
                          <a:pt x="538403" y="681709"/>
                          <a:pt x="561086" y="679964"/>
                          <a:pt x="582549" y="672434"/>
                        </a:cubicBezTo>
                        <a:cubicBezTo>
                          <a:pt x="577107" y="681126"/>
                          <a:pt x="593974" y="677328"/>
                          <a:pt x="598071" y="677043"/>
                        </a:cubicBezTo>
                        <a:cubicBezTo>
                          <a:pt x="603573" y="676340"/>
                          <a:pt x="609076" y="675638"/>
                          <a:pt x="614578" y="674936"/>
                        </a:cubicBezTo>
                        <a:cubicBezTo>
                          <a:pt x="646638" y="671555"/>
                          <a:pt x="678318" y="666287"/>
                          <a:pt x="709358" y="657475"/>
                        </a:cubicBezTo>
                        <a:cubicBezTo>
                          <a:pt x="720480" y="654803"/>
                          <a:pt x="731610" y="652096"/>
                          <a:pt x="742469" y="648481"/>
                        </a:cubicBezTo>
                        <a:cubicBezTo>
                          <a:pt x="744259" y="647884"/>
                          <a:pt x="744293" y="645745"/>
                          <a:pt x="743285" y="644749"/>
                        </a:cubicBezTo>
                        <a:cubicBezTo>
                          <a:pt x="743782" y="641925"/>
                          <a:pt x="732778" y="642613"/>
                          <a:pt x="730610" y="642102"/>
                        </a:cubicBezTo>
                        <a:cubicBezTo>
                          <a:pt x="730862" y="641482"/>
                          <a:pt x="730982" y="640823"/>
                          <a:pt x="731059" y="640157"/>
                        </a:cubicBezTo>
                        <a:cubicBezTo>
                          <a:pt x="735096" y="640132"/>
                          <a:pt x="742474" y="642208"/>
                          <a:pt x="745661" y="639812"/>
                        </a:cubicBezTo>
                        <a:cubicBezTo>
                          <a:pt x="751931" y="639541"/>
                          <a:pt x="752668" y="627977"/>
                          <a:pt x="748257" y="625144"/>
                        </a:cubicBezTo>
                        <a:close/>
                        <a:moveTo>
                          <a:pt x="96509" y="73656"/>
                        </a:moveTo>
                        <a:cubicBezTo>
                          <a:pt x="88740" y="72508"/>
                          <a:pt x="80910" y="71786"/>
                          <a:pt x="73058" y="71623"/>
                        </a:cubicBezTo>
                        <a:cubicBezTo>
                          <a:pt x="71465" y="71586"/>
                          <a:pt x="69323" y="71820"/>
                          <a:pt x="68081" y="70624"/>
                        </a:cubicBezTo>
                        <a:cubicBezTo>
                          <a:pt x="64681" y="66412"/>
                          <a:pt x="69340" y="62848"/>
                          <a:pt x="73098" y="61387"/>
                        </a:cubicBezTo>
                        <a:cubicBezTo>
                          <a:pt x="81707" y="61132"/>
                          <a:pt x="90050" y="61375"/>
                          <a:pt x="98576" y="62397"/>
                        </a:cubicBezTo>
                        <a:cubicBezTo>
                          <a:pt x="96035" y="65798"/>
                          <a:pt x="95373" y="69724"/>
                          <a:pt x="96509" y="73656"/>
                        </a:cubicBezTo>
                        <a:close/>
                        <a:moveTo>
                          <a:pt x="607379" y="388147"/>
                        </a:moveTo>
                        <a:cubicBezTo>
                          <a:pt x="607699" y="385212"/>
                          <a:pt x="608062" y="382268"/>
                          <a:pt x="608427" y="379318"/>
                        </a:cubicBezTo>
                        <a:cubicBezTo>
                          <a:pt x="623464" y="389635"/>
                          <a:pt x="626630" y="392162"/>
                          <a:pt x="630927" y="410622"/>
                        </a:cubicBezTo>
                        <a:cubicBezTo>
                          <a:pt x="647311" y="476126"/>
                          <a:pt x="662710" y="541868"/>
                          <a:pt x="678660" y="607478"/>
                        </a:cubicBezTo>
                        <a:cubicBezTo>
                          <a:pt x="676025" y="607135"/>
                          <a:pt x="673369" y="607115"/>
                          <a:pt x="670720" y="607295"/>
                        </a:cubicBezTo>
                        <a:cubicBezTo>
                          <a:pt x="651283" y="540654"/>
                          <a:pt x="642777" y="470744"/>
                          <a:pt x="617376" y="405836"/>
                        </a:cubicBezTo>
                        <a:cubicBezTo>
                          <a:pt x="615129" y="400736"/>
                          <a:pt x="611839" y="395425"/>
                          <a:pt x="606900" y="392630"/>
                        </a:cubicBezTo>
                        <a:cubicBezTo>
                          <a:pt x="607062" y="391137"/>
                          <a:pt x="607217" y="389640"/>
                          <a:pt x="607379" y="388147"/>
                        </a:cubicBezTo>
                        <a:close/>
                        <a:moveTo>
                          <a:pt x="617108" y="538895"/>
                        </a:moveTo>
                        <a:cubicBezTo>
                          <a:pt x="628315" y="540334"/>
                          <a:pt x="639616" y="542496"/>
                          <a:pt x="650852" y="543107"/>
                        </a:cubicBezTo>
                        <a:cubicBezTo>
                          <a:pt x="656103" y="564611"/>
                          <a:pt x="659001" y="586862"/>
                          <a:pt x="666588" y="607692"/>
                        </a:cubicBezTo>
                        <a:cubicBezTo>
                          <a:pt x="648108" y="611478"/>
                          <a:pt x="634445" y="608417"/>
                          <a:pt x="618649" y="598198"/>
                        </a:cubicBezTo>
                        <a:cubicBezTo>
                          <a:pt x="616534" y="587927"/>
                          <a:pt x="615000" y="577517"/>
                          <a:pt x="615429" y="566981"/>
                        </a:cubicBezTo>
                        <a:cubicBezTo>
                          <a:pt x="615437" y="557569"/>
                          <a:pt x="617690" y="548335"/>
                          <a:pt x="617108" y="538895"/>
                        </a:cubicBezTo>
                        <a:close/>
                        <a:moveTo>
                          <a:pt x="614098" y="407752"/>
                        </a:moveTo>
                        <a:cubicBezTo>
                          <a:pt x="630528" y="450120"/>
                          <a:pt x="640173" y="494752"/>
                          <a:pt x="649961" y="539024"/>
                        </a:cubicBezTo>
                        <a:cubicBezTo>
                          <a:pt x="636375" y="537416"/>
                          <a:pt x="622764" y="535500"/>
                          <a:pt x="609324" y="533927"/>
                        </a:cubicBezTo>
                        <a:cubicBezTo>
                          <a:pt x="612014" y="522537"/>
                          <a:pt x="600527" y="521515"/>
                          <a:pt x="599236" y="509908"/>
                        </a:cubicBezTo>
                        <a:cubicBezTo>
                          <a:pt x="601900" y="510228"/>
                          <a:pt x="604615" y="510399"/>
                          <a:pt x="607294" y="510356"/>
                        </a:cubicBezTo>
                        <a:cubicBezTo>
                          <a:pt x="606971" y="513388"/>
                          <a:pt x="607374" y="516698"/>
                          <a:pt x="607459" y="519764"/>
                        </a:cubicBezTo>
                        <a:cubicBezTo>
                          <a:pt x="604173" y="523973"/>
                          <a:pt x="640793" y="524681"/>
                          <a:pt x="644647" y="525735"/>
                        </a:cubicBezTo>
                        <a:cubicBezTo>
                          <a:pt x="647052" y="525712"/>
                          <a:pt x="647106" y="522052"/>
                          <a:pt x="644647" y="522012"/>
                        </a:cubicBezTo>
                        <a:cubicBezTo>
                          <a:pt x="633189" y="521027"/>
                          <a:pt x="621665" y="519419"/>
                          <a:pt x="610152" y="519290"/>
                        </a:cubicBezTo>
                        <a:cubicBezTo>
                          <a:pt x="610552" y="516281"/>
                          <a:pt x="611451" y="513012"/>
                          <a:pt x="610717" y="510025"/>
                        </a:cubicBezTo>
                        <a:cubicBezTo>
                          <a:pt x="611200" y="509594"/>
                          <a:pt x="611811" y="509405"/>
                          <a:pt x="611954" y="508669"/>
                        </a:cubicBezTo>
                        <a:cubicBezTo>
                          <a:pt x="611991" y="506616"/>
                          <a:pt x="612999" y="502161"/>
                          <a:pt x="610849" y="501116"/>
                        </a:cubicBezTo>
                        <a:cubicBezTo>
                          <a:pt x="610455" y="498104"/>
                          <a:pt x="608624" y="495314"/>
                          <a:pt x="607551" y="492519"/>
                        </a:cubicBezTo>
                        <a:cubicBezTo>
                          <a:pt x="606617" y="488593"/>
                          <a:pt x="602622" y="487610"/>
                          <a:pt x="599110" y="487059"/>
                        </a:cubicBezTo>
                        <a:cubicBezTo>
                          <a:pt x="600849" y="456881"/>
                          <a:pt x="603328" y="426746"/>
                          <a:pt x="606471" y="396682"/>
                        </a:cubicBezTo>
                        <a:cubicBezTo>
                          <a:pt x="609909" y="399588"/>
                          <a:pt x="612211" y="403460"/>
                          <a:pt x="614098" y="407752"/>
                        </a:cubicBezTo>
                        <a:close/>
                        <a:moveTo>
                          <a:pt x="602380" y="576372"/>
                        </a:moveTo>
                        <a:cubicBezTo>
                          <a:pt x="601857" y="566598"/>
                          <a:pt x="601446" y="556924"/>
                          <a:pt x="602083" y="547127"/>
                        </a:cubicBezTo>
                        <a:cubicBezTo>
                          <a:pt x="604610" y="544252"/>
                          <a:pt x="606717" y="541037"/>
                          <a:pt x="608179" y="537425"/>
                        </a:cubicBezTo>
                        <a:cubicBezTo>
                          <a:pt x="610052" y="537879"/>
                          <a:pt x="612002" y="538176"/>
                          <a:pt x="613924" y="538444"/>
                        </a:cubicBezTo>
                        <a:cubicBezTo>
                          <a:pt x="614052" y="548367"/>
                          <a:pt x="612051" y="558203"/>
                          <a:pt x="611865" y="568126"/>
                        </a:cubicBezTo>
                        <a:cubicBezTo>
                          <a:pt x="611677" y="577154"/>
                          <a:pt x="612753" y="586080"/>
                          <a:pt x="614355" y="594960"/>
                        </a:cubicBezTo>
                        <a:cubicBezTo>
                          <a:pt x="609332" y="590771"/>
                          <a:pt x="604901" y="585663"/>
                          <a:pt x="602334" y="579604"/>
                        </a:cubicBezTo>
                        <a:cubicBezTo>
                          <a:pt x="602611" y="578576"/>
                          <a:pt x="602431" y="577531"/>
                          <a:pt x="602380" y="576372"/>
                        </a:cubicBezTo>
                        <a:close/>
                        <a:moveTo>
                          <a:pt x="598833" y="507229"/>
                        </a:moveTo>
                        <a:cubicBezTo>
                          <a:pt x="598202" y="501479"/>
                          <a:pt x="598616" y="495680"/>
                          <a:pt x="598942" y="489923"/>
                        </a:cubicBezTo>
                        <a:cubicBezTo>
                          <a:pt x="602437" y="490357"/>
                          <a:pt x="604119" y="491585"/>
                          <a:pt x="604510" y="495123"/>
                        </a:cubicBezTo>
                        <a:cubicBezTo>
                          <a:pt x="605486" y="497681"/>
                          <a:pt x="605763" y="502301"/>
                          <a:pt x="608596" y="503398"/>
                        </a:cubicBezTo>
                        <a:cubicBezTo>
                          <a:pt x="608653" y="504523"/>
                          <a:pt x="608724" y="505668"/>
                          <a:pt x="608896" y="506787"/>
                        </a:cubicBezTo>
                        <a:cubicBezTo>
                          <a:pt x="605541" y="506910"/>
                          <a:pt x="602188" y="507092"/>
                          <a:pt x="598833" y="507229"/>
                        </a:cubicBezTo>
                        <a:close/>
                        <a:moveTo>
                          <a:pt x="579003" y="296887"/>
                        </a:moveTo>
                        <a:cubicBezTo>
                          <a:pt x="579003" y="296887"/>
                          <a:pt x="585199" y="302946"/>
                          <a:pt x="588243" y="306398"/>
                        </a:cubicBezTo>
                        <a:cubicBezTo>
                          <a:pt x="596692" y="315981"/>
                          <a:pt x="602483" y="327696"/>
                          <a:pt x="603919" y="341259"/>
                        </a:cubicBezTo>
                        <a:cubicBezTo>
                          <a:pt x="605418" y="353891"/>
                          <a:pt x="603145" y="366641"/>
                          <a:pt x="601654" y="379167"/>
                        </a:cubicBezTo>
                        <a:cubicBezTo>
                          <a:pt x="597183" y="418157"/>
                          <a:pt x="593088" y="457272"/>
                          <a:pt x="591081" y="496476"/>
                        </a:cubicBezTo>
                        <a:cubicBezTo>
                          <a:pt x="590599" y="506676"/>
                          <a:pt x="591332" y="517780"/>
                          <a:pt x="598562" y="525698"/>
                        </a:cubicBezTo>
                        <a:cubicBezTo>
                          <a:pt x="600013" y="527288"/>
                          <a:pt x="602180" y="528682"/>
                          <a:pt x="601929" y="531094"/>
                        </a:cubicBezTo>
                        <a:cubicBezTo>
                          <a:pt x="600292" y="544049"/>
                          <a:pt x="579420" y="549620"/>
                          <a:pt x="580411" y="555625"/>
                        </a:cubicBezTo>
                        <a:cubicBezTo>
                          <a:pt x="562585" y="560108"/>
                          <a:pt x="543782" y="558994"/>
                          <a:pt x="525694" y="556718"/>
                        </a:cubicBezTo>
                        <a:cubicBezTo>
                          <a:pt x="525477" y="546365"/>
                          <a:pt x="519346" y="537585"/>
                          <a:pt x="518472" y="527400"/>
                        </a:cubicBezTo>
                        <a:cubicBezTo>
                          <a:pt x="523112" y="479036"/>
                          <a:pt x="527453" y="430158"/>
                          <a:pt x="519343" y="381802"/>
                        </a:cubicBezTo>
                        <a:cubicBezTo>
                          <a:pt x="521719" y="379227"/>
                          <a:pt x="521485" y="375629"/>
                          <a:pt x="520685" y="372417"/>
                        </a:cubicBezTo>
                        <a:cubicBezTo>
                          <a:pt x="520037" y="367649"/>
                          <a:pt x="519812" y="362829"/>
                          <a:pt x="519903" y="358020"/>
                        </a:cubicBezTo>
                        <a:cubicBezTo>
                          <a:pt x="520000" y="353015"/>
                          <a:pt x="512256" y="353021"/>
                          <a:pt x="512131" y="358020"/>
                        </a:cubicBezTo>
                        <a:cubicBezTo>
                          <a:pt x="511997" y="363648"/>
                          <a:pt x="512333" y="368993"/>
                          <a:pt x="512956" y="374653"/>
                        </a:cubicBezTo>
                        <a:cubicBezTo>
                          <a:pt x="486915" y="368151"/>
                          <a:pt x="465020" y="345163"/>
                          <a:pt x="437084" y="346425"/>
                        </a:cubicBezTo>
                        <a:cubicBezTo>
                          <a:pt x="435131" y="333781"/>
                          <a:pt x="431324" y="320649"/>
                          <a:pt x="424980" y="309182"/>
                        </a:cubicBezTo>
                        <a:cubicBezTo>
                          <a:pt x="422958" y="305528"/>
                          <a:pt x="418664" y="298797"/>
                          <a:pt x="418664" y="298797"/>
                        </a:cubicBezTo>
                        <a:cubicBezTo>
                          <a:pt x="411066" y="289175"/>
                          <a:pt x="401129" y="281900"/>
                          <a:pt x="388477" y="279307"/>
                        </a:cubicBezTo>
                        <a:cubicBezTo>
                          <a:pt x="385196" y="278787"/>
                          <a:pt x="383906" y="283159"/>
                          <a:pt x="387095" y="284321"/>
                        </a:cubicBezTo>
                        <a:cubicBezTo>
                          <a:pt x="393405" y="286479"/>
                          <a:pt x="398856" y="289406"/>
                          <a:pt x="403568" y="292941"/>
                        </a:cubicBezTo>
                        <a:cubicBezTo>
                          <a:pt x="405221" y="294183"/>
                          <a:pt x="407719" y="296887"/>
                          <a:pt x="407719" y="296887"/>
                        </a:cubicBezTo>
                        <a:cubicBezTo>
                          <a:pt x="421185" y="309873"/>
                          <a:pt x="428546" y="329070"/>
                          <a:pt x="430525" y="347870"/>
                        </a:cubicBezTo>
                        <a:cubicBezTo>
                          <a:pt x="434765" y="381266"/>
                          <a:pt x="435065" y="415104"/>
                          <a:pt x="434362" y="448723"/>
                        </a:cubicBezTo>
                        <a:cubicBezTo>
                          <a:pt x="434440" y="469884"/>
                          <a:pt x="430117" y="491100"/>
                          <a:pt x="432792" y="512186"/>
                        </a:cubicBezTo>
                        <a:cubicBezTo>
                          <a:pt x="435148" y="533150"/>
                          <a:pt x="453293" y="534187"/>
                          <a:pt x="429388" y="551462"/>
                        </a:cubicBezTo>
                        <a:cubicBezTo>
                          <a:pt x="424557" y="555008"/>
                          <a:pt x="419001" y="557518"/>
                          <a:pt x="414215" y="561093"/>
                        </a:cubicBezTo>
                        <a:cubicBezTo>
                          <a:pt x="410931" y="561256"/>
                          <a:pt x="407645" y="561256"/>
                          <a:pt x="404358" y="561207"/>
                        </a:cubicBezTo>
                        <a:cubicBezTo>
                          <a:pt x="402994" y="561281"/>
                          <a:pt x="401743" y="561261"/>
                          <a:pt x="400584" y="560596"/>
                        </a:cubicBezTo>
                        <a:cubicBezTo>
                          <a:pt x="393697" y="525441"/>
                          <a:pt x="387261" y="490177"/>
                          <a:pt x="379308" y="455245"/>
                        </a:cubicBezTo>
                        <a:cubicBezTo>
                          <a:pt x="375325" y="438087"/>
                          <a:pt x="365577" y="420250"/>
                          <a:pt x="347771" y="414650"/>
                        </a:cubicBezTo>
                        <a:cubicBezTo>
                          <a:pt x="349182" y="403515"/>
                          <a:pt x="348731" y="391813"/>
                          <a:pt x="345755" y="380949"/>
                        </a:cubicBezTo>
                        <a:cubicBezTo>
                          <a:pt x="345119" y="374787"/>
                          <a:pt x="345530" y="368728"/>
                          <a:pt x="345093" y="362586"/>
                        </a:cubicBezTo>
                        <a:cubicBezTo>
                          <a:pt x="344956" y="360556"/>
                          <a:pt x="341655" y="359776"/>
                          <a:pt x="341287" y="362072"/>
                        </a:cubicBezTo>
                        <a:cubicBezTo>
                          <a:pt x="340387" y="367486"/>
                          <a:pt x="340490" y="372922"/>
                          <a:pt x="340419" y="378405"/>
                        </a:cubicBezTo>
                        <a:cubicBezTo>
                          <a:pt x="337272" y="376763"/>
                          <a:pt x="334006" y="374401"/>
                          <a:pt x="330368" y="374356"/>
                        </a:cubicBezTo>
                        <a:cubicBezTo>
                          <a:pt x="327844" y="374284"/>
                          <a:pt x="327110" y="378419"/>
                          <a:pt x="329643" y="378921"/>
                        </a:cubicBezTo>
                        <a:cubicBezTo>
                          <a:pt x="333069" y="381020"/>
                          <a:pt x="336444" y="383187"/>
                          <a:pt x="339922" y="385166"/>
                        </a:cubicBezTo>
                        <a:cubicBezTo>
                          <a:pt x="339973" y="386739"/>
                          <a:pt x="340253" y="388327"/>
                          <a:pt x="340424" y="389897"/>
                        </a:cubicBezTo>
                        <a:cubicBezTo>
                          <a:pt x="336201" y="390074"/>
                          <a:pt x="332144" y="392053"/>
                          <a:pt x="328044" y="393004"/>
                        </a:cubicBezTo>
                        <a:cubicBezTo>
                          <a:pt x="326776" y="356664"/>
                          <a:pt x="325611" y="320310"/>
                          <a:pt x="325445" y="283947"/>
                        </a:cubicBezTo>
                        <a:cubicBezTo>
                          <a:pt x="325445" y="283650"/>
                          <a:pt x="325217" y="268776"/>
                          <a:pt x="324868" y="266586"/>
                        </a:cubicBezTo>
                        <a:cubicBezTo>
                          <a:pt x="326359" y="266549"/>
                          <a:pt x="327772" y="266498"/>
                          <a:pt x="329177" y="266364"/>
                        </a:cubicBezTo>
                        <a:cubicBezTo>
                          <a:pt x="329177" y="266364"/>
                          <a:pt x="333272" y="266207"/>
                          <a:pt x="335368" y="265969"/>
                        </a:cubicBezTo>
                        <a:cubicBezTo>
                          <a:pt x="341527" y="269227"/>
                          <a:pt x="347243" y="273268"/>
                          <a:pt x="352463" y="277871"/>
                        </a:cubicBezTo>
                        <a:cubicBezTo>
                          <a:pt x="355346" y="280146"/>
                          <a:pt x="357117" y="280715"/>
                          <a:pt x="359038" y="279338"/>
                        </a:cubicBezTo>
                        <a:cubicBezTo>
                          <a:pt x="362388" y="276494"/>
                          <a:pt x="361257" y="271001"/>
                          <a:pt x="359432" y="267534"/>
                        </a:cubicBezTo>
                        <a:cubicBezTo>
                          <a:pt x="362099" y="270238"/>
                          <a:pt x="366556" y="272328"/>
                          <a:pt x="369620" y="268982"/>
                        </a:cubicBezTo>
                        <a:cubicBezTo>
                          <a:pt x="369934" y="268539"/>
                          <a:pt x="370146" y="268077"/>
                          <a:pt x="370283" y="267606"/>
                        </a:cubicBezTo>
                        <a:cubicBezTo>
                          <a:pt x="370557" y="267863"/>
                          <a:pt x="370862" y="268065"/>
                          <a:pt x="370979" y="268148"/>
                        </a:cubicBezTo>
                        <a:cubicBezTo>
                          <a:pt x="372567" y="269256"/>
                          <a:pt x="379982" y="267471"/>
                          <a:pt x="377081" y="260450"/>
                        </a:cubicBezTo>
                        <a:cubicBezTo>
                          <a:pt x="377769" y="259728"/>
                          <a:pt x="378175" y="258754"/>
                          <a:pt x="378489" y="257900"/>
                        </a:cubicBezTo>
                        <a:cubicBezTo>
                          <a:pt x="396332" y="267075"/>
                          <a:pt x="410352" y="259499"/>
                          <a:pt x="426416" y="251841"/>
                        </a:cubicBezTo>
                        <a:cubicBezTo>
                          <a:pt x="426793" y="251901"/>
                          <a:pt x="427176" y="251827"/>
                          <a:pt x="427521" y="251656"/>
                        </a:cubicBezTo>
                        <a:cubicBezTo>
                          <a:pt x="434628" y="254411"/>
                          <a:pt x="450035" y="258400"/>
                          <a:pt x="449227" y="258080"/>
                        </a:cubicBezTo>
                        <a:cubicBezTo>
                          <a:pt x="469989" y="261909"/>
                          <a:pt x="489836" y="266306"/>
                          <a:pt x="509826" y="272380"/>
                        </a:cubicBezTo>
                        <a:cubicBezTo>
                          <a:pt x="530388" y="277705"/>
                          <a:pt x="552163" y="280189"/>
                          <a:pt x="570708" y="291368"/>
                        </a:cubicBezTo>
                        <a:cubicBezTo>
                          <a:pt x="573692" y="293092"/>
                          <a:pt x="576453" y="294934"/>
                          <a:pt x="579003" y="296887"/>
                        </a:cubicBezTo>
                        <a:close/>
                        <a:moveTo>
                          <a:pt x="598351" y="569867"/>
                        </a:moveTo>
                        <a:cubicBezTo>
                          <a:pt x="597083" y="567126"/>
                          <a:pt x="594944" y="563374"/>
                          <a:pt x="592283" y="561584"/>
                        </a:cubicBezTo>
                        <a:cubicBezTo>
                          <a:pt x="593223" y="559397"/>
                          <a:pt x="593163" y="557001"/>
                          <a:pt x="593602" y="554691"/>
                        </a:cubicBezTo>
                        <a:cubicBezTo>
                          <a:pt x="595293" y="553472"/>
                          <a:pt x="596926" y="552173"/>
                          <a:pt x="598465" y="550782"/>
                        </a:cubicBezTo>
                        <a:cubicBezTo>
                          <a:pt x="598219" y="557141"/>
                          <a:pt x="598174" y="563506"/>
                          <a:pt x="598351" y="569867"/>
                        </a:cubicBezTo>
                        <a:close/>
                        <a:moveTo>
                          <a:pt x="588289" y="560659"/>
                        </a:moveTo>
                        <a:cubicBezTo>
                          <a:pt x="582658" y="562695"/>
                          <a:pt x="579654" y="570578"/>
                          <a:pt x="579348" y="576172"/>
                        </a:cubicBezTo>
                        <a:cubicBezTo>
                          <a:pt x="576008" y="576612"/>
                          <a:pt x="572944" y="577905"/>
                          <a:pt x="569992" y="579590"/>
                        </a:cubicBezTo>
                        <a:cubicBezTo>
                          <a:pt x="566868" y="579832"/>
                          <a:pt x="563573" y="581143"/>
                          <a:pt x="560666" y="581803"/>
                        </a:cubicBezTo>
                        <a:cubicBezTo>
                          <a:pt x="550133" y="584321"/>
                          <a:pt x="539174" y="584230"/>
                          <a:pt x="528489" y="583170"/>
                        </a:cubicBezTo>
                        <a:cubicBezTo>
                          <a:pt x="527889" y="580495"/>
                          <a:pt x="525371" y="578722"/>
                          <a:pt x="525731" y="575558"/>
                        </a:cubicBezTo>
                        <a:cubicBezTo>
                          <a:pt x="525745" y="570627"/>
                          <a:pt x="526142" y="565710"/>
                          <a:pt x="525925" y="560770"/>
                        </a:cubicBezTo>
                        <a:cubicBezTo>
                          <a:pt x="537009" y="563685"/>
                          <a:pt x="548591" y="564722"/>
                          <a:pt x="560046" y="564088"/>
                        </a:cubicBezTo>
                        <a:cubicBezTo>
                          <a:pt x="569732" y="563192"/>
                          <a:pt x="579585" y="563597"/>
                          <a:pt x="588309" y="558160"/>
                        </a:cubicBezTo>
                        <a:cubicBezTo>
                          <a:pt x="588223" y="558988"/>
                          <a:pt x="588171" y="559854"/>
                          <a:pt x="588289" y="560659"/>
                        </a:cubicBezTo>
                        <a:close/>
                        <a:moveTo>
                          <a:pt x="527887" y="586457"/>
                        </a:moveTo>
                        <a:cubicBezTo>
                          <a:pt x="538351" y="588847"/>
                          <a:pt x="549216" y="588344"/>
                          <a:pt x="559658" y="586431"/>
                        </a:cubicBezTo>
                        <a:cubicBezTo>
                          <a:pt x="553353" y="590603"/>
                          <a:pt x="547586" y="595534"/>
                          <a:pt x="541695" y="600260"/>
                        </a:cubicBezTo>
                        <a:cubicBezTo>
                          <a:pt x="537086" y="603855"/>
                          <a:pt x="530331" y="610093"/>
                          <a:pt x="524417" y="605965"/>
                        </a:cubicBezTo>
                        <a:cubicBezTo>
                          <a:pt x="528186" y="601876"/>
                          <a:pt x="528172" y="591845"/>
                          <a:pt x="527887" y="586457"/>
                        </a:cubicBezTo>
                        <a:close/>
                        <a:moveTo>
                          <a:pt x="451752" y="357586"/>
                        </a:moveTo>
                        <a:cubicBezTo>
                          <a:pt x="458096" y="356010"/>
                          <a:pt x="462222" y="358768"/>
                          <a:pt x="467779" y="361364"/>
                        </a:cubicBezTo>
                        <a:cubicBezTo>
                          <a:pt x="473355" y="364051"/>
                          <a:pt x="478803" y="366995"/>
                          <a:pt x="484297" y="369844"/>
                        </a:cubicBezTo>
                        <a:cubicBezTo>
                          <a:pt x="469266" y="369216"/>
                          <a:pt x="454042" y="370752"/>
                          <a:pt x="439862" y="375915"/>
                        </a:cubicBezTo>
                        <a:cubicBezTo>
                          <a:pt x="439579" y="370441"/>
                          <a:pt x="439231" y="364953"/>
                          <a:pt x="438714" y="359485"/>
                        </a:cubicBezTo>
                        <a:cubicBezTo>
                          <a:pt x="443037" y="358708"/>
                          <a:pt x="447389" y="358097"/>
                          <a:pt x="451752" y="357586"/>
                        </a:cubicBezTo>
                        <a:close/>
                        <a:moveTo>
                          <a:pt x="438488" y="357232"/>
                        </a:moveTo>
                        <a:cubicBezTo>
                          <a:pt x="438297" y="355382"/>
                          <a:pt x="438080" y="353535"/>
                          <a:pt x="437840" y="351693"/>
                        </a:cubicBezTo>
                        <a:cubicBezTo>
                          <a:pt x="442349" y="352667"/>
                          <a:pt x="446880" y="353449"/>
                          <a:pt x="451312" y="354748"/>
                        </a:cubicBezTo>
                        <a:cubicBezTo>
                          <a:pt x="446989" y="355336"/>
                          <a:pt x="442726" y="356204"/>
                          <a:pt x="438488" y="357232"/>
                        </a:cubicBezTo>
                        <a:close/>
                        <a:moveTo>
                          <a:pt x="469806" y="652932"/>
                        </a:moveTo>
                        <a:cubicBezTo>
                          <a:pt x="464221" y="653632"/>
                          <a:pt x="458587" y="654057"/>
                          <a:pt x="453139" y="655628"/>
                        </a:cubicBezTo>
                        <a:cubicBezTo>
                          <a:pt x="451580" y="655948"/>
                          <a:pt x="449841" y="655988"/>
                          <a:pt x="448285" y="656430"/>
                        </a:cubicBezTo>
                        <a:cubicBezTo>
                          <a:pt x="446620" y="651145"/>
                          <a:pt x="446238" y="643618"/>
                          <a:pt x="452968" y="642119"/>
                        </a:cubicBezTo>
                        <a:cubicBezTo>
                          <a:pt x="458187" y="642422"/>
                          <a:pt x="463393" y="642376"/>
                          <a:pt x="468638" y="642296"/>
                        </a:cubicBezTo>
                        <a:cubicBezTo>
                          <a:pt x="466174" y="645326"/>
                          <a:pt x="466973" y="650197"/>
                          <a:pt x="469806" y="652932"/>
                        </a:cubicBezTo>
                        <a:close/>
                        <a:moveTo>
                          <a:pt x="470460" y="642416"/>
                        </a:moveTo>
                        <a:cubicBezTo>
                          <a:pt x="472590" y="642319"/>
                          <a:pt x="474589" y="642382"/>
                          <a:pt x="475205" y="644912"/>
                        </a:cubicBezTo>
                        <a:cubicBezTo>
                          <a:pt x="475665" y="646548"/>
                          <a:pt x="475928" y="649906"/>
                          <a:pt x="474857" y="651388"/>
                        </a:cubicBezTo>
                        <a:cubicBezTo>
                          <a:pt x="472099" y="654654"/>
                          <a:pt x="467287" y="645668"/>
                          <a:pt x="470460" y="642416"/>
                        </a:cubicBezTo>
                        <a:close/>
                        <a:moveTo>
                          <a:pt x="472119" y="639703"/>
                        </a:moveTo>
                        <a:cubicBezTo>
                          <a:pt x="469292" y="638441"/>
                          <a:pt x="465637" y="639469"/>
                          <a:pt x="462565" y="639372"/>
                        </a:cubicBezTo>
                        <a:cubicBezTo>
                          <a:pt x="460754" y="639432"/>
                          <a:pt x="458950" y="639546"/>
                          <a:pt x="457145" y="639678"/>
                        </a:cubicBezTo>
                        <a:cubicBezTo>
                          <a:pt x="454147" y="634318"/>
                          <a:pt x="439845" y="640012"/>
                          <a:pt x="434240" y="639835"/>
                        </a:cubicBezTo>
                        <a:cubicBezTo>
                          <a:pt x="444191" y="636757"/>
                          <a:pt x="451726" y="628128"/>
                          <a:pt x="461957" y="625552"/>
                        </a:cubicBezTo>
                        <a:cubicBezTo>
                          <a:pt x="469912" y="623682"/>
                          <a:pt x="481567" y="624302"/>
                          <a:pt x="486513" y="631500"/>
                        </a:cubicBezTo>
                        <a:cubicBezTo>
                          <a:pt x="487466" y="634121"/>
                          <a:pt x="486281" y="636186"/>
                          <a:pt x="485490" y="638624"/>
                        </a:cubicBezTo>
                        <a:cubicBezTo>
                          <a:pt x="482669" y="639709"/>
                          <a:pt x="479908" y="640937"/>
                          <a:pt x="477218" y="642387"/>
                        </a:cubicBezTo>
                        <a:cubicBezTo>
                          <a:pt x="476199" y="640797"/>
                          <a:pt x="473998" y="639429"/>
                          <a:pt x="472119" y="639703"/>
                        </a:cubicBezTo>
                        <a:close/>
                        <a:moveTo>
                          <a:pt x="476876" y="619876"/>
                        </a:moveTo>
                        <a:cubicBezTo>
                          <a:pt x="455626" y="615287"/>
                          <a:pt x="446161" y="629481"/>
                          <a:pt x="429703" y="638050"/>
                        </a:cubicBezTo>
                        <a:cubicBezTo>
                          <a:pt x="428603" y="638527"/>
                          <a:pt x="428814" y="639772"/>
                          <a:pt x="429554" y="640406"/>
                        </a:cubicBezTo>
                        <a:cubicBezTo>
                          <a:pt x="425063" y="641197"/>
                          <a:pt x="420266" y="641248"/>
                          <a:pt x="415934" y="642633"/>
                        </a:cubicBezTo>
                        <a:cubicBezTo>
                          <a:pt x="411994" y="620850"/>
                          <a:pt x="407908" y="599095"/>
                          <a:pt x="403773" y="577348"/>
                        </a:cubicBezTo>
                        <a:cubicBezTo>
                          <a:pt x="414041" y="580055"/>
                          <a:pt x="425445" y="578142"/>
                          <a:pt x="433988" y="571575"/>
                        </a:cubicBezTo>
                        <a:cubicBezTo>
                          <a:pt x="434548" y="572597"/>
                          <a:pt x="435739" y="572960"/>
                          <a:pt x="436841" y="572740"/>
                        </a:cubicBezTo>
                        <a:cubicBezTo>
                          <a:pt x="439505" y="578248"/>
                          <a:pt x="442760" y="583165"/>
                          <a:pt x="446106" y="588210"/>
                        </a:cubicBezTo>
                        <a:cubicBezTo>
                          <a:pt x="452243" y="596502"/>
                          <a:pt x="457271" y="607030"/>
                          <a:pt x="466982" y="611615"/>
                        </a:cubicBezTo>
                        <a:cubicBezTo>
                          <a:pt x="472990" y="614068"/>
                          <a:pt x="480465" y="615436"/>
                          <a:pt x="483414" y="621975"/>
                        </a:cubicBezTo>
                        <a:cubicBezTo>
                          <a:pt x="481319" y="621015"/>
                          <a:pt x="479080" y="620338"/>
                          <a:pt x="476876" y="619876"/>
                        </a:cubicBezTo>
                        <a:close/>
                        <a:moveTo>
                          <a:pt x="403153" y="574096"/>
                        </a:moveTo>
                        <a:cubicBezTo>
                          <a:pt x="402628" y="571338"/>
                          <a:pt x="402100" y="568580"/>
                          <a:pt x="401574" y="565821"/>
                        </a:cubicBezTo>
                        <a:cubicBezTo>
                          <a:pt x="407762" y="566575"/>
                          <a:pt x="411819" y="565836"/>
                          <a:pt x="417484" y="566310"/>
                        </a:cubicBezTo>
                        <a:cubicBezTo>
                          <a:pt x="423746" y="564708"/>
                          <a:pt x="429137" y="561692"/>
                          <a:pt x="434322" y="557878"/>
                        </a:cubicBezTo>
                        <a:cubicBezTo>
                          <a:pt x="434437" y="560665"/>
                          <a:pt x="434400" y="563337"/>
                          <a:pt x="433857" y="566118"/>
                        </a:cubicBezTo>
                        <a:cubicBezTo>
                          <a:pt x="422656" y="573231"/>
                          <a:pt x="416922" y="575775"/>
                          <a:pt x="403153" y="574096"/>
                        </a:cubicBezTo>
                        <a:close/>
                        <a:moveTo>
                          <a:pt x="328540" y="407589"/>
                        </a:moveTo>
                        <a:cubicBezTo>
                          <a:pt x="328403" y="403620"/>
                          <a:pt x="328286" y="399651"/>
                          <a:pt x="328138" y="395682"/>
                        </a:cubicBezTo>
                        <a:cubicBezTo>
                          <a:pt x="332378" y="395257"/>
                          <a:pt x="336821" y="395060"/>
                          <a:pt x="340781" y="393218"/>
                        </a:cubicBezTo>
                        <a:cubicBezTo>
                          <a:pt x="341421" y="399765"/>
                          <a:pt x="341704" y="406333"/>
                          <a:pt x="342355" y="412872"/>
                        </a:cubicBezTo>
                        <a:cubicBezTo>
                          <a:pt x="337783" y="411644"/>
                          <a:pt x="333118" y="410530"/>
                          <a:pt x="328406" y="410656"/>
                        </a:cubicBezTo>
                        <a:cubicBezTo>
                          <a:pt x="328663" y="409642"/>
                          <a:pt x="328569" y="408394"/>
                          <a:pt x="328540" y="407589"/>
                        </a:cubicBezTo>
                        <a:close/>
                        <a:moveTo>
                          <a:pt x="569677" y="251276"/>
                        </a:moveTo>
                        <a:cubicBezTo>
                          <a:pt x="571416" y="251521"/>
                          <a:pt x="573152" y="251767"/>
                          <a:pt x="574891" y="252013"/>
                        </a:cubicBezTo>
                        <a:cubicBezTo>
                          <a:pt x="574920" y="252201"/>
                          <a:pt x="574946" y="252392"/>
                          <a:pt x="574971" y="252581"/>
                        </a:cubicBezTo>
                        <a:cubicBezTo>
                          <a:pt x="576476" y="263731"/>
                          <a:pt x="577335" y="276412"/>
                          <a:pt x="577818" y="288113"/>
                        </a:cubicBezTo>
                        <a:cubicBezTo>
                          <a:pt x="575020" y="286245"/>
                          <a:pt x="572122" y="284572"/>
                          <a:pt x="569143" y="283062"/>
                        </a:cubicBezTo>
                        <a:cubicBezTo>
                          <a:pt x="568629" y="278656"/>
                          <a:pt x="568113" y="274239"/>
                          <a:pt x="567350" y="269873"/>
                        </a:cubicBezTo>
                        <a:cubicBezTo>
                          <a:pt x="565666" y="263403"/>
                          <a:pt x="563938" y="256924"/>
                          <a:pt x="563630" y="250125"/>
                        </a:cubicBezTo>
                        <a:cubicBezTo>
                          <a:pt x="565203" y="251179"/>
                          <a:pt x="567961" y="251033"/>
                          <a:pt x="569677" y="251276"/>
                        </a:cubicBezTo>
                        <a:close/>
                        <a:moveTo>
                          <a:pt x="559809" y="257518"/>
                        </a:moveTo>
                        <a:cubicBezTo>
                          <a:pt x="560729" y="265387"/>
                          <a:pt x="563887" y="272662"/>
                          <a:pt x="564144" y="280712"/>
                        </a:cubicBezTo>
                        <a:cubicBezTo>
                          <a:pt x="550652" y="274827"/>
                          <a:pt x="535822" y="271883"/>
                          <a:pt x="521305" y="269667"/>
                        </a:cubicBezTo>
                        <a:cubicBezTo>
                          <a:pt x="490022" y="260250"/>
                          <a:pt x="462071" y="253069"/>
                          <a:pt x="428689" y="249217"/>
                        </a:cubicBezTo>
                        <a:cubicBezTo>
                          <a:pt x="427898" y="247495"/>
                          <a:pt x="426890" y="245856"/>
                          <a:pt x="426062" y="244149"/>
                        </a:cubicBezTo>
                        <a:cubicBezTo>
                          <a:pt x="454718" y="249023"/>
                          <a:pt x="483449" y="253560"/>
                          <a:pt x="512328" y="256898"/>
                        </a:cubicBezTo>
                        <a:cubicBezTo>
                          <a:pt x="525539" y="257889"/>
                          <a:pt x="547797" y="262063"/>
                          <a:pt x="559809" y="257518"/>
                        </a:cubicBezTo>
                        <a:close/>
                        <a:moveTo>
                          <a:pt x="444713" y="218028"/>
                        </a:moveTo>
                        <a:cubicBezTo>
                          <a:pt x="470865" y="220064"/>
                          <a:pt x="514820" y="225675"/>
                          <a:pt x="535799" y="232773"/>
                        </a:cubicBezTo>
                        <a:cubicBezTo>
                          <a:pt x="550084" y="237330"/>
                          <a:pt x="558108" y="242656"/>
                          <a:pt x="558396" y="247767"/>
                        </a:cubicBezTo>
                        <a:lnTo>
                          <a:pt x="558504" y="247761"/>
                        </a:lnTo>
                        <a:cubicBezTo>
                          <a:pt x="558165" y="249743"/>
                          <a:pt x="557528" y="251293"/>
                          <a:pt x="557068" y="253583"/>
                        </a:cubicBezTo>
                        <a:cubicBezTo>
                          <a:pt x="543437" y="256367"/>
                          <a:pt x="529103" y="253554"/>
                          <a:pt x="515369" y="252469"/>
                        </a:cubicBezTo>
                        <a:cubicBezTo>
                          <a:pt x="484574" y="249026"/>
                          <a:pt x="453964" y="244106"/>
                          <a:pt x="423432" y="238861"/>
                        </a:cubicBezTo>
                        <a:cubicBezTo>
                          <a:pt x="422233" y="236365"/>
                          <a:pt x="421074" y="233850"/>
                          <a:pt x="419946" y="231311"/>
                        </a:cubicBezTo>
                        <a:cubicBezTo>
                          <a:pt x="458901" y="235694"/>
                          <a:pt x="497683" y="241585"/>
                          <a:pt x="536630" y="245996"/>
                        </a:cubicBezTo>
                        <a:cubicBezTo>
                          <a:pt x="537592" y="246051"/>
                          <a:pt x="536690" y="246011"/>
                          <a:pt x="537178" y="245959"/>
                        </a:cubicBezTo>
                        <a:cubicBezTo>
                          <a:pt x="537423" y="245934"/>
                          <a:pt x="537669" y="245916"/>
                          <a:pt x="537912" y="245896"/>
                        </a:cubicBezTo>
                        <a:cubicBezTo>
                          <a:pt x="540147" y="245537"/>
                          <a:pt x="539474" y="243030"/>
                          <a:pt x="537535" y="242747"/>
                        </a:cubicBezTo>
                        <a:cubicBezTo>
                          <a:pt x="498014" y="236311"/>
                          <a:pt x="457659" y="231608"/>
                          <a:pt x="417779" y="226320"/>
                        </a:cubicBezTo>
                        <a:cubicBezTo>
                          <a:pt x="416305" y="222857"/>
                          <a:pt x="414858" y="219350"/>
                          <a:pt x="413476" y="215838"/>
                        </a:cubicBezTo>
                        <a:cubicBezTo>
                          <a:pt x="418961" y="216132"/>
                          <a:pt x="429046" y="216735"/>
                          <a:pt x="441432" y="217754"/>
                        </a:cubicBezTo>
                        <a:cubicBezTo>
                          <a:pt x="442352" y="218488"/>
                          <a:pt x="443674" y="218619"/>
                          <a:pt x="444713" y="218028"/>
                        </a:cubicBezTo>
                        <a:close/>
                        <a:moveTo>
                          <a:pt x="438466" y="212329"/>
                        </a:moveTo>
                        <a:cubicBezTo>
                          <a:pt x="425622" y="211312"/>
                          <a:pt x="415669" y="210767"/>
                          <a:pt x="411428" y="210556"/>
                        </a:cubicBezTo>
                        <a:cubicBezTo>
                          <a:pt x="409318" y="204996"/>
                          <a:pt x="407325" y="199391"/>
                          <a:pt x="405401" y="193763"/>
                        </a:cubicBezTo>
                        <a:cubicBezTo>
                          <a:pt x="412291" y="191610"/>
                          <a:pt x="418958" y="188655"/>
                          <a:pt x="425597" y="185817"/>
                        </a:cubicBezTo>
                        <a:lnTo>
                          <a:pt x="438466" y="212329"/>
                        </a:lnTo>
                        <a:close/>
                        <a:moveTo>
                          <a:pt x="305909" y="79267"/>
                        </a:moveTo>
                        <a:cubicBezTo>
                          <a:pt x="310894" y="65278"/>
                          <a:pt x="312633" y="46202"/>
                          <a:pt x="302677" y="34049"/>
                        </a:cubicBezTo>
                        <a:cubicBezTo>
                          <a:pt x="303136" y="32956"/>
                          <a:pt x="303884" y="32031"/>
                          <a:pt x="304524" y="30951"/>
                        </a:cubicBezTo>
                        <a:cubicBezTo>
                          <a:pt x="321839" y="45808"/>
                          <a:pt x="321730" y="73365"/>
                          <a:pt x="315640" y="93669"/>
                        </a:cubicBezTo>
                        <a:cubicBezTo>
                          <a:pt x="314529" y="89529"/>
                          <a:pt x="314989" y="84438"/>
                          <a:pt x="311471" y="81448"/>
                        </a:cubicBezTo>
                        <a:cubicBezTo>
                          <a:pt x="308804" y="79361"/>
                          <a:pt x="306232" y="80820"/>
                          <a:pt x="304524" y="83033"/>
                        </a:cubicBezTo>
                        <a:cubicBezTo>
                          <a:pt x="304890" y="81762"/>
                          <a:pt x="305361" y="80512"/>
                          <a:pt x="305909" y="79267"/>
                        </a:cubicBezTo>
                        <a:close/>
                        <a:moveTo>
                          <a:pt x="221059" y="47744"/>
                        </a:moveTo>
                        <a:cubicBezTo>
                          <a:pt x="221602" y="38221"/>
                          <a:pt x="223655" y="26728"/>
                          <a:pt x="232966" y="21948"/>
                        </a:cubicBezTo>
                        <a:cubicBezTo>
                          <a:pt x="232769" y="24373"/>
                          <a:pt x="232486" y="26785"/>
                          <a:pt x="232072" y="29181"/>
                        </a:cubicBezTo>
                        <a:cubicBezTo>
                          <a:pt x="231578" y="28170"/>
                          <a:pt x="230191" y="24016"/>
                          <a:pt x="229100" y="26426"/>
                        </a:cubicBezTo>
                        <a:cubicBezTo>
                          <a:pt x="234083" y="56184"/>
                          <a:pt x="282349" y="66632"/>
                          <a:pt x="298651" y="90248"/>
                        </a:cubicBezTo>
                        <a:cubicBezTo>
                          <a:pt x="282072" y="81645"/>
                          <a:pt x="272661" y="77205"/>
                          <a:pt x="265360" y="99197"/>
                        </a:cubicBezTo>
                        <a:cubicBezTo>
                          <a:pt x="253984" y="82488"/>
                          <a:pt x="235190" y="72976"/>
                          <a:pt x="223406" y="56590"/>
                        </a:cubicBezTo>
                        <a:cubicBezTo>
                          <a:pt x="220545" y="53980"/>
                          <a:pt x="220354" y="51387"/>
                          <a:pt x="221059" y="47744"/>
                        </a:cubicBezTo>
                        <a:close/>
                        <a:moveTo>
                          <a:pt x="279785" y="87958"/>
                        </a:moveTo>
                        <a:cubicBezTo>
                          <a:pt x="279585" y="87927"/>
                          <a:pt x="279428" y="87876"/>
                          <a:pt x="279785" y="87958"/>
                        </a:cubicBezTo>
                        <a:lnTo>
                          <a:pt x="279785" y="87958"/>
                        </a:lnTo>
                        <a:close/>
                        <a:moveTo>
                          <a:pt x="187329" y="69898"/>
                        </a:moveTo>
                        <a:cubicBezTo>
                          <a:pt x="195413" y="61735"/>
                          <a:pt x="204650" y="55239"/>
                          <a:pt x="214352" y="49166"/>
                        </a:cubicBezTo>
                        <a:cubicBezTo>
                          <a:pt x="213347" y="54479"/>
                          <a:pt x="216160" y="58757"/>
                          <a:pt x="219612" y="62474"/>
                        </a:cubicBezTo>
                        <a:cubicBezTo>
                          <a:pt x="232284" y="79235"/>
                          <a:pt x="251894" y="89121"/>
                          <a:pt x="264269" y="106181"/>
                        </a:cubicBezTo>
                        <a:cubicBezTo>
                          <a:pt x="265397" y="107680"/>
                          <a:pt x="268421" y="107940"/>
                          <a:pt x="268826" y="105584"/>
                        </a:cubicBezTo>
                        <a:cubicBezTo>
                          <a:pt x="270083" y="99288"/>
                          <a:pt x="272687" y="91805"/>
                          <a:pt x="278415" y="88275"/>
                        </a:cubicBezTo>
                        <a:cubicBezTo>
                          <a:pt x="281973" y="87447"/>
                          <a:pt x="288226" y="91525"/>
                          <a:pt x="291766" y="92884"/>
                        </a:cubicBezTo>
                        <a:cubicBezTo>
                          <a:pt x="293919" y="93949"/>
                          <a:pt x="296044" y="95088"/>
                          <a:pt x="297991" y="96496"/>
                        </a:cubicBezTo>
                        <a:cubicBezTo>
                          <a:pt x="299022" y="97307"/>
                          <a:pt x="300218" y="98335"/>
                          <a:pt x="301566" y="97747"/>
                        </a:cubicBezTo>
                        <a:cubicBezTo>
                          <a:pt x="313458" y="122314"/>
                          <a:pt x="320320" y="149331"/>
                          <a:pt x="329491" y="175189"/>
                        </a:cubicBezTo>
                        <a:cubicBezTo>
                          <a:pt x="331387" y="180532"/>
                          <a:pt x="335536" y="189532"/>
                          <a:pt x="335536" y="189532"/>
                        </a:cubicBezTo>
                        <a:cubicBezTo>
                          <a:pt x="341572" y="204437"/>
                          <a:pt x="348868" y="218713"/>
                          <a:pt x="358930" y="231623"/>
                        </a:cubicBezTo>
                        <a:cubicBezTo>
                          <a:pt x="360318" y="233170"/>
                          <a:pt x="362882" y="231169"/>
                          <a:pt x="361799" y="229410"/>
                        </a:cubicBezTo>
                        <a:cubicBezTo>
                          <a:pt x="348799" y="211701"/>
                          <a:pt x="340501" y="191816"/>
                          <a:pt x="333343" y="171389"/>
                        </a:cubicBezTo>
                        <a:cubicBezTo>
                          <a:pt x="331918" y="167323"/>
                          <a:pt x="329174" y="161061"/>
                          <a:pt x="329174" y="161061"/>
                        </a:cubicBezTo>
                        <a:cubicBezTo>
                          <a:pt x="321845" y="139203"/>
                          <a:pt x="315149" y="117032"/>
                          <a:pt x="304815" y="96490"/>
                        </a:cubicBezTo>
                        <a:cubicBezTo>
                          <a:pt x="305858" y="92970"/>
                          <a:pt x="305983" y="89095"/>
                          <a:pt x="308613" y="86128"/>
                        </a:cubicBezTo>
                        <a:cubicBezTo>
                          <a:pt x="310469" y="91602"/>
                          <a:pt x="309521" y="98118"/>
                          <a:pt x="314843" y="101810"/>
                        </a:cubicBezTo>
                        <a:cubicBezTo>
                          <a:pt x="316040" y="102669"/>
                          <a:pt x="318013" y="102047"/>
                          <a:pt x="318675" y="100805"/>
                        </a:cubicBezTo>
                        <a:cubicBezTo>
                          <a:pt x="326976" y="83561"/>
                          <a:pt x="326939" y="62386"/>
                          <a:pt x="320848" y="44426"/>
                        </a:cubicBezTo>
                        <a:cubicBezTo>
                          <a:pt x="324660" y="44380"/>
                          <a:pt x="328438" y="43983"/>
                          <a:pt x="332287" y="44323"/>
                        </a:cubicBezTo>
                        <a:cubicBezTo>
                          <a:pt x="354433" y="46927"/>
                          <a:pt x="366351" y="62937"/>
                          <a:pt x="375040" y="81671"/>
                        </a:cubicBezTo>
                        <a:cubicBezTo>
                          <a:pt x="378129" y="88335"/>
                          <a:pt x="384351" y="102215"/>
                          <a:pt x="384351" y="102215"/>
                        </a:cubicBezTo>
                        <a:cubicBezTo>
                          <a:pt x="396483" y="128282"/>
                          <a:pt x="410006" y="153694"/>
                          <a:pt x="422210" y="179732"/>
                        </a:cubicBezTo>
                        <a:cubicBezTo>
                          <a:pt x="416037" y="182633"/>
                          <a:pt x="409595" y="184926"/>
                          <a:pt x="403293" y="187499"/>
                        </a:cubicBezTo>
                        <a:cubicBezTo>
                          <a:pt x="393571" y="159565"/>
                          <a:pt x="386681" y="130523"/>
                          <a:pt x="378463" y="102215"/>
                        </a:cubicBezTo>
                        <a:cubicBezTo>
                          <a:pt x="378463" y="102215"/>
                          <a:pt x="378055" y="99408"/>
                          <a:pt x="377512" y="98009"/>
                        </a:cubicBezTo>
                        <a:cubicBezTo>
                          <a:pt x="376827" y="96247"/>
                          <a:pt x="376245" y="93332"/>
                          <a:pt x="374780" y="92024"/>
                        </a:cubicBezTo>
                        <a:cubicBezTo>
                          <a:pt x="372116" y="89652"/>
                          <a:pt x="368270" y="93112"/>
                          <a:pt x="370051" y="95691"/>
                        </a:cubicBezTo>
                        <a:cubicBezTo>
                          <a:pt x="370720" y="97218"/>
                          <a:pt x="371348" y="98760"/>
                          <a:pt x="371967" y="100308"/>
                        </a:cubicBezTo>
                        <a:lnTo>
                          <a:pt x="371907" y="100308"/>
                        </a:lnTo>
                        <a:cubicBezTo>
                          <a:pt x="382481" y="140220"/>
                          <a:pt x="392966" y="180326"/>
                          <a:pt x="408062" y="218808"/>
                        </a:cubicBezTo>
                        <a:cubicBezTo>
                          <a:pt x="412054" y="228901"/>
                          <a:pt x="416185" y="239386"/>
                          <a:pt x="422807" y="248098"/>
                        </a:cubicBezTo>
                        <a:cubicBezTo>
                          <a:pt x="404844" y="256941"/>
                          <a:pt x="398428" y="258608"/>
                          <a:pt x="378823" y="256575"/>
                        </a:cubicBezTo>
                        <a:cubicBezTo>
                          <a:pt x="379762" y="248580"/>
                          <a:pt x="372587" y="241953"/>
                          <a:pt x="366488" y="237836"/>
                        </a:cubicBezTo>
                        <a:cubicBezTo>
                          <a:pt x="361206" y="233347"/>
                          <a:pt x="353493" y="230398"/>
                          <a:pt x="345073" y="228933"/>
                        </a:cubicBezTo>
                        <a:cubicBezTo>
                          <a:pt x="341961" y="228390"/>
                          <a:pt x="335536" y="227474"/>
                          <a:pt x="335536" y="227474"/>
                        </a:cubicBezTo>
                        <a:cubicBezTo>
                          <a:pt x="324597" y="226808"/>
                          <a:pt x="313496" y="228707"/>
                          <a:pt x="303719" y="233281"/>
                        </a:cubicBezTo>
                        <a:cubicBezTo>
                          <a:pt x="274589" y="243378"/>
                          <a:pt x="244796" y="227551"/>
                          <a:pt x="215234" y="227682"/>
                        </a:cubicBezTo>
                        <a:cubicBezTo>
                          <a:pt x="217079" y="223956"/>
                          <a:pt x="217367" y="219639"/>
                          <a:pt x="218067" y="215587"/>
                        </a:cubicBezTo>
                        <a:cubicBezTo>
                          <a:pt x="220334" y="191827"/>
                          <a:pt x="220377" y="167683"/>
                          <a:pt x="219552" y="143832"/>
                        </a:cubicBezTo>
                        <a:cubicBezTo>
                          <a:pt x="219146" y="136391"/>
                          <a:pt x="218444" y="129821"/>
                          <a:pt x="217342" y="122662"/>
                        </a:cubicBezTo>
                        <a:cubicBezTo>
                          <a:pt x="216891" y="119747"/>
                          <a:pt x="212293" y="120521"/>
                          <a:pt x="212291" y="123345"/>
                        </a:cubicBezTo>
                        <a:cubicBezTo>
                          <a:pt x="211374" y="145665"/>
                          <a:pt x="210626" y="168002"/>
                          <a:pt x="210003" y="190340"/>
                        </a:cubicBezTo>
                        <a:cubicBezTo>
                          <a:pt x="209652" y="202364"/>
                          <a:pt x="208404" y="214502"/>
                          <a:pt x="210203" y="226463"/>
                        </a:cubicBezTo>
                        <a:cubicBezTo>
                          <a:pt x="189999" y="223616"/>
                          <a:pt x="170340" y="231023"/>
                          <a:pt x="151289" y="236742"/>
                        </a:cubicBezTo>
                        <a:cubicBezTo>
                          <a:pt x="148659" y="237736"/>
                          <a:pt x="145678" y="238156"/>
                          <a:pt x="143354" y="239723"/>
                        </a:cubicBezTo>
                        <a:cubicBezTo>
                          <a:pt x="142546" y="240551"/>
                          <a:pt x="143777" y="241770"/>
                          <a:pt x="144619" y="240988"/>
                        </a:cubicBezTo>
                        <a:cubicBezTo>
                          <a:pt x="165106" y="238801"/>
                          <a:pt x="185116" y="229478"/>
                          <a:pt x="206149" y="230794"/>
                        </a:cubicBezTo>
                        <a:cubicBezTo>
                          <a:pt x="213433" y="231654"/>
                          <a:pt x="220848" y="231371"/>
                          <a:pt x="228118" y="232553"/>
                        </a:cubicBezTo>
                        <a:cubicBezTo>
                          <a:pt x="247586" y="234863"/>
                          <a:pt x="266636" y="241611"/>
                          <a:pt x="286378" y="241334"/>
                        </a:cubicBezTo>
                        <a:cubicBezTo>
                          <a:pt x="293006" y="241288"/>
                          <a:pt x="299476" y="239817"/>
                          <a:pt x="305635" y="237567"/>
                        </a:cubicBezTo>
                        <a:cubicBezTo>
                          <a:pt x="312916" y="233781"/>
                          <a:pt x="320994" y="232091"/>
                          <a:pt x="329177" y="231994"/>
                        </a:cubicBezTo>
                        <a:cubicBezTo>
                          <a:pt x="329177" y="231994"/>
                          <a:pt x="341015" y="232890"/>
                          <a:pt x="346675" y="234261"/>
                        </a:cubicBezTo>
                        <a:cubicBezTo>
                          <a:pt x="352828" y="235646"/>
                          <a:pt x="359221" y="237385"/>
                          <a:pt x="363930" y="241836"/>
                        </a:cubicBezTo>
                        <a:cubicBezTo>
                          <a:pt x="368978" y="245262"/>
                          <a:pt x="374280" y="250234"/>
                          <a:pt x="375057" y="256515"/>
                        </a:cubicBezTo>
                        <a:cubicBezTo>
                          <a:pt x="370508" y="249814"/>
                          <a:pt x="364349" y="244106"/>
                          <a:pt x="357719" y="239629"/>
                        </a:cubicBezTo>
                        <a:cubicBezTo>
                          <a:pt x="356132" y="238727"/>
                          <a:pt x="354707" y="241165"/>
                          <a:pt x="356289" y="242076"/>
                        </a:cubicBezTo>
                        <a:cubicBezTo>
                          <a:pt x="362528" y="246308"/>
                          <a:pt x="372236" y="255216"/>
                          <a:pt x="374617" y="262403"/>
                        </a:cubicBezTo>
                        <a:cubicBezTo>
                          <a:pt x="375268" y="264936"/>
                          <a:pt x="373572" y="265758"/>
                          <a:pt x="371468" y="266595"/>
                        </a:cubicBezTo>
                        <a:cubicBezTo>
                          <a:pt x="371145" y="266746"/>
                          <a:pt x="370754" y="266809"/>
                          <a:pt x="370437" y="266855"/>
                        </a:cubicBezTo>
                        <a:cubicBezTo>
                          <a:pt x="370988" y="261661"/>
                          <a:pt x="362536" y="255276"/>
                          <a:pt x="359324" y="252435"/>
                        </a:cubicBezTo>
                        <a:cubicBezTo>
                          <a:pt x="356306" y="249982"/>
                          <a:pt x="353162" y="247513"/>
                          <a:pt x="349767" y="245594"/>
                        </a:cubicBezTo>
                        <a:cubicBezTo>
                          <a:pt x="348177" y="244697"/>
                          <a:pt x="346752" y="247136"/>
                          <a:pt x="348337" y="248041"/>
                        </a:cubicBezTo>
                        <a:cubicBezTo>
                          <a:pt x="353094" y="250719"/>
                          <a:pt x="367059" y="261058"/>
                          <a:pt x="367579" y="266412"/>
                        </a:cubicBezTo>
                        <a:cubicBezTo>
                          <a:pt x="367510" y="267640"/>
                          <a:pt x="365763" y="267880"/>
                          <a:pt x="364709" y="267608"/>
                        </a:cubicBezTo>
                        <a:cubicBezTo>
                          <a:pt x="363615" y="267329"/>
                          <a:pt x="362776" y="266483"/>
                          <a:pt x="361919" y="265801"/>
                        </a:cubicBezTo>
                        <a:cubicBezTo>
                          <a:pt x="359649" y="264014"/>
                          <a:pt x="356825" y="261698"/>
                          <a:pt x="354484" y="260473"/>
                        </a:cubicBezTo>
                        <a:cubicBezTo>
                          <a:pt x="354247" y="260282"/>
                          <a:pt x="353984" y="260227"/>
                          <a:pt x="353739" y="260262"/>
                        </a:cubicBezTo>
                        <a:cubicBezTo>
                          <a:pt x="350215" y="256955"/>
                          <a:pt x="345907" y="254380"/>
                          <a:pt x="341338" y="253029"/>
                        </a:cubicBezTo>
                        <a:cubicBezTo>
                          <a:pt x="339199" y="252395"/>
                          <a:pt x="338369" y="255607"/>
                          <a:pt x="340427" y="256336"/>
                        </a:cubicBezTo>
                        <a:cubicBezTo>
                          <a:pt x="348396" y="259508"/>
                          <a:pt x="358133" y="267574"/>
                          <a:pt x="356948" y="277023"/>
                        </a:cubicBezTo>
                        <a:cubicBezTo>
                          <a:pt x="351974" y="271812"/>
                          <a:pt x="345944" y="267700"/>
                          <a:pt x="339756" y="264062"/>
                        </a:cubicBezTo>
                        <a:cubicBezTo>
                          <a:pt x="338440" y="263317"/>
                          <a:pt x="337589" y="262243"/>
                          <a:pt x="335999" y="261866"/>
                        </a:cubicBezTo>
                        <a:lnTo>
                          <a:pt x="335542" y="261781"/>
                        </a:lnTo>
                        <a:cubicBezTo>
                          <a:pt x="334137" y="261578"/>
                          <a:pt x="332789" y="261704"/>
                          <a:pt x="331601" y="262335"/>
                        </a:cubicBezTo>
                        <a:cubicBezTo>
                          <a:pt x="325802" y="262769"/>
                          <a:pt x="320003" y="263003"/>
                          <a:pt x="314189" y="262712"/>
                        </a:cubicBezTo>
                        <a:cubicBezTo>
                          <a:pt x="312485" y="262629"/>
                          <a:pt x="310646" y="262620"/>
                          <a:pt x="309001" y="262101"/>
                        </a:cubicBezTo>
                        <a:cubicBezTo>
                          <a:pt x="308327" y="261886"/>
                          <a:pt x="307771" y="262046"/>
                          <a:pt x="307374" y="262395"/>
                        </a:cubicBezTo>
                        <a:cubicBezTo>
                          <a:pt x="298191" y="263014"/>
                          <a:pt x="289028" y="264176"/>
                          <a:pt x="279825" y="264667"/>
                        </a:cubicBezTo>
                        <a:cubicBezTo>
                          <a:pt x="276230" y="265161"/>
                          <a:pt x="272261" y="264699"/>
                          <a:pt x="268744" y="264836"/>
                        </a:cubicBezTo>
                        <a:cubicBezTo>
                          <a:pt x="264906" y="265176"/>
                          <a:pt x="261080" y="265644"/>
                          <a:pt x="257248" y="266052"/>
                        </a:cubicBezTo>
                        <a:cubicBezTo>
                          <a:pt x="222707" y="268556"/>
                          <a:pt x="170234" y="278173"/>
                          <a:pt x="139990" y="259111"/>
                        </a:cubicBezTo>
                        <a:cubicBezTo>
                          <a:pt x="141364" y="256321"/>
                          <a:pt x="141033" y="252238"/>
                          <a:pt x="141004" y="249457"/>
                        </a:cubicBezTo>
                        <a:cubicBezTo>
                          <a:pt x="141432" y="215141"/>
                          <a:pt x="141389" y="180632"/>
                          <a:pt x="146061" y="146573"/>
                        </a:cubicBezTo>
                        <a:cubicBezTo>
                          <a:pt x="150829" y="117543"/>
                          <a:pt x="167539" y="91179"/>
                          <a:pt x="187329" y="69898"/>
                        </a:cubicBezTo>
                        <a:close/>
                        <a:moveTo>
                          <a:pt x="137952" y="266409"/>
                        </a:moveTo>
                        <a:cubicBezTo>
                          <a:pt x="137786" y="264656"/>
                          <a:pt x="137358" y="262883"/>
                          <a:pt x="137549" y="261127"/>
                        </a:cubicBezTo>
                        <a:cubicBezTo>
                          <a:pt x="165243" y="284549"/>
                          <a:pt x="218615" y="274010"/>
                          <a:pt x="252582" y="271903"/>
                        </a:cubicBezTo>
                        <a:cubicBezTo>
                          <a:pt x="259404" y="271023"/>
                          <a:pt x="266228" y="271021"/>
                          <a:pt x="272918" y="269193"/>
                        </a:cubicBezTo>
                        <a:cubicBezTo>
                          <a:pt x="275788" y="269844"/>
                          <a:pt x="278732" y="270321"/>
                          <a:pt x="281673" y="270741"/>
                        </a:cubicBezTo>
                        <a:cubicBezTo>
                          <a:pt x="277738" y="290237"/>
                          <a:pt x="256563" y="285937"/>
                          <a:pt x="241801" y="283501"/>
                        </a:cubicBezTo>
                        <a:cubicBezTo>
                          <a:pt x="214509" y="280518"/>
                          <a:pt x="186809" y="281314"/>
                          <a:pt x="159727" y="276346"/>
                        </a:cubicBezTo>
                        <a:cubicBezTo>
                          <a:pt x="152514" y="275027"/>
                          <a:pt x="145407" y="273037"/>
                          <a:pt x="138120" y="272211"/>
                        </a:cubicBezTo>
                        <a:cubicBezTo>
                          <a:pt x="138334" y="270278"/>
                          <a:pt x="138129" y="268379"/>
                          <a:pt x="137952" y="266409"/>
                        </a:cubicBezTo>
                        <a:close/>
                        <a:moveTo>
                          <a:pt x="240464" y="289900"/>
                        </a:moveTo>
                        <a:cubicBezTo>
                          <a:pt x="255749" y="292250"/>
                          <a:pt x="277995" y="295945"/>
                          <a:pt x="285230" y="278070"/>
                        </a:cubicBezTo>
                        <a:cubicBezTo>
                          <a:pt x="292417" y="279224"/>
                          <a:pt x="299382" y="280580"/>
                          <a:pt x="306608" y="281220"/>
                        </a:cubicBezTo>
                        <a:cubicBezTo>
                          <a:pt x="306149" y="309839"/>
                          <a:pt x="305364" y="338467"/>
                          <a:pt x="305466" y="367095"/>
                        </a:cubicBezTo>
                        <a:cubicBezTo>
                          <a:pt x="305475" y="371675"/>
                          <a:pt x="305352" y="376206"/>
                          <a:pt x="303765" y="380538"/>
                        </a:cubicBezTo>
                        <a:cubicBezTo>
                          <a:pt x="273349" y="375718"/>
                          <a:pt x="243074" y="369730"/>
                          <a:pt x="212528" y="365827"/>
                        </a:cubicBezTo>
                        <a:cubicBezTo>
                          <a:pt x="198491" y="332636"/>
                          <a:pt x="177872" y="300990"/>
                          <a:pt x="149893" y="281445"/>
                        </a:cubicBezTo>
                        <a:cubicBezTo>
                          <a:pt x="179605" y="288113"/>
                          <a:pt x="210272" y="287522"/>
                          <a:pt x="240464" y="289900"/>
                        </a:cubicBezTo>
                        <a:close/>
                        <a:moveTo>
                          <a:pt x="286344" y="274541"/>
                        </a:moveTo>
                        <a:cubicBezTo>
                          <a:pt x="286592" y="273528"/>
                          <a:pt x="286787" y="272500"/>
                          <a:pt x="286944" y="271466"/>
                        </a:cubicBezTo>
                        <a:cubicBezTo>
                          <a:pt x="293460" y="272397"/>
                          <a:pt x="300018" y="273268"/>
                          <a:pt x="306534" y="274147"/>
                        </a:cubicBezTo>
                        <a:cubicBezTo>
                          <a:pt x="306563" y="275238"/>
                          <a:pt x="306583" y="276297"/>
                          <a:pt x="306586" y="277374"/>
                        </a:cubicBezTo>
                        <a:cubicBezTo>
                          <a:pt x="299850" y="276129"/>
                          <a:pt x="293068" y="276000"/>
                          <a:pt x="286344" y="274541"/>
                        </a:cubicBezTo>
                        <a:close/>
                        <a:moveTo>
                          <a:pt x="306483" y="269896"/>
                        </a:moveTo>
                        <a:cubicBezTo>
                          <a:pt x="300735" y="269168"/>
                          <a:pt x="295001" y="268202"/>
                          <a:pt x="289242" y="267531"/>
                        </a:cubicBezTo>
                        <a:cubicBezTo>
                          <a:pt x="295090" y="267055"/>
                          <a:pt x="300961" y="266709"/>
                          <a:pt x="306766" y="265830"/>
                        </a:cubicBezTo>
                        <a:cubicBezTo>
                          <a:pt x="306580" y="267163"/>
                          <a:pt x="306503" y="268525"/>
                          <a:pt x="306483" y="269896"/>
                        </a:cubicBezTo>
                        <a:close/>
                        <a:moveTo>
                          <a:pt x="133175" y="88758"/>
                        </a:moveTo>
                        <a:cubicBezTo>
                          <a:pt x="132575" y="86325"/>
                          <a:pt x="131833" y="83927"/>
                          <a:pt x="130936" y="81591"/>
                        </a:cubicBezTo>
                        <a:cubicBezTo>
                          <a:pt x="142377" y="83493"/>
                          <a:pt x="153679" y="84292"/>
                          <a:pt x="165140" y="85837"/>
                        </a:cubicBezTo>
                        <a:cubicBezTo>
                          <a:pt x="152859" y="102940"/>
                          <a:pt x="142389" y="122123"/>
                          <a:pt x="138237" y="142932"/>
                        </a:cubicBezTo>
                        <a:cubicBezTo>
                          <a:pt x="137029" y="124875"/>
                          <a:pt x="137135" y="106484"/>
                          <a:pt x="133175" y="88758"/>
                        </a:cubicBezTo>
                        <a:close/>
                        <a:moveTo>
                          <a:pt x="7014" y="477659"/>
                        </a:moveTo>
                        <a:cubicBezTo>
                          <a:pt x="2223" y="420201"/>
                          <a:pt x="14132" y="368231"/>
                          <a:pt x="36153" y="336451"/>
                        </a:cubicBezTo>
                        <a:cubicBezTo>
                          <a:pt x="-5812" y="429570"/>
                          <a:pt x="18124" y="567212"/>
                          <a:pt x="96323" y="634644"/>
                        </a:cubicBezTo>
                        <a:cubicBezTo>
                          <a:pt x="52197" y="624696"/>
                          <a:pt x="13835" y="559462"/>
                          <a:pt x="7014" y="477659"/>
                        </a:cubicBezTo>
                        <a:close/>
                        <a:moveTo>
                          <a:pt x="49893" y="320498"/>
                        </a:moveTo>
                        <a:cubicBezTo>
                          <a:pt x="69797" y="301616"/>
                          <a:pt x="97226" y="298840"/>
                          <a:pt x="120251" y="313662"/>
                        </a:cubicBezTo>
                        <a:cubicBezTo>
                          <a:pt x="120468" y="323610"/>
                          <a:pt x="121048" y="333550"/>
                          <a:pt x="121779" y="343475"/>
                        </a:cubicBezTo>
                        <a:cubicBezTo>
                          <a:pt x="122273" y="346245"/>
                          <a:pt x="121365" y="350074"/>
                          <a:pt x="123224" y="352290"/>
                        </a:cubicBezTo>
                        <a:cubicBezTo>
                          <a:pt x="123132" y="353383"/>
                          <a:pt x="124183" y="353877"/>
                          <a:pt x="125083" y="354114"/>
                        </a:cubicBezTo>
                        <a:cubicBezTo>
                          <a:pt x="124571" y="360933"/>
                          <a:pt x="124275" y="368488"/>
                          <a:pt x="126405" y="375050"/>
                        </a:cubicBezTo>
                        <a:cubicBezTo>
                          <a:pt x="125856" y="398101"/>
                          <a:pt x="125280" y="421155"/>
                          <a:pt x="124791" y="444203"/>
                        </a:cubicBezTo>
                        <a:cubicBezTo>
                          <a:pt x="121134" y="446982"/>
                          <a:pt x="120488" y="451490"/>
                          <a:pt x="118918" y="455528"/>
                        </a:cubicBezTo>
                        <a:cubicBezTo>
                          <a:pt x="116665" y="451299"/>
                          <a:pt x="111317" y="451739"/>
                          <a:pt x="107205" y="452507"/>
                        </a:cubicBezTo>
                        <a:cubicBezTo>
                          <a:pt x="96461" y="436862"/>
                          <a:pt x="89117" y="455850"/>
                          <a:pt x="88785" y="466001"/>
                        </a:cubicBezTo>
                        <a:cubicBezTo>
                          <a:pt x="88905" y="468651"/>
                          <a:pt x="89919" y="472548"/>
                          <a:pt x="91906" y="475232"/>
                        </a:cubicBezTo>
                        <a:cubicBezTo>
                          <a:pt x="92883" y="479564"/>
                          <a:pt x="96426" y="484475"/>
                          <a:pt x="100361" y="485437"/>
                        </a:cubicBezTo>
                        <a:cubicBezTo>
                          <a:pt x="105489" y="486437"/>
                          <a:pt x="108624" y="478819"/>
                          <a:pt x="110689" y="475152"/>
                        </a:cubicBezTo>
                        <a:cubicBezTo>
                          <a:pt x="113904" y="476612"/>
                          <a:pt x="118073" y="475184"/>
                          <a:pt x="120017" y="472297"/>
                        </a:cubicBezTo>
                        <a:cubicBezTo>
                          <a:pt x="122279" y="475058"/>
                          <a:pt x="124529" y="477762"/>
                          <a:pt x="127267" y="480129"/>
                        </a:cubicBezTo>
                        <a:cubicBezTo>
                          <a:pt x="127076" y="481420"/>
                          <a:pt x="127827" y="482988"/>
                          <a:pt x="129514" y="483173"/>
                        </a:cubicBezTo>
                        <a:cubicBezTo>
                          <a:pt x="134180" y="483681"/>
                          <a:pt x="139265" y="483293"/>
                          <a:pt x="141752" y="478687"/>
                        </a:cubicBezTo>
                        <a:cubicBezTo>
                          <a:pt x="143834" y="473967"/>
                          <a:pt x="144493" y="468528"/>
                          <a:pt x="144448" y="463400"/>
                        </a:cubicBezTo>
                        <a:lnTo>
                          <a:pt x="144482" y="463400"/>
                        </a:lnTo>
                        <a:lnTo>
                          <a:pt x="145141" y="445785"/>
                        </a:lnTo>
                        <a:cubicBezTo>
                          <a:pt x="167370" y="468160"/>
                          <a:pt x="138977" y="515638"/>
                          <a:pt x="122290" y="478428"/>
                        </a:cubicBezTo>
                        <a:cubicBezTo>
                          <a:pt x="121865" y="477180"/>
                          <a:pt x="120508" y="476514"/>
                          <a:pt x="119263" y="476940"/>
                        </a:cubicBezTo>
                        <a:cubicBezTo>
                          <a:pt x="118016" y="477365"/>
                          <a:pt x="117350" y="478722"/>
                          <a:pt x="117776" y="479969"/>
                        </a:cubicBezTo>
                        <a:cubicBezTo>
                          <a:pt x="121311" y="490317"/>
                          <a:pt x="128620" y="496745"/>
                          <a:pt x="136852" y="496745"/>
                        </a:cubicBezTo>
                        <a:cubicBezTo>
                          <a:pt x="142674" y="496745"/>
                          <a:pt x="148085" y="493541"/>
                          <a:pt x="152086" y="487725"/>
                        </a:cubicBezTo>
                        <a:cubicBezTo>
                          <a:pt x="163824" y="471523"/>
                          <a:pt x="156023" y="445974"/>
                          <a:pt x="145373" y="439601"/>
                        </a:cubicBezTo>
                        <a:lnTo>
                          <a:pt x="147614" y="379652"/>
                        </a:lnTo>
                        <a:cubicBezTo>
                          <a:pt x="155695" y="380837"/>
                          <a:pt x="163733" y="383282"/>
                          <a:pt x="171907" y="383356"/>
                        </a:cubicBezTo>
                        <a:cubicBezTo>
                          <a:pt x="198402" y="443926"/>
                          <a:pt x="197220" y="547992"/>
                          <a:pt x="165092" y="596919"/>
                        </a:cubicBezTo>
                        <a:cubicBezTo>
                          <a:pt x="164880" y="596348"/>
                          <a:pt x="164395" y="595880"/>
                          <a:pt x="163576" y="595708"/>
                        </a:cubicBezTo>
                        <a:cubicBezTo>
                          <a:pt x="151026" y="592899"/>
                          <a:pt x="138183" y="591185"/>
                          <a:pt x="125782" y="587808"/>
                        </a:cubicBezTo>
                        <a:cubicBezTo>
                          <a:pt x="117056" y="586100"/>
                          <a:pt x="103011" y="579110"/>
                          <a:pt x="97531" y="589601"/>
                        </a:cubicBezTo>
                        <a:cubicBezTo>
                          <a:pt x="95644" y="593827"/>
                          <a:pt x="96492" y="601485"/>
                          <a:pt x="101769" y="602618"/>
                        </a:cubicBezTo>
                        <a:cubicBezTo>
                          <a:pt x="105178" y="604520"/>
                          <a:pt x="109527" y="605119"/>
                          <a:pt x="113201" y="606267"/>
                        </a:cubicBezTo>
                        <a:cubicBezTo>
                          <a:pt x="119475" y="608220"/>
                          <a:pt x="125785" y="610085"/>
                          <a:pt x="132078" y="611947"/>
                        </a:cubicBezTo>
                        <a:cubicBezTo>
                          <a:pt x="137700" y="614245"/>
                          <a:pt x="143497" y="616592"/>
                          <a:pt x="149701" y="617021"/>
                        </a:cubicBezTo>
                        <a:cubicBezTo>
                          <a:pt x="136792" y="629921"/>
                          <a:pt x="121608" y="636914"/>
                          <a:pt x="104621" y="635852"/>
                        </a:cubicBezTo>
                        <a:lnTo>
                          <a:pt x="104644" y="635817"/>
                        </a:lnTo>
                        <a:cubicBezTo>
                          <a:pt x="18241" y="573982"/>
                          <a:pt x="-5707" y="401116"/>
                          <a:pt x="49901" y="320501"/>
                        </a:cubicBezTo>
                        <a:lnTo>
                          <a:pt x="49893" y="320498"/>
                        </a:lnTo>
                        <a:close/>
                        <a:moveTo>
                          <a:pt x="119769" y="294574"/>
                        </a:moveTo>
                        <a:cubicBezTo>
                          <a:pt x="119823" y="296859"/>
                          <a:pt x="119897" y="299143"/>
                          <a:pt x="119954" y="301427"/>
                        </a:cubicBezTo>
                        <a:cubicBezTo>
                          <a:pt x="103873" y="292784"/>
                          <a:pt x="85770" y="290931"/>
                          <a:pt x="69063" y="297333"/>
                        </a:cubicBezTo>
                        <a:cubicBezTo>
                          <a:pt x="83963" y="287111"/>
                          <a:pt x="102380" y="283561"/>
                          <a:pt x="119635" y="289084"/>
                        </a:cubicBezTo>
                        <a:cubicBezTo>
                          <a:pt x="119523" y="290905"/>
                          <a:pt x="119726" y="292830"/>
                          <a:pt x="119769" y="294574"/>
                        </a:cubicBezTo>
                        <a:close/>
                        <a:moveTo>
                          <a:pt x="158502" y="618151"/>
                        </a:moveTo>
                        <a:cubicBezTo>
                          <a:pt x="158641" y="618722"/>
                          <a:pt x="159070" y="619242"/>
                          <a:pt x="159795" y="619328"/>
                        </a:cubicBezTo>
                        <a:cubicBezTo>
                          <a:pt x="166505" y="620093"/>
                          <a:pt x="173198" y="621021"/>
                          <a:pt x="179922" y="621643"/>
                        </a:cubicBezTo>
                        <a:cubicBezTo>
                          <a:pt x="163453" y="640689"/>
                          <a:pt x="144739" y="647873"/>
                          <a:pt x="120631" y="641011"/>
                        </a:cubicBezTo>
                        <a:cubicBezTo>
                          <a:pt x="134682" y="638179"/>
                          <a:pt x="147483" y="630178"/>
                          <a:pt x="158502" y="618151"/>
                        </a:cubicBezTo>
                        <a:close/>
                        <a:moveTo>
                          <a:pt x="151891" y="613951"/>
                        </a:moveTo>
                        <a:cubicBezTo>
                          <a:pt x="146195" y="611041"/>
                          <a:pt x="139611" y="609974"/>
                          <a:pt x="133360" y="609163"/>
                        </a:cubicBezTo>
                        <a:cubicBezTo>
                          <a:pt x="123307" y="606853"/>
                          <a:pt x="113550" y="603583"/>
                          <a:pt x="103639" y="600748"/>
                        </a:cubicBezTo>
                        <a:cubicBezTo>
                          <a:pt x="103422" y="599460"/>
                          <a:pt x="102437" y="598532"/>
                          <a:pt x="101923" y="597356"/>
                        </a:cubicBezTo>
                        <a:cubicBezTo>
                          <a:pt x="100601" y="594415"/>
                          <a:pt x="101215" y="590137"/>
                          <a:pt x="104618" y="589010"/>
                        </a:cubicBezTo>
                        <a:cubicBezTo>
                          <a:pt x="110226" y="587536"/>
                          <a:pt x="115931" y="590626"/>
                          <a:pt x="121445" y="591442"/>
                        </a:cubicBezTo>
                        <a:cubicBezTo>
                          <a:pt x="135433" y="593695"/>
                          <a:pt x="149056" y="598172"/>
                          <a:pt x="163107" y="600123"/>
                        </a:cubicBezTo>
                        <a:cubicBezTo>
                          <a:pt x="159758" y="605348"/>
                          <a:pt x="156154" y="610088"/>
                          <a:pt x="152317" y="614279"/>
                        </a:cubicBezTo>
                        <a:cubicBezTo>
                          <a:pt x="152203" y="614154"/>
                          <a:pt x="152063" y="614040"/>
                          <a:pt x="151891" y="613951"/>
                        </a:cubicBezTo>
                        <a:close/>
                        <a:moveTo>
                          <a:pt x="178192" y="618839"/>
                        </a:moveTo>
                        <a:cubicBezTo>
                          <a:pt x="172127" y="617988"/>
                          <a:pt x="166037" y="617309"/>
                          <a:pt x="159961" y="616515"/>
                        </a:cubicBezTo>
                        <a:cubicBezTo>
                          <a:pt x="163998" y="611909"/>
                          <a:pt x="167787" y="606756"/>
                          <a:pt x="171299" y="601108"/>
                        </a:cubicBezTo>
                        <a:cubicBezTo>
                          <a:pt x="177364" y="603880"/>
                          <a:pt x="184337" y="603983"/>
                          <a:pt x="190764" y="605613"/>
                        </a:cubicBezTo>
                        <a:lnTo>
                          <a:pt x="181598" y="619365"/>
                        </a:lnTo>
                        <a:cubicBezTo>
                          <a:pt x="180476" y="619088"/>
                          <a:pt x="179254" y="619008"/>
                          <a:pt x="178192" y="618839"/>
                        </a:cubicBezTo>
                        <a:close/>
                        <a:moveTo>
                          <a:pt x="190427" y="601439"/>
                        </a:moveTo>
                        <a:cubicBezTo>
                          <a:pt x="184585" y="600708"/>
                          <a:pt x="178735" y="598618"/>
                          <a:pt x="172750" y="598721"/>
                        </a:cubicBezTo>
                        <a:cubicBezTo>
                          <a:pt x="204924" y="549060"/>
                          <a:pt x="207705" y="447407"/>
                          <a:pt x="182621" y="384898"/>
                        </a:cubicBezTo>
                        <a:cubicBezTo>
                          <a:pt x="185248" y="386382"/>
                          <a:pt x="188625" y="386402"/>
                          <a:pt x="191552" y="387088"/>
                        </a:cubicBezTo>
                        <a:cubicBezTo>
                          <a:pt x="194368" y="387487"/>
                          <a:pt x="197189" y="388321"/>
                          <a:pt x="200018" y="388487"/>
                        </a:cubicBezTo>
                        <a:cubicBezTo>
                          <a:pt x="223980" y="452512"/>
                          <a:pt x="225154" y="553877"/>
                          <a:pt x="193154" y="601936"/>
                        </a:cubicBezTo>
                        <a:cubicBezTo>
                          <a:pt x="192277" y="601719"/>
                          <a:pt x="191355" y="601604"/>
                          <a:pt x="190427" y="601439"/>
                        </a:cubicBezTo>
                        <a:close/>
                        <a:moveTo>
                          <a:pt x="197226" y="384943"/>
                        </a:moveTo>
                        <a:cubicBezTo>
                          <a:pt x="193517" y="384769"/>
                          <a:pt x="184888" y="381800"/>
                          <a:pt x="182141" y="383607"/>
                        </a:cubicBezTo>
                        <a:cubicBezTo>
                          <a:pt x="179269" y="375898"/>
                          <a:pt x="176093" y="368551"/>
                          <a:pt x="172653" y="361624"/>
                        </a:cubicBezTo>
                        <a:cubicBezTo>
                          <a:pt x="178472" y="363434"/>
                          <a:pt x="184697" y="363828"/>
                          <a:pt x="190641" y="365207"/>
                        </a:cubicBezTo>
                        <a:cubicBezTo>
                          <a:pt x="193565" y="371569"/>
                          <a:pt x="196301" y="378228"/>
                          <a:pt x="198825" y="385155"/>
                        </a:cubicBezTo>
                        <a:cubicBezTo>
                          <a:pt x="198285" y="385078"/>
                          <a:pt x="197740" y="385026"/>
                          <a:pt x="197226" y="384943"/>
                        </a:cubicBezTo>
                        <a:close/>
                        <a:moveTo>
                          <a:pt x="181667" y="360099"/>
                        </a:moveTo>
                        <a:cubicBezTo>
                          <a:pt x="178706" y="359602"/>
                          <a:pt x="174209" y="357509"/>
                          <a:pt x="171545" y="359425"/>
                        </a:cubicBezTo>
                        <a:cubicBezTo>
                          <a:pt x="158362" y="333650"/>
                          <a:pt x="141452" y="313894"/>
                          <a:pt x="122761" y="302992"/>
                        </a:cubicBezTo>
                        <a:cubicBezTo>
                          <a:pt x="122456" y="298612"/>
                          <a:pt x="122330" y="294355"/>
                          <a:pt x="122204" y="289937"/>
                        </a:cubicBezTo>
                        <a:cubicBezTo>
                          <a:pt x="147600" y="298972"/>
                          <a:pt x="171442" y="325092"/>
                          <a:pt x="188962" y="361632"/>
                        </a:cubicBezTo>
                        <a:cubicBezTo>
                          <a:pt x="186518" y="361190"/>
                          <a:pt x="184120" y="360619"/>
                          <a:pt x="181667" y="360099"/>
                        </a:cubicBezTo>
                        <a:close/>
                        <a:moveTo>
                          <a:pt x="121730" y="464254"/>
                        </a:moveTo>
                        <a:cubicBezTo>
                          <a:pt x="121499" y="462423"/>
                          <a:pt x="121017" y="460170"/>
                          <a:pt x="120208" y="458115"/>
                        </a:cubicBezTo>
                        <a:cubicBezTo>
                          <a:pt x="121670" y="456875"/>
                          <a:pt x="122316" y="454985"/>
                          <a:pt x="122952" y="453126"/>
                        </a:cubicBezTo>
                        <a:cubicBezTo>
                          <a:pt x="123695" y="450556"/>
                          <a:pt x="125205" y="448346"/>
                          <a:pt x="126736" y="446208"/>
                        </a:cubicBezTo>
                        <a:cubicBezTo>
                          <a:pt x="139334" y="448144"/>
                          <a:pt x="141749" y="464722"/>
                          <a:pt x="138171" y="474870"/>
                        </a:cubicBezTo>
                        <a:cubicBezTo>
                          <a:pt x="137021" y="478704"/>
                          <a:pt x="133774" y="478813"/>
                          <a:pt x="130419" y="478496"/>
                        </a:cubicBezTo>
                        <a:cubicBezTo>
                          <a:pt x="127844" y="475270"/>
                          <a:pt x="124046" y="473025"/>
                          <a:pt x="121162" y="470050"/>
                        </a:cubicBezTo>
                        <a:cubicBezTo>
                          <a:pt x="121819" y="468203"/>
                          <a:pt x="121970" y="466150"/>
                          <a:pt x="121730" y="464254"/>
                        </a:cubicBezTo>
                        <a:close/>
                        <a:moveTo>
                          <a:pt x="125648" y="342804"/>
                        </a:moveTo>
                        <a:cubicBezTo>
                          <a:pt x="125008" y="333844"/>
                          <a:pt x="124412" y="324878"/>
                          <a:pt x="123698" y="315924"/>
                        </a:cubicBezTo>
                        <a:cubicBezTo>
                          <a:pt x="136758" y="324978"/>
                          <a:pt x="148773" y="338884"/>
                          <a:pt x="158927" y="356407"/>
                        </a:cubicBezTo>
                        <a:cubicBezTo>
                          <a:pt x="147911" y="355039"/>
                          <a:pt x="137118" y="352044"/>
                          <a:pt x="126036" y="351259"/>
                        </a:cubicBezTo>
                        <a:cubicBezTo>
                          <a:pt x="126490" y="348515"/>
                          <a:pt x="125768" y="345577"/>
                          <a:pt x="125648" y="342804"/>
                        </a:cubicBezTo>
                        <a:close/>
                        <a:moveTo>
                          <a:pt x="139159" y="448364"/>
                        </a:moveTo>
                        <a:cubicBezTo>
                          <a:pt x="136761" y="445066"/>
                          <a:pt x="133420" y="442941"/>
                          <a:pt x="129594" y="441973"/>
                        </a:cubicBezTo>
                        <a:cubicBezTo>
                          <a:pt x="130108" y="420107"/>
                          <a:pt x="130622" y="398238"/>
                          <a:pt x="131136" y="376372"/>
                        </a:cubicBezTo>
                        <a:cubicBezTo>
                          <a:pt x="134996" y="377385"/>
                          <a:pt x="138962" y="378016"/>
                          <a:pt x="142871" y="378770"/>
                        </a:cubicBezTo>
                        <a:lnTo>
                          <a:pt x="140210" y="449948"/>
                        </a:lnTo>
                        <a:cubicBezTo>
                          <a:pt x="139879" y="449397"/>
                          <a:pt x="139528" y="448869"/>
                          <a:pt x="139159" y="448364"/>
                        </a:cubicBezTo>
                        <a:close/>
                        <a:moveTo>
                          <a:pt x="141147" y="375409"/>
                        </a:moveTo>
                        <a:cubicBezTo>
                          <a:pt x="137632" y="374773"/>
                          <a:pt x="134103" y="374070"/>
                          <a:pt x="130559" y="373608"/>
                        </a:cubicBezTo>
                        <a:cubicBezTo>
                          <a:pt x="130254" y="373302"/>
                          <a:pt x="129862" y="373102"/>
                          <a:pt x="129437" y="373005"/>
                        </a:cubicBezTo>
                        <a:cubicBezTo>
                          <a:pt x="128492" y="366992"/>
                          <a:pt x="127575" y="360944"/>
                          <a:pt x="127709" y="354834"/>
                        </a:cubicBezTo>
                        <a:cubicBezTo>
                          <a:pt x="138169" y="356541"/>
                          <a:pt x="148551" y="357780"/>
                          <a:pt x="158953" y="359742"/>
                        </a:cubicBezTo>
                        <a:cubicBezTo>
                          <a:pt x="159618" y="359865"/>
                          <a:pt x="160158" y="359622"/>
                          <a:pt x="160520" y="359222"/>
                        </a:cubicBezTo>
                        <a:cubicBezTo>
                          <a:pt x="164272" y="365975"/>
                          <a:pt x="167756" y="373231"/>
                          <a:pt x="170925" y="380926"/>
                        </a:cubicBezTo>
                        <a:cubicBezTo>
                          <a:pt x="161243" y="378185"/>
                          <a:pt x="150978" y="377577"/>
                          <a:pt x="141147" y="375409"/>
                        </a:cubicBezTo>
                        <a:close/>
                        <a:moveTo>
                          <a:pt x="110349" y="458243"/>
                        </a:moveTo>
                        <a:cubicBezTo>
                          <a:pt x="109855" y="457207"/>
                          <a:pt x="109347" y="456170"/>
                          <a:pt x="108796" y="455156"/>
                        </a:cubicBezTo>
                        <a:cubicBezTo>
                          <a:pt x="113144" y="454591"/>
                          <a:pt x="116180" y="455391"/>
                          <a:pt x="117170" y="459731"/>
                        </a:cubicBezTo>
                        <a:cubicBezTo>
                          <a:pt x="119926" y="465953"/>
                          <a:pt x="119783" y="472109"/>
                          <a:pt x="111631" y="472731"/>
                        </a:cubicBezTo>
                        <a:cubicBezTo>
                          <a:pt x="113210" y="467826"/>
                          <a:pt x="112682" y="463154"/>
                          <a:pt x="110349" y="458243"/>
                        </a:cubicBezTo>
                        <a:close/>
                        <a:moveTo>
                          <a:pt x="96960" y="478245"/>
                        </a:moveTo>
                        <a:cubicBezTo>
                          <a:pt x="107442" y="478456"/>
                          <a:pt x="106728" y="451653"/>
                          <a:pt x="93794" y="455005"/>
                        </a:cubicBezTo>
                        <a:cubicBezTo>
                          <a:pt x="95370" y="451633"/>
                          <a:pt x="98831" y="447241"/>
                          <a:pt x="102197" y="451496"/>
                        </a:cubicBezTo>
                        <a:cubicBezTo>
                          <a:pt x="105772" y="455550"/>
                          <a:pt x="108710" y="460730"/>
                          <a:pt x="109472" y="466130"/>
                        </a:cubicBezTo>
                        <a:cubicBezTo>
                          <a:pt x="109861" y="471729"/>
                          <a:pt x="107088" y="476997"/>
                          <a:pt x="103656" y="481220"/>
                        </a:cubicBezTo>
                        <a:cubicBezTo>
                          <a:pt x="101263" y="484949"/>
                          <a:pt x="97640" y="480706"/>
                          <a:pt x="96323" y="478185"/>
                        </a:cubicBezTo>
                        <a:cubicBezTo>
                          <a:pt x="96532" y="478216"/>
                          <a:pt x="96743" y="478239"/>
                          <a:pt x="96960" y="478245"/>
                        </a:cubicBezTo>
                        <a:close/>
                        <a:moveTo>
                          <a:pt x="92497" y="466001"/>
                        </a:moveTo>
                        <a:cubicBezTo>
                          <a:pt x="92292" y="463169"/>
                          <a:pt x="92669" y="461144"/>
                          <a:pt x="93968" y="458340"/>
                        </a:cubicBezTo>
                        <a:cubicBezTo>
                          <a:pt x="98337" y="458160"/>
                          <a:pt x="99693" y="461170"/>
                          <a:pt x="99810" y="465085"/>
                        </a:cubicBezTo>
                        <a:cubicBezTo>
                          <a:pt x="99930" y="466669"/>
                          <a:pt x="99847" y="475923"/>
                          <a:pt x="96392" y="473962"/>
                        </a:cubicBezTo>
                        <a:cubicBezTo>
                          <a:pt x="93948" y="472577"/>
                          <a:pt x="92749" y="468588"/>
                          <a:pt x="92497" y="466001"/>
                        </a:cubicBezTo>
                        <a:close/>
                        <a:moveTo>
                          <a:pt x="197674" y="624473"/>
                        </a:moveTo>
                        <a:cubicBezTo>
                          <a:pt x="165757" y="671712"/>
                          <a:pt x="120228" y="670664"/>
                          <a:pt x="79725" y="634604"/>
                        </a:cubicBezTo>
                        <a:cubicBezTo>
                          <a:pt x="89496" y="639661"/>
                          <a:pt x="99707" y="642310"/>
                          <a:pt x="110095" y="642150"/>
                        </a:cubicBezTo>
                        <a:cubicBezTo>
                          <a:pt x="149253" y="656519"/>
                          <a:pt x="175302" y="641020"/>
                          <a:pt x="196212" y="604563"/>
                        </a:cubicBezTo>
                        <a:cubicBezTo>
                          <a:pt x="245201" y="523799"/>
                          <a:pt x="223521" y="348892"/>
                          <a:pt x="136872" y="292516"/>
                        </a:cubicBezTo>
                        <a:cubicBezTo>
                          <a:pt x="108373" y="274967"/>
                          <a:pt x="75305" y="281445"/>
                          <a:pt x="53539" y="305725"/>
                        </a:cubicBezTo>
                        <a:lnTo>
                          <a:pt x="53573" y="305756"/>
                        </a:lnTo>
                        <a:cubicBezTo>
                          <a:pt x="43848" y="312769"/>
                          <a:pt x="35116" y="322574"/>
                          <a:pt x="27641" y="334606"/>
                        </a:cubicBezTo>
                        <a:cubicBezTo>
                          <a:pt x="59352" y="256752"/>
                          <a:pt x="125871" y="245582"/>
                          <a:pt x="179860" y="316358"/>
                        </a:cubicBezTo>
                        <a:cubicBezTo>
                          <a:pt x="239562" y="393484"/>
                          <a:pt x="254815" y="542990"/>
                          <a:pt x="197674" y="624473"/>
                        </a:cubicBezTo>
                        <a:close/>
                        <a:moveTo>
                          <a:pt x="308821" y="446450"/>
                        </a:moveTo>
                        <a:cubicBezTo>
                          <a:pt x="309729" y="479221"/>
                          <a:pt x="309864" y="512049"/>
                          <a:pt x="311368" y="544792"/>
                        </a:cubicBezTo>
                        <a:cubicBezTo>
                          <a:pt x="304370" y="542293"/>
                          <a:pt x="297903" y="548035"/>
                          <a:pt x="292743" y="552147"/>
                        </a:cubicBezTo>
                        <a:cubicBezTo>
                          <a:pt x="291541" y="552244"/>
                          <a:pt x="290967" y="553546"/>
                          <a:pt x="290873" y="554585"/>
                        </a:cubicBezTo>
                        <a:cubicBezTo>
                          <a:pt x="262585" y="544860"/>
                          <a:pt x="257488" y="567243"/>
                          <a:pt x="248948" y="588110"/>
                        </a:cubicBezTo>
                        <a:cubicBezTo>
                          <a:pt x="245832" y="594583"/>
                          <a:pt x="243834" y="605442"/>
                          <a:pt x="236627" y="608163"/>
                        </a:cubicBezTo>
                        <a:cubicBezTo>
                          <a:pt x="228777" y="608763"/>
                          <a:pt x="221011" y="606110"/>
                          <a:pt x="213179" y="605653"/>
                        </a:cubicBezTo>
                        <a:cubicBezTo>
                          <a:pt x="241475" y="549997"/>
                          <a:pt x="243057" y="479967"/>
                          <a:pt x="229017" y="417757"/>
                        </a:cubicBezTo>
                        <a:cubicBezTo>
                          <a:pt x="247863" y="420635"/>
                          <a:pt x="266962" y="423228"/>
                          <a:pt x="286019" y="423739"/>
                        </a:cubicBezTo>
                        <a:cubicBezTo>
                          <a:pt x="286938" y="424470"/>
                          <a:pt x="288209" y="424850"/>
                          <a:pt x="289434" y="424361"/>
                        </a:cubicBezTo>
                        <a:cubicBezTo>
                          <a:pt x="295915" y="424541"/>
                          <a:pt x="302354" y="425549"/>
                          <a:pt x="308807" y="425992"/>
                        </a:cubicBezTo>
                        <a:cubicBezTo>
                          <a:pt x="308062" y="432733"/>
                          <a:pt x="308696" y="439712"/>
                          <a:pt x="308821" y="446450"/>
                        </a:cubicBezTo>
                        <a:close/>
                        <a:moveTo>
                          <a:pt x="285145" y="410847"/>
                        </a:moveTo>
                        <a:cubicBezTo>
                          <a:pt x="283414" y="413623"/>
                          <a:pt x="282615" y="417229"/>
                          <a:pt x="283791" y="420430"/>
                        </a:cubicBezTo>
                        <a:cubicBezTo>
                          <a:pt x="265386" y="418157"/>
                          <a:pt x="246758" y="417006"/>
                          <a:pt x="228346" y="414839"/>
                        </a:cubicBezTo>
                        <a:cubicBezTo>
                          <a:pt x="226647" y="407626"/>
                          <a:pt x="224731" y="400545"/>
                          <a:pt x="222604" y="393632"/>
                        </a:cubicBezTo>
                        <a:cubicBezTo>
                          <a:pt x="243134" y="397161"/>
                          <a:pt x="263921" y="399046"/>
                          <a:pt x="284482" y="402424"/>
                        </a:cubicBezTo>
                        <a:cubicBezTo>
                          <a:pt x="285676" y="404825"/>
                          <a:pt x="285756" y="407178"/>
                          <a:pt x="286610" y="409642"/>
                        </a:cubicBezTo>
                        <a:cubicBezTo>
                          <a:pt x="286041" y="409928"/>
                          <a:pt x="285530" y="410313"/>
                          <a:pt x="285145" y="410847"/>
                        </a:cubicBezTo>
                        <a:close/>
                        <a:moveTo>
                          <a:pt x="236570" y="630626"/>
                        </a:moveTo>
                        <a:cubicBezTo>
                          <a:pt x="224940" y="629456"/>
                          <a:pt x="213530" y="626612"/>
                          <a:pt x="201946" y="625036"/>
                        </a:cubicBezTo>
                        <a:lnTo>
                          <a:pt x="211243" y="609131"/>
                        </a:lnTo>
                        <a:cubicBezTo>
                          <a:pt x="217456" y="611547"/>
                          <a:pt x="224446" y="611755"/>
                          <a:pt x="231010" y="612780"/>
                        </a:cubicBezTo>
                        <a:cubicBezTo>
                          <a:pt x="235402" y="613640"/>
                          <a:pt x="239816" y="612735"/>
                          <a:pt x="243134" y="609605"/>
                        </a:cubicBezTo>
                        <a:cubicBezTo>
                          <a:pt x="254373" y="596922"/>
                          <a:pt x="254061" y="577682"/>
                          <a:pt x="264366" y="564311"/>
                        </a:cubicBezTo>
                        <a:cubicBezTo>
                          <a:pt x="271656" y="554440"/>
                          <a:pt x="280511" y="555942"/>
                          <a:pt x="290858" y="559217"/>
                        </a:cubicBezTo>
                        <a:cubicBezTo>
                          <a:pt x="290875" y="560193"/>
                          <a:pt x="290893" y="561167"/>
                          <a:pt x="290901" y="562144"/>
                        </a:cubicBezTo>
                        <a:cubicBezTo>
                          <a:pt x="289245" y="563314"/>
                          <a:pt x="291686" y="564199"/>
                          <a:pt x="292769" y="564371"/>
                        </a:cubicBezTo>
                        <a:cubicBezTo>
                          <a:pt x="291369" y="565247"/>
                          <a:pt x="292443" y="571298"/>
                          <a:pt x="292109" y="573225"/>
                        </a:cubicBezTo>
                        <a:cubicBezTo>
                          <a:pt x="269386" y="567255"/>
                          <a:pt x="266942" y="586134"/>
                          <a:pt x="261017" y="602484"/>
                        </a:cubicBezTo>
                        <a:cubicBezTo>
                          <a:pt x="258025" y="608968"/>
                          <a:pt x="256303" y="616073"/>
                          <a:pt x="253036" y="622417"/>
                        </a:cubicBezTo>
                        <a:cubicBezTo>
                          <a:pt x="250001" y="625227"/>
                          <a:pt x="245667" y="626697"/>
                          <a:pt x="242623" y="629664"/>
                        </a:cubicBezTo>
                        <a:cubicBezTo>
                          <a:pt x="240741" y="630369"/>
                          <a:pt x="238751" y="630758"/>
                          <a:pt x="236570" y="630626"/>
                        </a:cubicBezTo>
                        <a:close/>
                        <a:moveTo>
                          <a:pt x="296649" y="591539"/>
                        </a:moveTo>
                        <a:cubicBezTo>
                          <a:pt x="294819" y="594349"/>
                          <a:pt x="293165" y="597516"/>
                          <a:pt x="292694" y="600891"/>
                        </a:cubicBezTo>
                        <a:cubicBezTo>
                          <a:pt x="289822" y="606564"/>
                          <a:pt x="287412" y="612429"/>
                          <a:pt x="284988" y="618300"/>
                        </a:cubicBezTo>
                        <a:cubicBezTo>
                          <a:pt x="275622" y="616689"/>
                          <a:pt x="265283" y="617843"/>
                          <a:pt x="256706" y="621329"/>
                        </a:cubicBezTo>
                        <a:cubicBezTo>
                          <a:pt x="261031" y="609688"/>
                          <a:pt x="265888" y="598449"/>
                          <a:pt x="271259" y="587276"/>
                        </a:cubicBezTo>
                        <a:cubicBezTo>
                          <a:pt x="275040" y="576717"/>
                          <a:pt x="281824" y="575292"/>
                          <a:pt x="292152" y="576843"/>
                        </a:cubicBezTo>
                        <a:cubicBezTo>
                          <a:pt x="292734" y="581708"/>
                          <a:pt x="290447" y="589829"/>
                          <a:pt x="296649" y="591539"/>
                        </a:cubicBezTo>
                        <a:close/>
                        <a:moveTo>
                          <a:pt x="325397" y="670667"/>
                        </a:moveTo>
                        <a:cubicBezTo>
                          <a:pt x="324237" y="735201"/>
                          <a:pt x="228338" y="735192"/>
                          <a:pt x="227187" y="670664"/>
                        </a:cubicBezTo>
                        <a:cubicBezTo>
                          <a:pt x="226936" y="641048"/>
                          <a:pt x="254167" y="617563"/>
                          <a:pt x="283409" y="622080"/>
                        </a:cubicBezTo>
                        <a:cubicBezTo>
                          <a:pt x="281930" y="625627"/>
                          <a:pt x="280456" y="629179"/>
                          <a:pt x="278992" y="632731"/>
                        </a:cubicBezTo>
                        <a:cubicBezTo>
                          <a:pt x="227307" y="630178"/>
                          <a:pt x="224563" y="707581"/>
                          <a:pt x="276293" y="708700"/>
                        </a:cubicBezTo>
                        <a:cubicBezTo>
                          <a:pt x="310849" y="709468"/>
                          <a:pt x="327532" y="663883"/>
                          <a:pt x="301377" y="642088"/>
                        </a:cubicBezTo>
                        <a:cubicBezTo>
                          <a:pt x="302839" y="638536"/>
                          <a:pt x="304307" y="634984"/>
                          <a:pt x="305789" y="631437"/>
                        </a:cubicBezTo>
                        <a:cubicBezTo>
                          <a:pt x="317690" y="640406"/>
                          <a:pt x="325397" y="654651"/>
                          <a:pt x="325397" y="670667"/>
                        </a:cubicBezTo>
                        <a:close/>
                        <a:moveTo>
                          <a:pt x="260486" y="683182"/>
                        </a:moveTo>
                        <a:cubicBezTo>
                          <a:pt x="261757" y="683693"/>
                          <a:pt x="263164" y="683847"/>
                          <a:pt x="264509" y="684056"/>
                        </a:cubicBezTo>
                        <a:cubicBezTo>
                          <a:pt x="262773" y="686651"/>
                          <a:pt x="259578" y="694840"/>
                          <a:pt x="257242" y="691020"/>
                        </a:cubicBezTo>
                        <a:cubicBezTo>
                          <a:pt x="257242" y="691020"/>
                          <a:pt x="248365" y="675050"/>
                          <a:pt x="247631" y="672186"/>
                        </a:cubicBezTo>
                        <a:cubicBezTo>
                          <a:pt x="246897" y="669322"/>
                          <a:pt x="249964" y="668939"/>
                          <a:pt x="249964" y="668939"/>
                        </a:cubicBezTo>
                        <a:lnTo>
                          <a:pt x="262665" y="672263"/>
                        </a:lnTo>
                        <a:cubicBezTo>
                          <a:pt x="261508" y="674996"/>
                          <a:pt x="260343" y="677725"/>
                          <a:pt x="259161" y="680449"/>
                        </a:cubicBezTo>
                        <a:cubicBezTo>
                          <a:pt x="258544" y="681868"/>
                          <a:pt x="259430" y="682968"/>
                          <a:pt x="260486" y="683182"/>
                        </a:cubicBezTo>
                        <a:close/>
                        <a:moveTo>
                          <a:pt x="251752" y="661338"/>
                        </a:moveTo>
                        <a:cubicBezTo>
                          <a:pt x="247446" y="660191"/>
                          <a:pt x="249741" y="657895"/>
                          <a:pt x="249741" y="657895"/>
                        </a:cubicBezTo>
                        <a:cubicBezTo>
                          <a:pt x="249741" y="657895"/>
                          <a:pt x="262944" y="645266"/>
                          <a:pt x="265529" y="643829"/>
                        </a:cubicBezTo>
                        <a:cubicBezTo>
                          <a:pt x="268113" y="642393"/>
                          <a:pt x="269261" y="645266"/>
                          <a:pt x="269261" y="645266"/>
                        </a:cubicBezTo>
                        <a:lnTo>
                          <a:pt x="269261" y="656419"/>
                        </a:lnTo>
                        <a:cubicBezTo>
                          <a:pt x="268178" y="659054"/>
                          <a:pt x="267090" y="661690"/>
                          <a:pt x="266000" y="664319"/>
                        </a:cubicBezTo>
                        <a:cubicBezTo>
                          <a:pt x="261897" y="664485"/>
                          <a:pt x="255398" y="662309"/>
                          <a:pt x="251752" y="661338"/>
                        </a:cubicBezTo>
                        <a:close/>
                        <a:moveTo>
                          <a:pt x="292069" y="691271"/>
                        </a:moveTo>
                        <a:cubicBezTo>
                          <a:pt x="294679" y="694883"/>
                          <a:pt x="291447" y="695209"/>
                          <a:pt x="291447" y="695209"/>
                        </a:cubicBezTo>
                        <a:cubicBezTo>
                          <a:pt x="291447" y="695209"/>
                          <a:pt x="273232" y="696645"/>
                          <a:pt x="270323" y="696125"/>
                        </a:cubicBezTo>
                        <a:cubicBezTo>
                          <a:pt x="267413" y="695603"/>
                          <a:pt x="268338" y="692653"/>
                          <a:pt x="268338" y="692653"/>
                        </a:cubicBezTo>
                        <a:lnTo>
                          <a:pt x="275220" y="684221"/>
                        </a:lnTo>
                        <a:cubicBezTo>
                          <a:pt x="278629" y="684121"/>
                          <a:pt x="282484" y="684033"/>
                          <a:pt x="285028" y="681906"/>
                        </a:cubicBezTo>
                        <a:cubicBezTo>
                          <a:pt x="287678" y="684747"/>
                          <a:pt x="290324" y="688858"/>
                          <a:pt x="292069" y="691271"/>
                        </a:cubicBezTo>
                        <a:close/>
                        <a:moveTo>
                          <a:pt x="287857" y="674684"/>
                        </a:moveTo>
                        <a:cubicBezTo>
                          <a:pt x="288608" y="672834"/>
                          <a:pt x="289362" y="670987"/>
                          <a:pt x="290122" y="669139"/>
                        </a:cubicBezTo>
                        <a:cubicBezTo>
                          <a:pt x="293348" y="666778"/>
                          <a:pt x="298222" y="664608"/>
                          <a:pt x="301041" y="663157"/>
                        </a:cubicBezTo>
                        <a:cubicBezTo>
                          <a:pt x="305004" y="661119"/>
                          <a:pt x="304841" y="664362"/>
                          <a:pt x="304841" y="664362"/>
                        </a:cubicBezTo>
                        <a:cubicBezTo>
                          <a:pt x="304841" y="664362"/>
                          <a:pt x="303530" y="682588"/>
                          <a:pt x="302577" y="685383"/>
                        </a:cubicBezTo>
                        <a:cubicBezTo>
                          <a:pt x="301626" y="688182"/>
                          <a:pt x="298848" y="686825"/>
                          <a:pt x="298848" y="686825"/>
                        </a:cubicBezTo>
                        <a:lnTo>
                          <a:pt x="287857" y="674684"/>
                        </a:lnTo>
                        <a:close/>
                        <a:moveTo>
                          <a:pt x="312436" y="606082"/>
                        </a:moveTo>
                        <a:cubicBezTo>
                          <a:pt x="301155" y="630058"/>
                          <a:pt x="292080" y="654982"/>
                          <a:pt x="282349" y="679601"/>
                        </a:cubicBezTo>
                        <a:cubicBezTo>
                          <a:pt x="275882" y="679721"/>
                          <a:pt x="269420" y="680772"/>
                          <a:pt x="262962" y="680972"/>
                        </a:cubicBezTo>
                        <a:cubicBezTo>
                          <a:pt x="273032" y="654697"/>
                          <a:pt x="284968" y="629153"/>
                          <a:pt x="294545" y="602695"/>
                        </a:cubicBezTo>
                        <a:cubicBezTo>
                          <a:pt x="300432" y="604548"/>
                          <a:pt x="306874" y="604420"/>
                          <a:pt x="312930" y="605191"/>
                        </a:cubicBezTo>
                        <a:cubicBezTo>
                          <a:pt x="312762" y="605482"/>
                          <a:pt x="312593" y="605776"/>
                          <a:pt x="312436" y="606082"/>
                        </a:cubicBezTo>
                        <a:close/>
                        <a:moveTo>
                          <a:pt x="314558" y="596368"/>
                        </a:moveTo>
                        <a:cubicBezTo>
                          <a:pt x="314272" y="598012"/>
                          <a:pt x="314064" y="599663"/>
                          <a:pt x="313872" y="601316"/>
                        </a:cubicBezTo>
                        <a:cubicBezTo>
                          <a:pt x="308199" y="600234"/>
                          <a:pt x="302611" y="599260"/>
                          <a:pt x="296703" y="599189"/>
                        </a:cubicBezTo>
                        <a:cubicBezTo>
                          <a:pt x="297677" y="596856"/>
                          <a:pt x="298753" y="594677"/>
                          <a:pt x="299067" y="592150"/>
                        </a:cubicBezTo>
                        <a:cubicBezTo>
                          <a:pt x="304487" y="593167"/>
                          <a:pt x="309801" y="593547"/>
                          <a:pt x="315380" y="592684"/>
                        </a:cubicBezTo>
                        <a:cubicBezTo>
                          <a:pt x="314958" y="593926"/>
                          <a:pt x="314746" y="595289"/>
                          <a:pt x="314558" y="596368"/>
                        </a:cubicBezTo>
                        <a:close/>
                        <a:moveTo>
                          <a:pt x="316939" y="571506"/>
                        </a:moveTo>
                        <a:cubicBezTo>
                          <a:pt x="316565" y="577157"/>
                          <a:pt x="317030" y="583133"/>
                          <a:pt x="316357" y="588678"/>
                        </a:cubicBezTo>
                        <a:cubicBezTo>
                          <a:pt x="313573" y="590760"/>
                          <a:pt x="303562" y="589509"/>
                          <a:pt x="300027" y="588778"/>
                        </a:cubicBezTo>
                        <a:cubicBezTo>
                          <a:pt x="295927" y="588350"/>
                          <a:pt x="295792" y="587082"/>
                          <a:pt x="295961" y="583262"/>
                        </a:cubicBezTo>
                        <a:cubicBezTo>
                          <a:pt x="295467" y="577111"/>
                          <a:pt x="295441" y="570761"/>
                          <a:pt x="294376" y="564745"/>
                        </a:cubicBezTo>
                        <a:cubicBezTo>
                          <a:pt x="301966" y="565961"/>
                          <a:pt x="309507" y="565778"/>
                          <a:pt x="317159" y="565087"/>
                        </a:cubicBezTo>
                        <a:cubicBezTo>
                          <a:pt x="316625" y="567072"/>
                          <a:pt x="316988" y="569685"/>
                          <a:pt x="316939" y="571506"/>
                        </a:cubicBezTo>
                        <a:close/>
                        <a:moveTo>
                          <a:pt x="318193" y="561090"/>
                        </a:moveTo>
                        <a:cubicBezTo>
                          <a:pt x="310109" y="562244"/>
                          <a:pt x="301983" y="562218"/>
                          <a:pt x="293836" y="561924"/>
                        </a:cubicBezTo>
                        <a:cubicBezTo>
                          <a:pt x="294325" y="559514"/>
                          <a:pt x="294787" y="556927"/>
                          <a:pt x="294527" y="554474"/>
                        </a:cubicBezTo>
                        <a:cubicBezTo>
                          <a:pt x="306163" y="547724"/>
                          <a:pt x="309130" y="543058"/>
                          <a:pt x="318935" y="556273"/>
                        </a:cubicBezTo>
                        <a:cubicBezTo>
                          <a:pt x="318555" y="557835"/>
                          <a:pt x="318141" y="559520"/>
                          <a:pt x="318193" y="561090"/>
                        </a:cubicBezTo>
                        <a:close/>
                        <a:moveTo>
                          <a:pt x="386804" y="634253"/>
                        </a:moveTo>
                        <a:cubicBezTo>
                          <a:pt x="384271" y="621986"/>
                          <a:pt x="381476" y="609645"/>
                          <a:pt x="383237" y="597090"/>
                        </a:cubicBezTo>
                        <a:cubicBezTo>
                          <a:pt x="385316" y="597424"/>
                          <a:pt x="387415" y="598212"/>
                          <a:pt x="389508" y="598281"/>
                        </a:cubicBezTo>
                        <a:cubicBezTo>
                          <a:pt x="392335" y="613197"/>
                          <a:pt x="395127" y="628122"/>
                          <a:pt x="397868" y="643056"/>
                        </a:cubicBezTo>
                        <a:cubicBezTo>
                          <a:pt x="394276" y="642710"/>
                          <a:pt x="390776" y="641642"/>
                          <a:pt x="387678" y="639843"/>
                        </a:cubicBezTo>
                        <a:cubicBezTo>
                          <a:pt x="387418" y="637976"/>
                          <a:pt x="387132" y="636114"/>
                          <a:pt x="386804" y="634253"/>
                        </a:cubicBezTo>
                        <a:close/>
                        <a:moveTo>
                          <a:pt x="390322" y="651953"/>
                        </a:moveTo>
                        <a:cubicBezTo>
                          <a:pt x="388980" y="649557"/>
                          <a:pt x="388546" y="646765"/>
                          <a:pt x="388226" y="644072"/>
                        </a:cubicBezTo>
                        <a:cubicBezTo>
                          <a:pt x="391387" y="645917"/>
                          <a:pt x="394916" y="647441"/>
                          <a:pt x="398688" y="647501"/>
                        </a:cubicBezTo>
                        <a:cubicBezTo>
                          <a:pt x="399353" y="651128"/>
                          <a:pt x="400013" y="654757"/>
                          <a:pt x="400664" y="658383"/>
                        </a:cubicBezTo>
                        <a:cubicBezTo>
                          <a:pt x="396398" y="657892"/>
                          <a:pt x="392520" y="655873"/>
                          <a:pt x="390322" y="651953"/>
                        </a:cubicBezTo>
                        <a:close/>
                        <a:moveTo>
                          <a:pt x="414524" y="684510"/>
                        </a:moveTo>
                        <a:cubicBezTo>
                          <a:pt x="414244" y="684578"/>
                          <a:pt x="413915" y="684638"/>
                          <a:pt x="413627" y="684572"/>
                        </a:cubicBezTo>
                        <a:cubicBezTo>
                          <a:pt x="413261" y="683245"/>
                          <a:pt x="412893" y="681914"/>
                          <a:pt x="412528" y="680586"/>
                        </a:cubicBezTo>
                        <a:cubicBezTo>
                          <a:pt x="413747" y="680529"/>
                          <a:pt x="414966" y="680489"/>
                          <a:pt x="416188" y="680475"/>
                        </a:cubicBezTo>
                        <a:cubicBezTo>
                          <a:pt x="416291" y="681166"/>
                          <a:pt x="416482" y="681897"/>
                          <a:pt x="416674" y="682579"/>
                        </a:cubicBezTo>
                        <a:cubicBezTo>
                          <a:pt x="416074" y="683310"/>
                          <a:pt x="415649" y="684236"/>
                          <a:pt x="414524" y="684510"/>
                        </a:cubicBezTo>
                        <a:close/>
                        <a:moveTo>
                          <a:pt x="408573" y="677603"/>
                        </a:moveTo>
                        <a:cubicBezTo>
                          <a:pt x="400484" y="626652"/>
                          <a:pt x="389956" y="576106"/>
                          <a:pt x="380294" y="525464"/>
                        </a:cubicBezTo>
                        <a:cubicBezTo>
                          <a:pt x="375788" y="503460"/>
                          <a:pt x="371879" y="481277"/>
                          <a:pt x="366191" y="459548"/>
                        </a:cubicBezTo>
                        <a:cubicBezTo>
                          <a:pt x="360178" y="443572"/>
                          <a:pt x="347394" y="423805"/>
                          <a:pt x="328229" y="424627"/>
                        </a:cubicBezTo>
                        <a:cubicBezTo>
                          <a:pt x="327818" y="424324"/>
                          <a:pt x="327161" y="424384"/>
                          <a:pt x="326824" y="424810"/>
                        </a:cubicBezTo>
                        <a:cubicBezTo>
                          <a:pt x="325037" y="424987"/>
                          <a:pt x="325080" y="427511"/>
                          <a:pt x="326459" y="428153"/>
                        </a:cubicBezTo>
                        <a:cubicBezTo>
                          <a:pt x="323598" y="472820"/>
                          <a:pt x="326347" y="517623"/>
                          <a:pt x="328912" y="562241"/>
                        </a:cubicBezTo>
                        <a:cubicBezTo>
                          <a:pt x="329091" y="564836"/>
                          <a:pt x="329114" y="567577"/>
                          <a:pt x="330105" y="570007"/>
                        </a:cubicBezTo>
                        <a:cubicBezTo>
                          <a:pt x="331342" y="571818"/>
                          <a:pt x="332469" y="570213"/>
                          <a:pt x="332461" y="568574"/>
                        </a:cubicBezTo>
                        <a:cubicBezTo>
                          <a:pt x="340499" y="571818"/>
                          <a:pt x="349339" y="572883"/>
                          <a:pt x="357788" y="574750"/>
                        </a:cubicBezTo>
                        <a:cubicBezTo>
                          <a:pt x="367070" y="576486"/>
                          <a:pt x="376447" y="578054"/>
                          <a:pt x="385830" y="578987"/>
                        </a:cubicBezTo>
                        <a:cubicBezTo>
                          <a:pt x="386849" y="584310"/>
                          <a:pt x="387866" y="589632"/>
                          <a:pt x="388871" y="594957"/>
                        </a:cubicBezTo>
                        <a:cubicBezTo>
                          <a:pt x="365911" y="589609"/>
                          <a:pt x="342874" y="584518"/>
                          <a:pt x="319814" y="579633"/>
                        </a:cubicBezTo>
                        <a:cubicBezTo>
                          <a:pt x="319723" y="574659"/>
                          <a:pt x="320428" y="569542"/>
                          <a:pt x="319914" y="564619"/>
                        </a:cubicBezTo>
                        <a:cubicBezTo>
                          <a:pt x="321776" y="564434"/>
                          <a:pt x="324169" y="563291"/>
                          <a:pt x="322370" y="561264"/>
                        </a:cubicBezTo>
                        <a:cubicBezTo>
                          <a:pt x="322593" y="559634"/>
                          <a:pt x="322256" y="557789"/>
                          <a:pt x="322019" y="556142"/>
                        </a:cubicBezTo>
                        <a:cubicBezTo>
                          <a:pt x="323683" y="554348"/>
                          <a:pt x="316517" y="547847"/>
                          <a:pt x="314943" y="546676"/>
                        </a:cubicBezTo>
                        <a:cubicBezTo>
                          <a:pt x="314849" y="509956"/>
                          <a:pt x="313150" y="473185"/>
                          <a:pt x="312182" y="436465"/>
                        </a:cubicBezTo>
                        <a:cubicBezTo>
                          <a:pt x="311882" y="434207"/>
                          <a:pt x="312282" y="422186"/>
                          <a:pt x="309786" y="422531"/>
                        </a:cubicBezTo>
                        <a:cubicBezTo>
                          <a:pt x="302908" y="421349"/>
                          <a:pt x="295530" y="420361"/>
                          <a:pt x="288611" y="421469"/>
                        </a:cubicBezTo>
                        <a:cubicBezTo>
                          <a:pt x="285165" y="418876"/>
                          <a:pt x="285961" y="414516"/>
                          <a:pt x="287817" y="411173"/>
                        </a:cubicBezTo>
                        <a:cubicBezTo>
                          <a:pt x="288414" y="411413"/>
                          <a:pt x="289257" y="410944"/>
                          <a:pt x="289251" y="410279"/>
                        </a:cubicBezTo>
                        <a:cubicBezTo>
                          <a:pt x="289496" y="410222"/>
                          <a:pt x="289813" y="410150"/>
                          <a:pt x="289902" y="409899"/>
                        </a:cubicBezTo>
                        <a:cubicBezTo>
                          <a:pt x="295181" y="410927"/>
                          <a:pt x="300641" y="410953"/>
                          <a:pt x="305906" y="412175"/>
                        </a:cubicBezTo>
                        <a:cubicBezTo>
                          <a:pt x="308239" y="412620"/>
                          <a:pt x="310480" y="413314"/>
                          <a:pt x="311602" y="410656"/>
                        </a:cubicBezTo>
                        <a:cubicBezTo>
                          <a:pt x="312382" y="408811"/>
                          <a:pt x="312859" y="405628"/>
                          <a:pt x="311428" y="403969"/>
                        </a:cubicBezTo>
                        <a:cubicBezTo>
                          <a:pt x="312519" y="400308"/>
                          <a:pt x="295852" y="400259"/>
                          <a:pt x="293008" y="399457"/>
                        </a:cubicBezTo>
                        <a:cubicBezTo>
                          <a:pt x="269300" y="396622"/>
                          <a:pt x="245624" y="393055"/>
                          <a:pt x="221827" y="391177"/>
                        </a:cubicBezTo>
                        <a:cubicBezTo>
                          <a:pt x="219406" y="383536"/>
                          <a:pt x="216725" y="376103"/>
                          <a:pt x="213798" y="368911"/>
                        </a:cubicBezTo>
                        <a:cubicBezTo>
                          <a:pt x="244342" y="374927"/>
                          <a:pt x="275397" y="378113"/>
                          <a:pt x="305920" y="384292"/>
                        </a:cubicBezTo>
                        <a:cubicBezTo>
                          <a:pt x="307399" y="384564"/>
                          <a:pt x="307842" y="383333"/>
                          <a:pt x="308170" y="382319"/>
                        </a:cubicBezTo>
                        <a:cubicBezTo>
                          <a:pt x="311328" y="374327"/>
                          <a:pt x="310209" y="364953"/>
                          <a:pt x="310209" y="356544"/>
                        </a:cubicBezTo>
                        <a:cubicBezTo>
                          <a:pt x="310209" y="348698"/>
                          <a:pt x="310138" y="340854"/>
                          <a:pt x="310192" y="333007"/>
                        </a:cubicBezTo>
                        <a:cubicBezTo>
                          <a:pt x="310549" y="310733"/>
                          <a:pt x="310820" y="288455"/>
                          <a:pt x="310306" y="266192"/>
                        </a:cubicBezTo>
                        <a:cubicBezTo>
                          <a:pt x="314324" y="266601"/>
                          <a:pt x="318313" y="266663"/>
                          <a:pt x="322339" y="266626"/>
                        </a:cubicBezTo>
                        <a:cubicBezTo>
                          <a:pt x="321645" y="271572"/>
                          <a:pt x="321582" y="277031"/>
                          <a:pt x="321830" y="281842"/>
                        </a:cubicBezTo>
                        <a:cubicBezTo>
                          <a:pt x="322933" y="325050"/>
                          <a:pt x="321593" y="368771"/>
                          <a:pt x="324826" y="411724"/>
                        </a:cubicBezTo>
                        <a:cubicBezTo>
                          <a:pt x="324329" y="412777"/>
                          <a:pt x="324963" y="414439"/>
                          <a:pt x="326390" y="414388"/>
                        </a:cubicBezTo>
                        <a:cubicBezTo>
                          <a:pt x="337209" y="414379"/>
                          <a:pt x="348488" y="418437"/>
                          <a:pt x="357485" y="424456"/>
                        </a:cubicBezTo>
                        <a:cubicBezTo>
                          <a:pt x="366054" y="432142"/>
                          <a:pt x="371362" y="443261"/>
                          <a:pt x="374243" y="454203"/>
                        </a:cubicBezTo>
                        <a:cubicBezTo>
                          <a:pt x="390087" y="527962"/>
                          <a:pt x="404230" y="602327"/>
                          <a:pt x="416816" y="676586"/>
                        </a:cubicBezTo>
                        <a:cubicBezTo>
                          <a:pt x="414041" y="676663"/>
                          <a:pt x="411286" y="677014"/>
                          <a:pt x="408573" y="677603"/>
                        </a:cubicBezTo>
                        <a:close/>
                        <a:moveTo>
                          <a:pt x="370097" y="514613"/>
                        </a:moveTo>
                        <a:cubicBezTo>
                          <a:pt x="367713" y="505131"/>
                          <a:pt x="363481" y="495500"/>
                          <a:pt x="360289" y="486611"/>
                        </a:cubicBezTo>
                        <a:cubicBezTo>
                          <a:pt x="355104" y="471686"/>
                          <a:pt x="353122" y="455876"/>
                          <a:pt x="350332" y="440283"/>
                        </a:cubicBezTo>
                        <a:cubicBezTo>
                          <a:pt x="355152" y="446131"/>
                          <a:pt x="358653" y="453038"/>
                          <a:pt x="361508" y="460025"/>
                        </a:cubicBezTo>
                        <a:cubicBezTo>
                          <a:pt x="369580" y="491893"/>
                          <a:pt x="374971" y="524442"/>
                          <a:pt x="381541" y="556656"/>
                        </a:cubicBezTo>
                        <a:cubicBezTo>
                          <a:pt x="372898" y="551679"/>
                          <a:pt x="368076" y="541751"/>
                          <a:pt x="368869" y="531891"/>
                        </a:cubicBezTo>
                        <a:cubicBezTo>
                          <a:pt x="369029" y="526574"/>
                          <a:pt x="369749" y="521169"/>
                          <a:pt x="370583" y="515921"/>
                        </a:cubicBezTo>
                        <a:cubicBezTo>
                          <a:pt x="370680" y="515324"/>
                          <a:pt x="370451" y="514870"/>
                          <a:pt x="370097" y="514613"/>
                        </a:cubicBezTo>
                        <a:close/>
                        <a:moveTo>
                          <a:pt x="354139" y="483878"/>
                        </a:moveTo>
                        <a:cubicBezTo>
                          <a:pt x="357477" y="493878"/>
                          <a:pt x="362331" y="506313"/>
                          <a:pt x="368273" y="515025"/>
                        </a:cubicBezTo>
                        <a:cubicBezTo>
                          <a:pt x="363681" y="525147"/>
                          <a:pt x="360729" y="536919"/>
                          <a:pt x="365688" y="547484"/>
                        </a:cubicBezTo>
                        <a:cubicBezTo>
                          <a:pt x="369066" y="554697"/>
                          <a:pt x="374974" y="561878"/>
                          <a:pt x="382980" y="564111"/>
                        </a:cubicBezTo>
                        <a:cubicBezTo>
                          <a:pt x="383743" y="568074"/>
                          <a:pt x="384505" y="572037"/>
                          <a:pt x="385265" y="576003"/>
                        </a:cubicBezTo>
                        <a:cubicBezTo>
                          <a:pt x="371571" y="573988"/>
                          <a:pt x="358008" y="571192"/>
                          <a:pt x="344485" y="568194"/>
                        </a:cubicBezTo>
                        <a:cubicBezTo>
                          <a:pt x="340553" y="567554"/>
                          <a:pt x="336675" y="565818"/>
                          <a:pt x="332649" y="566047"/>
                        </a:cubicBezTo>
                        <a:cubicBezTo>
                          <a:pt x="328609" y="520216"/>
                          <a:pt x="329388" y="474247"/>
                          <a:pt x="328620" y="428296"/>
                        </a:cubicBezTo>
                        <a:cubicBezTo>
                          <a:pt x="334451" y="428273"/>
                          <a:pt x="339956" y="430700"/>
                          <a:pt x="344405" y="434467"/>
                        </a:cubicBezTo>
                        <a:cubicBezTo>
                          <a:pt x="347109" y="450942"/>
                          <a:pt x="349561" y="467766"/>
                          <a:pt x="354139" y="483878"/>
                        </a:cubicBezTo>
                        <a:close/>
                        <a:moveTo>
                          <a:pt x="286912" y="402801"/>
                        </a:moveTo>
                        <a:cubicBezTo>
                          <a:pt x="293974" y="403820"/>
                          <a:pt x="301083" y="405365"/>
                          <a:pt x="308216" y="405927"/>
                        </a:cubicBezTo>
                        <a:cubicBezTo>
                          <a:pt x="308290" y="406464"/>
                          <a:pt x="308639" y="409322"/>
                          <a:pt x="308604" y="409619"/>
                        </a:cubicBezTo>
                        <a:cubicBezTo>
                          <a:pt x="302303" y="408994"/>
                          <a:pt x="295338" y="406790"/>
                          <a:pt x="288945" y="408400"/>
                        </a:cubicBezTo>
                        <a:cubicBezTo>
                          <a:pt x="288237" y="406547"/>
                          <a:pt x="287826" y="404574"/>
                          <a:pt x="286912" y="402801"/>
                        </a:cubicBezTo>
                        <a:close/>
                        <a:moveTo>
                          <a:pt x="440975" y="667686"/>
                        </a:moveTo>
                        <a:cubicBezTo>
                          <a:pt x="437560" y="668437"/>
                          <a:pt x="434154" y="669225"/>
                          <a:pt x="430728" y="669919"/>
                        </a:cubicBezTo>
                        <a:cubicBezTo>
                          <a:pt x="428358" y="670684"/>
                          <a:pt x="420871" y="670653"/>
                          <a:pt x="419820" y="672574"/>
                        </a:cubicBezTo>
                        <a:cubicBezTo>
                          <a:pt x="419458" y="671287"/>
                          <a:pt x="419312" y="669959"/>
                          <a:pt x="419169" y="668608"/>
                        </a:cubicBezTo>
                        <a:cubicBezTo>
                          <a:pt x="420200" y="667409"/>
                          <a:pt x="419583" y="664511"/>
                          <a:pt x="419483" y="663606"/>
                        </a:cubicBezTo>
                        <a:cubicBezTo>
                          <a:pt x="418684" y="657261"/>
                          <a:pt x="417393" y="650988"/>
                          <a:pt x="416308" y="644686"/>
                        </a:cubicBezTo>
                        <a:cubicBezTo>
                          <a:pt x="427364" y="644298"/>
                          <a:pt x="438574" y="642801"/>
                          <a:pt x="449450" y="640634"/>
                        </a:cubicBezTo>
                        <a:cubicBezTo>
                          <a:pt x="443263" y="644172"/>
                          <a:pt x="444159" y="651813"/>
                          <a:pt x="445929" y="657655"/>
                        </a:cubicBezTo>
                        <a:cubicBezTo>
                          <a:pt x="446586" y="660576"/>
                          <a:pt x="447194" y="663543"/>
                          <a:pt x="448388" y="666295"/>
                        </a:cubicBezTo>
                        <a:cubicBezTo>
                          <a:pt x="445924" y="666784"/>
                          <a:pt x="443417" y="667149"/>
                          <a:pt x="440975" y="667686"/>
                        </a:cubicBezTo>
                        <a:close/>
                        <a:moveTo>
                          <a:pt x="450923" y="665730"/>
                        </a:moveTo>
                        <a:cubicBezTo>
                          <a:pt x="450664" y="665796"/>
                          <a:pt x="450401" y="665856"/>
                          <a:pt x="450138" y="665916"/>
                        </a:cubicBezTo>
                        <a:cubicBezTo>
                          <a:pt x="449773" y="663297"/>
                          <a:pt x="449142" y="660722"/>
                          <a:pt x="448633" y="658123"/>
                        </a:cubicBezTo>
                        <a:cubicBezTo>
                          <a:pt x="451298" y="659077"/>
                          <a:pt x="454989" y="658081"/>
                          <a:pt x="457891" y="657350"/>
                        </a:cubicBezTo>
                        <a:cubicBezTo>
                          <a:pt x="458125" y="659177"/>
                          <a:pt x="458362" y="661059"/>
                          <a:pt x="458779" y="662849"/>
                        </a:cubicBezTo>
                        <a:cubicBezTo>
                          <a:pt x="456129" y="663628"/>
                          <a:pt x="453619" y="665048"/>
                          <a:pt x="450923" y="665730"/>
                        </a:cubicBezTo>
                        <a:close/>
                        <a:moveTo>
                          <a:pt x="485288" y="657387"/>
                        </a:moveTo>
                        <a:cubicBezTo>
                          <a:pt x="477735" y="659525"/>
                          <a:pt x="469846" y="662075"/>
                          <a:pt x="462022" y="659797"/>
                        </a:cubicBezTo>
                        <a:cubicBezTo>
                          <a:pt x="461722" y="658720"/>
                          <a:pt x="461271" y="657681"/>
                          <a:pt x="460709" y="656753"/>
                        </a:cubicBezTo>
                        <a:cubicBezTo>
                          <a:pt x="464778" y="656167"/>
                          <a:pt x="469637" y="656853"/>
                          <a:pt x="473201" y="654808"/>
                        </a:cubicBezTo>
                        <a:cubicBezTo>
                          <a:pt x="477618" y="655337"/>
                          <a:pt x="479020" y="649900"/>
                          <a:pt x="478361" y="646045"/>
                        </a:cubicBezTo>
                        <a:cubicBezTo>
                          <a:pt x="487855" y="641939"/>
                          <a:pt x="499005" y="641528"/>
                          <a:pt x="507756" y="635829"/>
                        </a:cubicBezTo>
                        <a:cubicBezTo>
                          <a:pt x="517073" y="635914"/>
                          <a:pt x="526390" y="633664"/>
                          <a:pt x="535696" y="633019"/>
                        </a:cubicBezTo>
                        <a:cubicBezTo>
                          <a:pt x="545039" y="631820"/>
                          <a:pt x="554584" y="631914"/>
                          <a:pt x="563824" y="630129"/>
                        </a:cubicBezTo>
                        <a:cubicBezTo>
                          <a:pt x="563264" y="630275"/>
                          <a:pt x="564121" y="630144"/>
                          <a:pt x="564272" y="630141"/>
                        </a:cubicBezTo>
                        <a:cubicBezTo>
                          <a:pt x="564275" y="630141"/>
                          <a:pt x="564275" y="630144"/>
                          <a:pt x="564278" y="630144"/>
                        </a:cubicBezTo>
                        <a:cubicBezTo>
                          <a:pt x="565397" y="631020"/>
                          <a:pt x="567981" y="629995"/>
                          <a:pt x="569538" y="630626"/>
                        </a:cubicBezTo>
                        <a:cubicBezTo>
                          <a:pt x="543137" y="644012"/>
                          <a:pt x="513533" y="649175"/>
                          <a:pt x="485288" y="657387"/>
                        </a:cubicBezTo>
                        <a:close/>
                        <a:moveTo>
                          <a:pt x="573752" y="667380"/>
                        </a:moveTo>
                        <a:cubicBezTo>
                          <a:pt x="552497" y="674413"/>
                          <a:pt x="529714" y="673988"/>
                          <a:pt x="507713" y="671612"/>
                        </a:cubicBezTo>
                        <a:cubicBezTo>
                          <a:pt x="498711" y="670082"/>
                          <a:pt x="509872" y="661247"/>
                          <a:pt x="507091" y="656613"/>
                        </a:cubicBezTo>
                        <a:cubicBezTo>
                          <a:pt x="515254" y="654428"/>
                          <a:pt x="580719" y="638370"/>
                          <a:pt x="576604" y="629661"/>
                        </a:cubicBezTo>
                        <a:cubicBezTo>
                          <a:pt x="573915" y="626109"/>
                          <a:pt x="569335" y="623845"/>
                          <a:pt x="564878" y="625224"/>
                        </a:cubicBezTo>
                        <a:cubicBezTo>
                          <a:pt x="560523" y="624841"/>
                          <a:pt x="556035" y="625033"/>
                          <a:pt x="551640" y="625512"/>
                        </a:cubicBezTo>
                        <a:cubicBezTo>
                          <a:pt x="531927" y="627040"/>
                          <a:pt x="512214" y="629690"/>
                          <a:pt x="493405" y="635897"/>
                        </a:cubicBezTo>
                        <a:cubicBezTo>
                          <a:pt x="493719" y="633008"/>
                          <a:pt x="492823" y="630175"/>
                          <a:pt x="490921" y="627991"/>
                        </a:cubicBezTo>
                        <a:cubicBezTo>
                          <a:pt x="490998" y="622257"/>
                          <a:pt x="487638" y="616264"/>
                          <a:pt x="483312" y="612769"/>
                        </a:cubicBezTo>
                        <a:cubicBezTo>
                          <a:pt x="478069" y="608275"/>
                          <a:pt x="470514" y="608203"/>
                          <a:pt x="465229" y="603852"/>
                        </a:cubicBezTo>
                        <a:cubicBezTo>
                          <a:pt x="459909" y="598689"/>
                          <a:pt x="455989" y="592213"/>
                          <a:pt x="451666" y="586234"/>
                        </a:cubicBezTo>
                        <a:cubicBezTo>
                          <a:pt x="447480" y="580515"/>
                          <a:pt x="444453" y="573919"/>
                          <a:pt x="439785" y="568548"/>
                        </a:cubicBezTo>
                        <a:cubicBezTo>
                          <a:pt x="440310" y="563683"/>
                          <a:pt x="439893" y="559148"/>
                          <a:pt x="438546" y="554585"/>
                        </a:cubicBezTo>
                        <a:cubicBezTo>
                          <a:pt x="444208" y="549766"/>
                          <a:pt x="449784" y="543275"/>
                          <a:pt x="448616" y="535352"/>
                        </a:cubicBezTo>
                        <a:cubicBezTo>
                          <a:pt x="447868" y="530232"/>
                          <a:pt x="444133" y="526263"/>
                          <a:pt x="442095" y="521643"/>
                        </a:cubicBezTo>
                        <a:cubicBezTo>
                          <a:pt x="438003" y="512375"/>
                          <a:pt x="437926" y="501847"/>
                          <a:pt x="438406" y="491910"/>
                        </a:cubicBezTo>
                        <a:cubicBezTo>
                          <a:pt x="441081" y="454331"/>
                          <a:pt x="442155" y="416629"/>
                          <a:pt x="440013" y="378987"/>
                        </a:cubicBezTo>
                        <a:cubicBezTo>
                          <a:pt x="453830" y="375798"/>
                          <a:pt x="468038" y="373905"/>
                          <a:pt x="482232" y="374393"/>
                        </a:cubicBezTo>
                        <a:cubicBezTo>
                          <a:pt x="485119" y="374481"/>
                          <a:pt x="488951" y="374827"/>
                          <a:pt x="491901" y="373676"/>
                        </a:cubicBezTo>
                        <a:cubicBezTo>
                          <a:pt x="499053" y="377151"/>
                          <a:pt x="506469" y="380112"/>
                          <a:pt x="514167" y="382108"/>
                        </a:cubicBezTo>
                        <a:cubicBezTo>
                          <a:pt x="518498" y="423148"/>
                          <a:pt x="518347" y="464653"/>
                          <a:pt x="513130" y="505599"/>
                        </a:cubicBezTo>
                        <a:cubicBezTo>
                          <a:pt x="511762" y="515873"/>
                          <a:pt x="509669" y="526563"/>
                          <a:pt x="512759" y="536728"/>
                        </a:cubicBezTo>
                        <a:cubicBezTo>
                          <a:pt x="513721" y="539952"/>
                          <a:pt x="515086" y="543036"/>
                          <a:pt x="516162" y="546219"/>
                        </a:cubicBezTo>
                        <a:cubicBezTo>
                          <a:pt x="518618" y="553472"/>
                          <a:pt x="518775" y="561050"/>
                          <a:pt x="518567" y="568631"/>
                        </a:cubicBezTo>
                        <a:cubicBezTo>
                          <a:pt x="518787" y="574359"/>
                          <a:pt x="516565" y="582674"/>
                          <a:pt x="522556" y="586060"/>
                        </a:cubicBezTo>
                        <a:cubicBezTo>
                          <a:pt x="521713" y="591120"/>
                          <a:pt x="520894" y="596211"/>
                          <a:pt x="519412" y="601125"/>
                        </a:cubicBezTo>
                        <a:cubicBezTo>
                          <a:pt x="514703" y="594657"/>
                          <a:pt x="506788" y="592042"/>
                          <a:pt x="502394" y="600280"/>
                        </a:cubicBezTo>
                        <a:cubicBezTo>
                          <a:pt x="497411" y="611264"/>
                          <a:pt x="510041" y="614479"/>
                          <a:pt x="507397" y="626435"/>
                        </a:cubicBezTo>
                        <a:cubicBezTo>
                          <a:pt x="507197" y="629113"/>
                          <a:pt x="511174" y="630058"/>
                          <a:pt x="512399" y="627788"/>
                        </a:cubicBezTo>
                        <a:cubicBezTo>
                          <a:pt x="514315" y="624239"/>
                          <a:pt x="514344" y="619990"/>
                          <a:pt x="513259" y="616161"/>
                        </a:cubicBezTo>
                        <a:cubicBezTo>
                          <a:pt x="512590" y="612232"/>
                          <a:pt x="508933" y="609754"/>
                          <a:pt x="507999" y="606042"/>
                        </a:cubicBezTo>
                        <a:cubicBezTo>
                          <a:pt x="507773" y="604660"/>
                          <a:pt x="508584" y="601733"/>
                          <a:pt x="510252" y="601933"/>
                        </a:cubicBezTo>
                        <a:cubicBezTo>
                          <a:pt x="513872" y="604426"/>
                          <a:pt x="516134" y="608543"/>
                          <a:pt x="519732" y="611141"/>
                        </a:cubicBezTo>
                        <a:cubicBezTo>
                          <a:pt x="535142" y="622443"/>
                          <a:pt x="550478" y="599506"/>
                          <a:pt x="563147" y="592607"/>
                        </a:cubicBezTo>
                        <a:cubicBezTo>
                          <a:pt x="566565" y="590340"/>
                          <a:pt x="569872" y="587839"/>
                          <a:pt x="573389" y="585732"/>
                        </a:cubicBezTo>
                        <a:cubicBezTo>
                          <a:pt x="576859" y="583650"/>
                          <a:pt x="580051" y="583165"/>
                          <a:pt x="584040" y="583079"/>
                        </a:cubicBezTo>
                        <a:cubicBezTo>
                          <a:pt x="587620" y="583005"/>
                          <a:pt x="588851" y="577437"/>
                          <a:pt x="585436" y="576383"/>
                        </a:cubicBezTo>
                        <a:cubicBezTo>
                          <a:pt x="586715" y="574045"/>
                          <a:pt x="587589" y="571612"/>
                          <a:pt x="589388" y="569582"/>
                        </a:cubicBezTo>
                        <a:cubicBezTo>
                          <a:pt x="593711" y="576723"/>
                          <a:pt x="594913" y="585415"/>
                          <a:pt x="600495" y="591879"/>
                        </a:cubicBezTo>
                        <a:cubicBezTo>
                          <a:pt x="595787" y="592011"/>
                          <a:pt x="591492" y="594629"/>
                          <a:pt x="589197" y="598663"/>
                        </a:cubicBezTo>
                        <a:cubicBezTo>
                          <a:pt x="588152" y="600508"/>
                          <a:pt x="590798" y="602767"/>
                          <a:pt x="592240" y="601014"/>
                        </a:cubicBezTo>
                        <a:cubicBezTo>
                          <a:pt x="596127" y="595962"/>
                          <a:pt x="599453" y="597830"/>
                          <a:pt x="603847" y="595777"/>
                        </a:cubicBezTo>
                        <a:cubicBezTo>
                          <a:pt x="605018" y="597013"/>
                          <a:pt x="606240" y="598195"/>
                          <a:pt x="607522" y="599323"/>
                        </a:cubicBezTo>
                        <a:cubicBezTo>
                          <a:pt x="604661" y="600736"/>
                          <a:pt x="602177" y="603138"/>
                          <a:pt x="601006" y="605816"/>
                        </a:cubicBezTo>
                        <a:cubicBezTo>
                          <a:pt x="600292" y="607452"/>
                          <a:pt x="602137" y="609160"/>
                          <a:pt x="603582" y="607803"/>
                        </a:cubicBezTo>
                        <a:cubicBezTo>
                          <a:pt x="605932" y="605548"/>
                          <a:pt x="608704" y="603492"/>
                          <a:pt x="611937" y="602864"/>
                        </a:cubicBezTo>
                        <a:cubicBezTo>
                          <a:pt x="614024" y="604388"/>
                          <a:pt x="616200" y="605782"/>
                          <a:pt x="618444" y="607058"/>
                        </a:cubicBezTo>
                        <a:cubicBezTo>
                          <a:pt x="615731" y="608472"/>
                          <a:pt x="613236" y="610153"/>
                          <a:pt x="610880" y="612092"/>
                        </a:cubicBezTo>
                        <a:cubicBezTo>
                          <a:pt x="609093" y="613548"/>
                          <a:pt x="611471" y="616672"/>
                          <a:pt x="613364" y="615313"/>
                        </a:cubicBezTo>
                        <a:cubicBezTo>
                          <a:pt x="616437" y="612877"/>
                          <a:pt x="620163" y="611561"/>
                          <a:pt x="623552" y="609714"/>
                        </a:cubicBezTo>
                        <a:cubicBezTo>
                          <a:pt x="654713" y="624961"/>
                          <a:pt x="663042" y="609811"/>
                          <a:pt x="684348" y="617003"/>
                        </a:cubicBezTo>
                        <a:cubicBezTo>
                          <a:pt x="655281" y="627839"/>
                          <a:pt x="625662" y="643681"/>
                          <a:pt x="594707" y="647213"/>
                        </a:cubicBezTo>
                        <a:cubicBezTo>
                          <a:pt x="571239" y="645900"/>
                          <a:pt x="547023" y="645120"/>
                          <a:pt x="524343" y="652327"/>
                        </a:cubicBezTo>
                        <a:cubicBezTo>
                          <a:pt x="523424" y="652627"/>
                          <a:pt x="523512" y="654251"/>
                          <a:pt x="524586" y="654120"/>
                        </a:cubicBezTo>
                        <a:cubicBezTo>
                          <a:pt x="546937" y="650608"/>
                          <a:pt x="569429" y="648903"/>
                          <a:pt x="592018" y="650836"/>
                        </a:cubicBezTo>
                        <a:cubicBezTo>
                          <a:pt x="603256" y="651362"/>
                          <a:pt x="613561" y="647987"/>
                          <a:pt x="624046" y="644358"/>
                        </a:cubicBezTo>
                        <a:cubicBezTo>
                          <a:pt x="645715" y="636868"/>
                          <a:pt x="667105" y="628576"/>
                          <a:pt x="688189" y="619579"/>
                        </a:cubicBezTo>
                        <a:cubicBezTo>
                          <a:pt x="688725" y="620141"/>
                          <a:pt x="689125" y="620744"/>
                          <a:pt x="689479" y="621372"/>
                        </a:cubicBezTo>
                        <a:cubicBezTo>
                          <a:pt x="678478" y="626666"/>
                          <a:pt x="668667" y="634070"/>
                          <a:pt x="657993" y="639975"/>
                        </a:cubicBezTo>
                        <a:cubicBezTo>
                          <a:pt x="631410" y="652852"/>
                          <a:pt x="601714" y="658100"/>
                          <a:pt x="573752" y="667380"/>
                        </a:cubicBezTo>
                        <a:close/>
                        <a:moveTo>
                          <a:pt x="732095" y="645580"/>
                        </a:moveTo>
                        <a:cubicBezTo>
                          <a:pt x="733671" y="645631"/>
                          <a:pt x="735242" y="645742"/>
                          <a:pt x="736807" y="645791"/>
                        </a:cubicBezTo>
                        <a:cubicBezTo>
                          <a:pt x="687752" y="660485"/>
                          <a:pt x="637195" y="669279"/>
                          <a:pt x="586244" y="673708"/>
                        </a:cubicBezTo>
                        <a:cubicBezTo>
                          <a:pt x="586507" y="672880"/>
                          <a:pt x="586767" y="672037"/>
                          <a:pt x="586892" y="671141"/>
                        </a:cubicBezTo>
                        <a:cubicBezTo>
                          <a:pt x="605843" y="665453"/>
                          <a:pt x="624888" y="660039"/>
                          <a:pt x="643762" y="654112"/>
                        </a:cubicBezTo>
                        <a:cubicBezTo>
                          <a:pt x="643765" y="654660"/>
                          <a:pt x="644219" y="655225"/>
                          <a:pt x="644916" y="655060"/>
                        </a:cubicBezTo>
                        <a:cubicBezTo>
                          <a:pt x="648217" y="654271"/>
                          <a:pt x="651580" y="654189"/>
                          <a:pt x="654935" y="653746"/>
                        </a:cubicBezTo>
                        <a:cubicBezTo>
                          <a:pt x="664481" y="652510"/>
                          <a:pt x="674120" y="652341"/>
                          <a:pt x="683711" y="651673"/>
                        </a:cubicBezTo>
                        <a:cubicBezTo>
                          <a:pt x="700061" y="651211"/>
                          <a:pt x="715680" y="644623"/>
                          <a:pt x="732095" y="645580"/>
                        </a:cubicBezTo>
                        <a:close/>
                        <a:moveTo>
                          <a:pt x="737920" y="636874"/>
                        </a:moveTo>
                        <a:cubicBezTo>
                          <a:pt x="735208" y="636694"/>
                          <a:pt x="732378" y="637254"/>
                          <a:pt x="729737" y="636885"/>
                        </a:cubicBezTo>
                        <a:cubicBezTo>
                          <a:pt x="727295" y="636366"/>
                          <a:pt x="726173" y="639966"/>
                          <a:pt x="726305" y="641859"/>
                        </a:cubicBezTo>
                        <a:cubicBezTo>
                          <a:pt x="712490" y="641334"/>
                          <a:pt x="699276" y="646345"/>
                          <a:pt x="685585" y="647424"/>
                        </a:cubicBezTo>
                        <a:cubicBezTo>
                          <a:pt x="674266" y="648712"/>
                          <a:pt x="662736" y="648758"/>
                          <a:pt x="651589" y="651242"/>
                        </a:cubicBezTo>
                        <a:cubicBezTo>
                          <a:pt x="668195" y="645825"/>
                          <a:pt x="683694" y="628122"/>
                          <a:pt x="700361" y="626752"/>
                        </a:cubicBezTo>
                        <a:cubicBezTo>
                          <a:pt x="706671" y="626526"/>
                          <a:pt x="712939" y="626018"/>
                          <a:pt x="719249" y="625715"/>
                        </a:cubicBezTo>
                        <a:cubicBezTo>
                          <a:pt x="716519" y="627982"/>
                          <a:pt x="715149" y="644089"/>
                          <a:pt x="721345" y="640826"/>
                        </a:cubicBezTo>
                        <a:cubicBezTo>
                          <a:pt x="721896" y="640440"/>
                          <a:pt x="721879" y="639869"/>
                          <a:pt x="721602" y="639344"/>
                        </a:cubicBezTo>
                        <a:cubicBezTo>
                          <a:pt x="719520" y="634495"/>
                          <a:pt x="720406" y="628016"/>
                          <a:pt x="724637" y="624590"/>
                        </a:cubicBezTo>
                        <a:cubicBezTo>
                          <a:pt x="724866" y="624459"/>
                          <a:pt x="725111" y="624336"/>
                          <a:pt x="725280" y="624127"/>
                        </a:cubicBezTo>
                        <a:cubicBezTo>
                          <a:pt x="726053" y="624582"/>
                          <a:pt x="726733" y="625235"/>
                          <a:pt x="726973" y="626121"/>
                        </a:cubicBezTo>
                        <a:cubicBezTo>
                          <a:pt x="726770" y="626772"/>
                          <a:pt x="727170" y="627677"/>
                          <a:pt x="727998" y="627645"/>
                        </a:cubicBezTo>
                        <a:cubicBezTo>
                          <a:pt x="732472" y="627480"/>
                          <a:pt x="736687" y="627565"/>
                          <a:pt x="741218" y="627457"/>
                        </a:cubicBezTo>
                        <a:cubicBezTo>
                          <a:pt x="739936" y="630352"/>
                          <a:pt x="739865" y="633856"/>
                          <a:pt x="741284" y="636802"/>
                        </a:cubicBezTo>
                        <a:cubicBezTo>
                          <a:pt x="740105" y="636791"/>
                          <a:pt x="738922" y="636888"/>
                          <a:pt x="737920" y="636874"/>
                        </a:cubicBezTo>
                        <a:close/>
                        <a:moveTo>
                          <a:pt x="745156" y="636854"/>
                        </a:moveTo>
                        <a:cubicBezTo>
                          <a:pt x="742095" y="635772"/>
                          <a:pt x="742663" y="630212"/>
                          <a:pt x="743868" y="627902"/>
                        </a:cubicBezTo>
                        <a:cubicBezTo>
                          <a:pt x="744736" y="627740"/>
                          <a:pt x="745570" y="628085"/>
                          <a:pt x="746421" y="628262"/>
                        </a:cubicBezTo>
                        <a:cubicBezTo>
                          <a:pt x="747123" y="630369"/>
                          <a:pt x="748639" y="636548"/>
                          <a:pt x="745156" y="636854"/>
                        </a:cubicBezTo>
                        <a:close/>
                      </a:path>
                    </a:pathLst>
                  </a:custGeom>
                  <a:solidFill>
                    <a:srgbClr val="000000"/>
                  </a:solidFill>
                  <a:ln w="2826" cap="flat">
                    <a:noFill/>
                    <a:prstDash val="solid"/>
                    <a:miter/>
                  </a:ln>
                </p:spPr>
                <p:txBody>
                  <a:bodyPr rtlCol="0" anchor="ctr"/>
                  <a:lstStyle/>
                  <a:p>
                    <a:endParaRPr lang="fr-CA"/>
                  </a:p>
                </p:txBody>
              </p:sp>
            </p:grpSp>
          </p:grpSp>
          <p:grpSp>
            <p:nvGrpSpPr>
              <p:cNvPr id="1612" name="Graphique 35" descr="Garçon dans un fauteuil roulant">
                <a:extLst>
                  <a:ext uri="{FF2B5EF4-FFF2-40B4-BE49-F238E27FC236}">
                    <a16:creationId xmlns:a16="http://schemas.microsoft.com/office/drawing/2014/main" id="{AC973C4A-DA6E-FE60-970F-B4D207165C54}"/>
                  </a:ext>
                </a:extLst>
              </p:cNvPr>
              <p:cNvGrpSpPr/>
              <p:nvPr/>
            </p:nvGrpSpPr>
            <p:grpSpPr>
              <a:xfrm>
                <a:off x="9352242" y="3832116"/>
                <a:ext cx="154059" cy="189583"/>
                <a:chOff x="9352242" y="3832116"/>
                <a:chExt cx="154059" cy="189583"/>
              </a:xfrm>
            </p:grpSpPr>
            <p:sp>
              <p:nvSpPr>
                <p:cNvPr id="1622" name="Forme libre : forme 1621">
                  <a:extLst>
                    <a:ext uri="{FF2B5EF4-FFF2-40B4-BE49-F238E27FC236}">
                      <a16:creationId xmlns:a16="http://schemas.microsoft.com/office/drawing/2014/main" id="{55AF3662-FA1E-EAF3-0B71-C925636EBD08}"/>
                    </a:ext>
                  </a:extLst>
                </p:cNvPr>
                <p:cNvSpPr/>
                <p:nvPr/>
              </p:nvSpPr>
              <p:spPr>
                <a:xfrm>
                  <a:off x="9353792" y="3844553"/>
                  <a:ext cx="148476" cy="174319"/>
                </a:xfrm>
                <a:custGeom>
                  <a:avLst/>
                  <a:gdLst>
                    <a:gd name="connsiteX0" fmla="*/ 77552 w 148476"/>
                    <a:gd name="connsiteY0" fmla="*/ 2095 h 174319"/>
                    <a:gd name="connsiteX1" fmla="*/ 129491 w 148476"/>
                    <a:gd name="connsiteY1" fmla="*/ 19427 h 174319"/>
                    <a:gd name="connsiteX2" fmla="*/ 132803 w 148476"/>
                    <a:gd name="connsiteY2" fmla="*/ 32076 h 174319"/>
                    <a:gd name="connsiteX3" fmla="*/ 149193 w 148476"/>
                    <a:gd name="connsiteY3" fmla="*/ 139009 h 174319"/>
                    <a:gd name="connsiteX4" fmla="*/ 94227 w 148476"/>
                    <a:gd name="connsiteY4" fmla="*/ 176414 h 174319"/>
                    <a:gd name="connsiteX5" fmla="*/ 33666 w 148476"/>
                    <a:gd name="connsiteY5" fmla="*/ 153286 h 174319"/>
                    <a:gd name="connsiteX6" fmla="*/ 17476 w 148476"/>
                    <a:gd name="connsiteY6" fmla="*/ 125960 h 174319"/>
                    <a:gd name="connsiteX7" fmla="*/ 10023 w 148476"/>
                    <a:gd name="connsiteY7" fmla="*/ 126960 h 174319"/>
                    <a:gd name="connsiteX8" fmla="*/ 1228 w 148476"/>
                    <a:gd name="connsiteY8" fmla="*/ 110227 h 174319"/>
                    <a:gd name="connsiteX9" fmla="*/ 12222 w 148476"/>
                    <a:gd name="connsiteY9" fmla="*/ 91439 h 174319"/>
                    <a:gd name="connsiteX10" fmla="*/ 18218 w 148476"/>
                    <a:gd name="connsiteY10" fmla="*/ 22882 h 174319"/>
                    <a:gd name="connsiteX11" fmla="*/ 77552 w 148476"/>
                    <a:gd name="connsiteY11" fmla="*/ 2095 h 1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476" h="174319">
                      <a:moveTo>
                        <a:pt x="77552" y="2095"/>
                      </a:moveTo>
                      <a:cubicBezTo>
                        <a:pt x="96369" y="2095"/>
                        <a:pt x="119840" y="7891"/>
                        <a:pt x="129491" y="19427"/>
                      </a:cubicBezTo>
                      <a:cubicBezTo>
                        <a:pt x="131832" y="22197"/>
                        <a:pt x="132289" y="29164"/>
                        <a:pt x="132803" y="32076"/>
                      </a:cubicBezTo>
                      <a:cubicBezTo>
                        <a:pt x="135830" y="49751"/>
                        <a:pt x="152848" y="117251"/>
                        <a:pt x="149193" y="139009"/>
                      </a:cubicBezTo>
                      <a:cubicBezTo>
                        <a:pt x="145538" y="160738"/>
                        <a:pt x="125807" y="176414"/>
                        <a:pt x="94227" y="176414"/>
                      </a:cubicBezTo>
                      <a:cubicBezTo>
                        <a:pt x="62647" y="176414"/>
                        <a:pt x="39062" y="159196"/>
                        <a:pt x="33666" y="153286"/>
                      </a:cubicBezTo>
                      <a:cubicBezTo>
                        <a:pt x="28240" y="147347"/>
                        <a:pt x="17476" y="125960"/>
                        <a:pt x="17476" y="125960"/>
                      </a:cubicBezTo>
                      <a:cubicBezTo>
                        <a:pt x="17476" y="125960"/>
                        <a:pt x="13335" y="128359"/>
                        <a:pt x="10023" y="126960"/>
                      </a:cubicBezTo>
                      <a:cubicBezTo>
                        <a:pt x="5455" y="125018"/>
                        <a:pt x="1286" y="118251"/>
                        <a:pt x="1228" y="110227"/>
                      </a:cubicBezTo>
                      <a:cubicBezTo>
                        <a:pt x="1143" y="96436"/>
                        <a:pt x="12222" y="91439"/>
                        <a:pt x="12222" y="91439"/>
                      </a:cubicBezTo>
                      <a:cubicBezTo>
                        <a:pt x="12222" y="91439"/>
                        <a:pt x="8281" y="37044"/>
                        <a:pt x="18218" y="22882"/>
                      </a:cubicBezTo>
                      <a:cubicBezTo>
                        <a:pt x="28155" y="8720"/>
                        <a:pt x="54224" y="2095"/>
                        <a:pt x="77552" y="2095"/>
                      </a:cubicBezTo>
                      <a:close/>
                    </a:path>
                  </a:pathLst>
                </a:custGeom>
                <a:solidFill>
                  <a:srgbClr val="FFFFFF"/>
                </a:solidFill>
                <a:ln w="2826" cap="flat">
                  <a:noFill/>
                  <a:prstDash val="solid"/>
                  <a:miter/>
                </a:ln>
              </p:spPr>
              <p:txBody>
                <a:bodyPr rtlCol="0" anchor="ctr"/>
                <a:lstStyle/>
                <a:p>
                  <a:endParaRPr lang="fr-CA"/>
                </a:p>
              </p:txBody>
            </p:sp>
            <p:sp>
              <p:nvSpPr>
                <p:cNvPr id="1623" name="Forme libre : forme 1622">
                  <a:extLst>
                    <a:ext uri="{FF2B5EF4-FFF2-40B4-BE49-F238E27FC236}">
                      <a16:creationId xmlns:a16="http://schemas.microsoft.com/office/drawing/2014/main" id="{18ECBBE2-808C-5587-1350-0B1C8CC82F59}"/>
                    </a:ext>
                  </a:extLst>
                </p:cNvPr>
                <p:cNvSpPr/>
                <p:nvPr/>
              </p:nvSpPr>
              <p:spPr>
                <a:xfrm>
                  <a:off x="9352242" y="3832116"/>
                  <a:ext cx="154059" cy="189583"/>
                </a:xfrm>
                <a:custGeom>
                  <a:avLst/>
                  <a:gdLst>
                    <a:gd name="connsiteX0" fmla="*/ 97119 w 154059"/>
                    <a:gd name="connsiteY0" fmla="*/ 191678 h 189583"/>
                    <a:gd name="connsiteX1" fmla="*/ 82671 w 154059"/>
                    <a:gd name="connsiteY1" fmla="*/ 190108 h 189583"/>
                    <a:gd name="connsiteX2" fmla="*/ 80415 w 154059"/>
                    <a:gd name="connsiteY2" fmla="*/ 182456 h 189583"/>
                    <a:gd name="connsiteX3" fmla="*/ 142690 w 154059"/>
                    <a:gd name="connsiteY3" fmla="*/ 162525 h 189583"/>
                    <a:gd name="connsiteX4" fmla="*/ 145117 w 154059"/>
                    <a:gd name="connsiteY4" fmla="*/ 124749 h 189583"/>
                    <a:gd name="connsiteX5" fmla="*/ 137208 w 154059"/>
                    <a:gd name="connsiteY5" fmla="*/ 72782 h 189583"/>
                    <a:gd name="connsiteX6" fmla="*/ 137208 w 154059"/>
                    <a:gd name="connsiteY6" fmla="*/ 72782 h 189583"/>
                    <a:gd name="connsiteX7" fmla="*/ 134095 w 154059"/>
                    <a:gd name="connsiteY7" fmla="*/ 48026 h 189583"/>
                    <a:gd name="connsiteX8" fmla="*/ 133867 w 154059"/>
                    <a:gd name="connsiteY8" fmla="*/ 41630 h 189583"/>
                    <a:gd name="connsiteX9" fmla="*/ 136608 w 154059"/>
                    <a:gd name="connsiteY9" fmla="*/ 49625 h 189583"/>
                    <a:gd name="connsiteX10" fmla="*/ 145659 w 154059"/>
                    <a:gd name="connsiteY10" fmla="*/ 88344 h 189583"/>
                    <a:gd name="connsiteX11" fmla="*/ 154026 w 154059"/>
                    <a:gd name="connsiteY11" fmla="*/ 133601 h 189583"/>
                    <a:gd name="connsiteX12" fmla="*/ 151027 w 154059"/>
                    <a:gd name="connsiteY12" fmla="*/ 164667 h 189583"/>
                    <a:gd name="connsiteX13" fmla="*/ 97119 w 154059"/>
                    <a:gd name="connsiteY13" fmla="*/ 191678 h 189583"/>
                    <a:gd name="connsiteX14" fmla="*/ 44666 w 154059"/>
                    <a:gd name="connsiteY14" fmla="*/ 173490 h 189583"/>
                    <a:gd name="connsiteX15" fmla="*/ 19396 w 154059"/>
                    <a:gd name="connsiteY15" fmla="*/ 139968 h 189583"/>
                    <a:gd name="connsiteX16" fmla="*/ 12686 w 154059"/>
                    <a:gd name="connsiteY16" fmla="*/ 142652 h 189583"/>
                    <a:gd name="connsiteX17" fmla="*/ 8060 w 154059"/>
                    <a:gd name="connsiteY17" fmla="*/ 106304 h 189583"/>
                    <a:gd name="connsiteX18" fmla="*/ 7718 w 154059"/>
                    <a:gd name="connsiteY18" fmla="*/ 60760 h 189583"/>
                    <a:gd name="connsiteX19" fmla="*/ 10887 w 154059"/>
                    <a:gd name="connsiteY19" fmla="*/ 36947 h 189583"/>
                    <a:gd name="connsiteX20" fmla="*/ 33330 w 154059"/>
                    <a:gd name="connsiteY20" fmla="*/ 2997 h 189583"/>
                    <a:gd name="connsiteX21" fmla="*/ 43866 w 154059"/>
                    <a:gd name="connsiteY21" fmla="*/ 2112 h 189583"/>
                    <a:gd name="connsiteX22" fmla="*/ 109282 w 154059"/>
                    <a:gd name="connsiteY22" fmla="*/ 3568 h 189583"/>
                    <a:gd name="connsiteX23" fmla="*/ 126871 w 154059"/>
                    <a:gd name="connsiteY23" fmla="*/ 3825 h 189583"/>
                    <a:gd name="connsiteX24" fmla="*/ 138835 w 154059"/>
                    <a:gd name="connsiteY24" fmla="*/ 7851 h 189583"/>
                    <a:gd name="connsiteX25" fmla="*/ 142062 w 154059"/>
                    <a:gd name="connsiteY25" fmla="*/ 8136 h 189583"/>
                    <a:gd name="connsiteX26" fmla="*/ 144546 w 154059"/>
                    <a:gd name="connsiteY26" fmla="*/ 12305 h 189583"/>
                    <a:gd name="connsiteX27" fmla="*/ 141862 w 154059"/>
                    <a:gd name="connsiteY27" fmla="*/ 23984 h 189583"/>
                    <a:gd name="connsiteX28" fmla="*/ 138921 w 154059"/>
                    <a:gd name="connsiteY28" fmla="*/ 38889 h 189583"/>
                    <a:gd name="connsiteX29" fmla="*/ 132011 w 154059"/>
                    <a:gd name="connsiteY29" fmla="*/ 37318 h 189583"/>
                    <a:gd name="connsiteX30" fmla="*/ 38099 w 154059"/>
                    <a:gd name="connsiteY30" fmla="*/ 46627 h 189583"/>
                    <a:gd name="connsiteX31" fmla="*/ 36014 w 154059"/>
                    <a:gd name="connsiteY31" fmla="*/ 53137 h 189583"/>
                    <a:gd name="connsiteX32" fmla="*/ 37413 w 154059"/>
                    <a:gd name="connsiteY32" fmla="*/ 56792 h 189583"/>
                    <a:gd name="connsiteX33" fmla="*/ 40526 w 154059"/>
                    <a:gd name="connsiteY33" fmla="*/ 65415 h 189583"/>
                    <a:gd name="connsiteX34" fmla="*/ 35015 w 154059"/>
                    <a:gd name="connsiteY34" fmla="*/ 73296 h 189583"/>
                    <a:gd name="connsiteX35" fmla="*/ 27419 w 154059"/>
                    <a:gd name="connsiteY35" fmla="*/ 89457 h 189583"/>
                    <a:gd name="connsiteX36" fmla="*/ 27933 w 154059"/>
                    <a:gd name="connsiteY36" fmla="*/ 105361 h 189583"/>
                    <a:gd name="connsiteX37" fmla="*/ 23622 w 154059"/>
                    <a:gd name="connsiteY37" fmla="*/ 109416 h 189583"/>
                    <a:gd name="connsiteX38" fmla="*/ 22851 w 154059"/>
                    <a:gd name="connsiteY38" fmla="*/ 109131 h 189583"/>
                    <a:gd name="connsiteX39" fmla="*/ 12486 w 154059"/>
                    <a:gd name="connsiteY39" fmla="*/ 108759 h 189583"/>
                    <a:gd name="connsiteX40" fmla="*/ 13200 w 154059"/>
                    <a:gd name="connsiteY40" fmla="*/ 135542 h 189583"/>
                    <a:gd name="connsiteX41" fmla="*/ 19910 w 154059"/>
                    <a:gd name="connsiteY41" fmla="*/ 138683 h 189583"/>
                    <a:gd name="connsiteX42" fmla="*/ 46864 w 154059"/>
                    <a:gd name="connsiteY42" fmla="*/ 167522 h 189583"/>
                    <a:gd name="connsiteX43" fmla="*/ 44666 w 154059"/>
                    <a:gd name="connsiteY43" fmla="*/ 173490 h 189583"/>
                    <a:gd name="connsiteX44" fmla="*/ 21966 w 154059"/>
                    <a:gd name="connsiteY44" fmla="*/ 128804 h 189583"/>
                    <a:gd name="connsiteX45" fmla="*/ 19025 w 154059"/>
                    <a:gd name="connsiteY45" fmla="*/ 126434 h 189583"/>
                    <a:gd name="connsiteX46" fmla="*/ 11515 w 154059"/>
                    <a:gd name="connsiteY46" fmla="*/ 119695 h 189583"/>
                    <a:gd name="connsiteX47" fmla="*/ 11344 w 154059"/>
                    <a:gd name="connsiteY47" fmla="*/ 119096 h 189583"/>
                    <a:gd name="connsiteX48" fmla="*/ 21109 w 154059"/>
                    <a:gd name="connsiteY48" fmla="*/ 119609 h 189583"/>
                    <a:gd name="connsiteX49" fmla="*/ 21966 w 154059"/>
                    <a:gd name="connsiteY49" fmla="*/ 128804 h 18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4059" h="189583">
                      <a:moveTo>
                        <a:pt x="97119" y="191678"/>
                      </a:moveTo>
                      <a:cubicBezTo>
                        <a:pt x="92265" y="191678"/>
                        <a:pt x="87439" y="191136"/>
                        <a:pt x="82671" y="190108"/>
                      </a:cubicBezTo>
                      <a:cubicBezTo>
                        <a:pt x="76389" y="189594"/>
                        <a:pt x="70078" y="182085"/>
                        <a:pt x="80415" y="182456"/>
                      </a:cubicBezTo>
                      <a:cubicBezTo>
                        <a:pt x="102372" y="187453"/>
                        <a:pt x="126843" y="183741"/>
                        <a:pt x="142690" y="162525"/>
                      </a:cubicBezTo>
                      <a:cubicBezTo>
                        <a:pt x="150143" y="151161"/>
                        <a:pt x="147116" y="137541"/>
                        <a:pt x="145117" y="124749"/>
                      </a:cubicBezTo>
                      <a:cubicBezTo>
                        <a:pt x="141862" y="103991"/>
                        <a:pt x="139920" y="90628"/>
                        <a:pt x="137208" y="72782"/>
                      </a:cubicBezTo>
                      <a:lnTo>
                        <a:pt x="137208" y="72782"/>
                      </a:lnTo>
                      <a:cubicBezTo>
                        <a:pt x="135951" y="64358"/>
                        <a:pt x="134666" y="56763"/>
                        <a:pt x="134095" y="48026"/>
                      </a:cubicBezTo>
                      <a:cubicBezTo>
                        <a:pt x="133953" y="45970"/>
                        <a:pt x="133382" y="41658"/>
                        <a:pt x="133867" y="41630"/>
                      </a:cubicBezTo>
                      <a:cubicBezTo>
                        <a:pt x="134381" y="41601"/>
                        <a:pt x="135780" y="46998"/>
                        <a:pt x="136608" y="49625"/>
                      </a:cubicBezTo>
                      <a:cubicBezTo>
                        <a:pt x="140634" y="62217"/>
                        <a:pt x="142576" y="73952"/>
                        <a:pt x="145659" y="88344"/>
                      </a:cubicBezTo>
                      <a:cubicBezTo>
                        <a:pt x="148515" y="103306"/>
                        <a:pt x="151542" y="118410"/>
                        <a:pt x="154026" y="133601"/>
                      </a:cubicBezTo>
                      <a:cubicBezTo>
                        <a:pt x="155767" y="143937"/>
                        <a:pt x="156453" y="155273"/>
                        <a:pt x="151027" y="164667"/>
                      </a:cubicBezTo>
                      <a:cubicBezTo>
                        <a:pt x="140149" y="182941"/>
                        <a:pt x="117620" y="191393"/>
                        <a:pt x="97119" y="191678"/>
                      </a:cubicBezTo>
                      <a:close/>
                      <a:moveTo>
                        <a:pt x="44666" y="173490"/>
                      </a:moveTo>
                      <a:cubicBezTo>
                        <a:pt x="31503" y="169407"/>
                        <a:pt x="21794" y="153017"/>
                        <a:pt x="19396" y="139968"/>
                      </a:cubicBezTo>
                      <a:cubicBezTo>
                        <a:pt x="18368" y="142595"/>
                        <a:pt x="15199" y="143195"/>
                        <a:pt x="12686" y="142652"/>
                      </a:cubicBezTo>
                      <a:cubicBezTo>
                        <a:pt x="-1220" y="140311"/>
                        <a:pt x="-2105" y="112956"/>
                        <a:pt x="8060" y="106304"/>
                      </a:cubicBezTo>
                      <a:cubicBezTo>
                        <a:pt x="1921" y="91856"/>
                        <a:pt x="5947" y="75722"/>
                        <a:pt x="7718" y="60760"/>
                      </a:cubicBezTo>
                      <a:cubicBezTo>
                        <a:pt x="7718" y="60760"/>
                        <a:pt x="10887" y="36947"/>
                        <a:pt x="10887" y="36947"/>
                      </a:cubicBezTo>
                      <a:cubicBezTo>
                        <a:pt x="12172" y="23127"/>
                        <a:pt x="17511" y="5653"/>
                        <a:pt x="33330" y="2997"/>
                      </a:cubicBezTo>
                      <a:cubicBezTo>
                        <a:pt x="36785" y="2254"/>
                        <a:pt x="40326" y="2026"/>
                        <a:pt x="43866" y="2112"/>
                      </a:cubicBezTo>
                      <a:cubicBezTo>
                        <a:pt x="53489" y="2283"/>
                        <a:pt x="93835" y="3225"/>
                        <a:pt x="109282" y="3568"/>
                      </a:cubicBezTo>
                      <a:cubicBezTo>
                        <a:pt x="113765" y="3653"/>
                        <a:pt x="122303" y="3739"/>
                        <a:pt x="126871" y="3825"/>
                      </a:cubicBezTo>
                      <a:cubicBezTo>
                        <a:pt x="130612" y="4282"/>
                        <a:pt x="138721" y="2311"/>
                        <a:pt x="138835" y="7851"/>
                      </a:cubicBezTo>
                      <a:lnTo>
                        <a:pt x="142062" y="8136"/>
                      </a:lnTo>
                      <a:cubicBezTo>
                        <a:pt x="144089" y="8165"/>
                        <a:pt x="145488" y="10478"/>
                        <a:pt x="144546" y="12305"/>
                      </a:cubicBezTo>
                      <a:cubicBezTo>
                        <a:pt x="143432" y="14618"/>
                        <a:pt x="142576" y="19729"/>
                        <a:pt x="141862" y="23984"/>
                      </a:cubicBezTo>
                      <a:cubicBezTo>
                        <a:pt x="140577" y="29124"/>
                        <a:pt x="140463" y="34663"/>
                        <a:pt x="138921" y="38889"/>
                      </a:cubicBezTo>
                      <a:cubicBezTo>
                        <a:pt x="137208" y="41944"/>
                        <a:pt x="131554" y="41373"/>
                        <a:pt x="132011" y="37318"/>
                      </a:cubicBezTo>
                      <a:cubicBezTo>
                        <a:pt x="100459" y="36291"/>
                        <a:pt x="68023" y="36947"/>
                        <a:pt x="38099" y="46627"/>
                      </a:cubicBezTo>
                      <a:cubicBezTo>
                        <a:pt x="35700" y="48083"/>
                        <a:pt x="35757" y="50738"/>
                        <a:pt x="36014" y="53137"/>
                      </a:cubicBezTo>
                      <a:cubicBezTo>
                        <a:pt x="36185" y="55450"/>
                        <a:pt x="37070" y="55050"/>
                        <a:pt x="37413" y="56792"/>
                      </a:cubicBezTo>
                      <a:cubicBezTo>
                        <a:pt x="38184" y="59733"/>
                        <a:pt x="39127" y="62674"/>
                        <a:pt x="40526" y="65415"/>
                      </a:cubicBezTo>
                      <a:cubicBezTo>
                        <a:pt x="43324" y="69355"/>
                        <a:pt x="38841" y="73067"/>
                        <a:pt x="35015" y="73296"/>
                      </a:cubicBezTo>
                      <a:cubicBezTo>
                        <a:pt x="27305" y="73895"/>
                        <a:pt x="27848" y="83518"/>
                        <a:pt x="27419" y="89457"/>
                      </a:cubicBezTo>
                      <a:cubicBezTo>
                        <a:pt x="27048" y="94768"/>
                        <a:pt x="27477" y="100079"/>
                        <a:pt x="27933" y="105361"/>
                      </a:cubicBezTo>
                      <a:cubicBezTo>
                        <a:pt x="28305" y="108502"/>
                        <a:pt x="25906" y="111557"/>
                        <a:pt x="23622" y="109416"/>
                      </a:cubicBezTo>
                      <a:cubicBezTo>
                        <a:pt x="23308" y="109131"/>
                        <a:pt x="23136" y="109473"/>
                        <a:pt x="22851" y="109131"/>
                      </a:cubicBezTo>
                      <a:cubicBezTo>
                        <a:pt x="20224" y="106104"/>
                        <a:pt x="15570" y="106503"/>
                        <a:pt x="12486" y="108759"/>
                      </a:cubicBezTo>
                      <a:cubicBezTo>
                        <a:pt x="5462" y="113156"/>
                        <a:pt x="6319" y="132316"/>
                        <a:pt x="13200" y="135542"/>
                      </a:cubicBezTo>
                      <a:cubicBezTo>
                        <a:pt x="15142" y="136342"/>
                        <a:pt x="20795" y="135257"/>
                        <a:pt x="19910" y="138683"/>
                      </a:cubicBezTo>
                      <a:cubicBezTo>
                        <a:pt x="25335" y="148705"/>
                        <a:pt x="35072" y="162639"/>
                        <a:pt x="46864" y="167522"/>
                      </a:cubicBezTo>
                      <a:cubicBezTo>
                        <a:pt x="50691" y="168636"/>
                        <a:pt x="48007" y="173947"/>
                        <a:pt x="44666" y="173490"/>
                      </a:cubicBezTo>
                      <a:close/>
                      <a:moveTo>
                        <a:pt x="21966" y="128804"/>
                      </a:moveTo>
                      <a:cubicBezTo>
                        <a:pt x="20567" y="128861"/>
                        <a:pt x="19282" y="127804"/>
                        <a:pt x="19025" y="126434"/>
                      </a:cubicBezTo>
                      <a:cubicBezTo>
                        <a:pt x="18225" y="123122"/>
                        <a:pt x="14941" y="120152"/>
                        <a:pt x="11515" y="119695"/>
                      </a:cubicBezTo>
                      <a:cubicBezTo>
                        <a:pt x="11230" y="119667"/>
                        <a:pt x="11030" y="119210"/>
                        <a:pt x="11344" y="119096"/>
                      </a:cubicBezTo>
                      <a:cubicBezTo>
                        <a:pt x="14485" y="117525"/>
                        <a:pt x="18168" y="117725"/>
                        <a:pt x="21109" y="119609"/>
                      </a:cubicBezTo>
                      <a:cubicBezTo>
                        <a:pt x="24935" y="121780"/>
                        <a:pt x="28448" y="128061"/>
                        <a:pt x="21966" y="128804"/>
                      </a:cubicBezTo>
                      <a:close/>
                    </a:path>
                  </a:pathLst>
                </a:custGeom>
                <a:solidFill>
                  <a:srgbClr val="000000"/>
                </a:solidFill>
                <a:ln w="2826" cap="flat">
                  <a:noFill/>
                  <a:prstDash val="solid"/>
                  <a:miter/>
                </a:ln>
              </p:spPr>
              <p:txBody>
                <a:bodyPr rtlCol="0" anchor="ctr"/>
                <a:lstStyle/>
                <a:p>
                  <a:endParaRPr lang="fr-CA"/>
                </a:p>
              </p:txBody>
            </p:sp>
          </p:grpSp>
          <p:grpSp>
            <p:nvGrpSpPr>
              <p:cNvPr id="1613" name="Graphique 35" descr="Garçon dans un fauteuil roulant">
                <a:extLst>
                  <a:ext uri="{FF2B5EF4-FFF2-40B4-BE49-F238E27FC236}">
                    <a16:creationId xmlns:a16="http://schemas.microsoft.com/office/drawing/2014/main" id="{C93B266B-2B5B-09B1-16F0-D4321A90E59E}"/>
                  </a:ext>
                </a:extLst>
              </p:cNvPr>
              <p:cNvGrpSpPr/>
              <p:nvPr/>
            </p:nvGrpSpPr>
            <p:grpSpPr>
              <a:xfrm>
                <a:off x="9408469" y="3907926"/>
                <a:ext cx="79331" cy="83686"/>
                <a:chOff x="9408469" y="3907926"/>
                <a:chExt cx="79331" cy="83686"/>
              </a:xfrm>
            </p:grpSpPr>
            <p:sp>
              <p:nvSpPr>
                <p:cNvPr id="1614" name="Forme libre : forme 1613">
                  <a:extLst>
                    <a:ext uri="{FF2B5EF4-FFF2-40B4-BE49-F238E27FC236}">
                      <a16:creationId xmlns:a16="http://schemas.microsoft.com/office/drawing/2014/main" id="{9F467F3F-B176-2064-2F18-EC5B50E19743}"/>
                    </a:ext>
                  </a:extLst>
                </p:cNvPr>
                <p:cNvSpPr/>
                <p:nvPr/>
              </p:nvSpPr>
              <p:spPr>
                <a:xfrm>
                  <a:off x="9413190" y="3960732"/>
                  <a:ext cx="64888" cy="27596"/>
                </a:xfrm>
                <a:custGeom>
                  <a:avLst/>
                  <a:gdLst>
                    <a:gd name="connsiteX0" fmla="*/ 8773 w 64888"/>
                    <a:gd name="connsiteY0" fmla="*/ 2387 h 27596"/>
                    <a:gd name="connsiteX1" fmla="*/ 43265 w 64888"/>
                    <a:gd name="connsiteY1" fmla="*/ 3186 h 27596"/>
                    <a:gd name="connsiteX2" fmla="*/ 62910 w 64888"/>
                    <a:gd name="connsiteY2" fmla="*/ 3415 h 27596"/>
                    <a:gd name="connsiteX3" fmla="*/ 56000 w 64888"/>
                    <a:gd name="connsiteY3" fmla="*/ 25658 h 27596"/>
                    <a:gd name="connsiteX4" fmla="*/ 6032 w 64888"/>
                    <a:gd name="connsiteY4" fmla="*/ 25258 h 27596"/>
                    <a:gd name="connsiteX5" fmla="*/ 8773 w 64888"/>
                    <a:gd name="connsiteY5" fmla="*/ 2387 h 2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88" h="27596">
                      <a:moveTo>
                        <a:pt x="8773" y="2387"/>
                      </a:moveTo>
                      <a:cubicBezTo>
                        <a:pt x="13199" y="-297"/>
                        <a:pt x="30245" y="2472"/>
                        <a:pt x="43265" y="3186"/>
                      </a:cubicBezTo>
                      <a:cubicBezTo>
                        <a:pt x="53716" y="1816"/>
                        <a:pt x="60540" y="1816"/>
                        <a:pt x="62910" y="3415"/>
                      </a:cubicBezTo>
                      <a:cubicBezTo>
                        <a:pt x="68250" y="7012"/>
                        <a:pt x="68992" y="18491"/>
                        <a:pt x="56000" y="25658"/>
                      </a:cubicBezTo>
                      <a:cubicBezTo>
                        <a:pt x="49890" y="28770"/>
                        <a:pt x="11828" y="31054"/>
                        <a:pt x="6032" y="25258"/>
                      </a:cubicBezTo>
                      <a:cubicBezTo>
                        <a:pt x="-1021" y="18205"/>
                        <a:pt x="806" y="7184"/>
                        <a:pt x="8773" y="2387"/>
                      </a:cubicBezTo>
                      <a:close/>
                    </a:path>
                  </a:pathLst>
                </a:custGeom>
                <a:solidFill>
                  <a:srgbClr val="FFFFFF"/>
                </a:solidFill>
                <a:ln w="2826" cap="flat">
                  <a:noFill/>
                  <a:prstDash val="solid"/>
                  <a:miter/>
                </a:ln>
              </p:spPr>
              <p:txBody>
                <a:bodyPr rtlCol="0" anchor="ctr"/>
                <a:lstStyle/>
                <a:p>
                  <a:endParaRPr lang="fr-CA"/>
                </a:p>
              </p:txBody>
            </p:sp>
            <p:grpSp>
              <p:nvGrpSpPr>
                <p:cNvPr id="1615" name="Graphique 35" descr="Garçon dans un fauteuil roulant">
                  <a:extLst>
                    <a:ext uri="{FF2B5EF4-FFF2-40B4-BE49-F238E27FC236}">
                      <a16:creationId xmlns:a16="http://schemas.microsoft.com/office/drawing/2014/main" id="{F4D915EC-01FD-95CA-A305-2360B7FCC0A3}"/>
                    </a:ext>
                  </a:extLst>
                </p:cNvPr>
                <p:cNvGrpSpPr/>
                <p:nvPr/>
              </p:nvGrpSpPr>
              <p:grpSpPr>
                <a:xfrm>
                  <a:off x="9408469" y="3907926"/>
                  <a:ext cx="79331" cy="83686"/>
                  <a:chOff x="9408469" y="3907926"/>
                  <a:chExt cx="79331" cy="83686"/>
                </a:xfrm>
                <a:solidFill>
                  <a:srgbClr val="000000"/>
                </a:solidFill>
              </p:grpSpPr>
              <p:sp>
                <p:nvSpPr>
                  <p:cNvPr id="1616" name="Forme libre : forme 1615">
                    <a:extLst>
                      <a:ext uri="{FF2B5EF4-FFF2-40B4-BE49-F238E27FC236}">
                        <a16:creationId xmlns:a16="http://schemas.microsoft.com/office/drawing/2014/main" id="{BB2FEEB5-243E-41CA-9AEE-C6155FE8D9E2}"/>
                      </a:ext>
                    </a:extLst>
                  </p:cNvPr>
                  <p:cNvSpPr/>
                  <p:nvPr/>
                </p:nvSpPr>
                <p:spPr>
                  <a:xfrm>
                    <a:off x="9410128" y="3957123"/>
                    <a:ext cx="71444" cy="34489"/>
                  </a:xfrm>
                  <a:custGeom>
                    <a:avLst/>
                    <a:gdLst>
                      <a:gd name="connsiteX0" fmla="*/ 69656 w 71444"/>
                      <a:gd name="connsiteY0" fmla="*/ 6709 h 34489"/>
                      <a:gd name="connsiteX1" fmla="*/ 61775 w 71444"/>
                      <a:gd name="connsiteY1" fmla="*/ 2911 h 34489"/>
                      <a:gd name="connsiteX2" fmla="*/ 52324 w 71444"/>
                      <a:gd name="connsiteY2" fmla="*/ 3368 h 34489"/>
                      <a:gd name="connsiteX3" fmla="*/ 51125 w 71444"/>
                      <a:gd name="connsiteY3" fmla="*/ 4967 h 34489"/>
                      <a:gd name="connsiteX4" fmla="*/ 9408 w 71444"/>
                      <a:gd name="connsiteY4" fmla="*/ 4025 h 34489"/>
                      <a:gd name="connsiteX5" fmla="*/ 13634 w 71444"/>
                      <a:gd name="connsiteY5" fmla="*/ 34092 h 34489"/>
                      <a:gd name="connsiteX6" fmla="*/ 38533 w 71444"/>
                      <a:gd name="connsiteY6" fmla="*/ 35719 h 34489"/>
                      <a:gd name="connsiteX7" fmla="*/ 72255 w 71444"/>
                      <a:gd name="connsiteY7" fmla="*/ 20186 h 34489"/>
                      <a:gd name="connsiteX8" fmla="*/ 69656 w 71444"/>
                      <a:gd name="connsiteY8" fmla="*/ 6709 h 34489"/>
                      <a:gd name="connsiteX9" fmla="*/ 22486 w 71444"/>
                      <a:gd name="connsiteY9" fmla="*/ 7023 h 34489"/>
                      <a:gd name="connsiteX10" fmla="*/ 22486 w 71444"/>
                      <a:gd name="connsiteY10" fmla="*/ 7023 h 34489"/>
                      <a:gd name="connsiteX11" fmla="*/ 31337 w 71444"/>
                      <a:gd name="connsiteY11" fmla="*/ 7708 h 34489"/>
                      <a:gd name="connsiteX12" fmla="*/ 33079 w 71444"/>
                      <a:gd name="connsiteY12" fmla="*/ 7908 h 34489"/>
                      <a:gd name="connsiteX13" fmla="*/ 32851 w 71444"/>
                      <a:gd name="connsiteY13" fmla="*/ 12391 h 34489"/>
                      <a:gd name="connsiteX14" fmla="*/ 32822 w 71444"/>
                      <a:gd name="connsiteY14" fmla="*/ 17302 h 34489"/>
                      <a:gd name="connsiteX15" fmla="*/ 19773 w 71444"/>
                      <a:gd name="connsiteY15" fmla="*/ 17845 h 34489"/>
                      <a:gd name="connsiteX16" fmla="*/ 19145 w 71444"/>
                      <a:gd name="connsiteY16" fmla="*/ 12562 h 34489"/>
                      <a:gd name="connsiteX17" fmla="*/ 18460 w 71444"/>
                      <a:gd name="connsiteY17" fmla="*/ 7280 h 34489"/>
                      <a:gd name="connsiteX18" fmla="*/ 22486 w 71444"/>
                      <a:gd name="connsiteY18" fmla="*/ 7023 h 34489"/>
                      <a:gd name="connsiteX19" fmla="*/ 16775 w 71444"/>
                      <a:gd name="connsiteY19" fmla="*/ 7594 h 34489"/>
                      <a:gd name="connsiteX20" fmla="*/ 15833 w 71444"/>
                      <a:gd name="connsiteY20" fmla="*/ 18016 h 34489"/>
                      <a:gd name="connsiteX21" fmla="*/ 7752 w 71444"/>
                      <a:gd name="connsiteY21" fmla="*/ 18530 h 34489"/>
                      <a:gd name="connsiteX22" fmla="*/ 16775 w 71444"/>
                      <a:gd name="connsiteY22" fmla="*/ 7594 h 34489"/>
                      <a:gd name="connsiteX23" fmla="*/ 7838 w 71444"/>
                      <a:gd name="connsiteY23" fmla="*/ 19587 h 34489"/>
                      <a:gd name="connsiteX24" fmla="*/ 15804 w 71444"/>
                      <a:gd name="connsiteY24" fmla="*/ 19929 h 34489"/>
                      <a:gd name="connsiteX25" fmla="*/ 16261 w 71444"/>
                      <a:gd name="connsiteY25" fmla="*/ 27011 h 34489"/>
                      <a:gd name="connsiteX26" fmla="*/ 17318 w 71444"/>
                      <a:gd name="connsiteY26" fmla="*/ 28610 h 34489"/>
                      <a:gd name="connsiteX27" fmla="*/ 17575 w 71444"/>
                      <a:gd name="connsiteY27" fmla="*/ 28724 h 34489"/>
                      <a:gd name="connsiteX28" fmla="*/ 16861 w 71444"/>
                      <a:gd name="connsiteY28" fmla="*/ 28581 h 34489"/>
                      <a:gd name="connsiteX29" fmla="*/ 7838 w 71444"/>
                      <a:gd name="connsiteY29" fmla="*/ 19587 h 34489"/>
                      <a:gd name="connsiteX30" fmla="*/ 18803 w 71444"/>
                      <a:gd name="connsiteY30" fmla="*/ 28924 h 34489"/>
                      <a:gd name="connsiteX31" fmla="*/ 18803 w 71444"/>
                      <a:gd name="connsiteY31" fmla="*/ 28838 h 34489"/>
                      <a:gd name="connsiteX32" fmla="*/ 21201 w 71444"/>
                      <a:gd name="connsiteY32" fmla="*/ 25669 h 34489"/>
                      <a:gd name="connsiteX33" fmla="*/ 20487 w 71444"/>
                      <a:gd name="connsiteY33" fmla="*/ 21785 h 34489"/>
                      <a:gd name="connsiteX34" fmla="*/ 20487 w 71444"/>
                      <a:gd name="connsiteY34" fmla="*/ 21785 h 34489"/>
                      <a:gd name="connsiteX35" fmla="*/ 20145 w 71444"/>
                      <a:gd name="connsiteY35" fmla="*/ 19986 h 34489"/>
                      <a:gd name="connsiteX36" fmla="*/ 32851 w 71444"/>
                      <a:gd name="connsiteY36" fmla="*/ 19929 h 34489"/>
                      <a:gd name="connsiteX37" fmla="*/ 33022 w 71444"/>
                      <a:gd name="connsiteY37" fmla="*/ 26125 h 34489"/>
                      <a:gd name="connsiteX38" fmla="*/ 33193 w 71444"/>
                      <a:gd name="connsiteY38" fmla="*/ 29409 h 34489"/>
                      <a:gd name="connsiteX39" fmla="*/ 18803 w 71444"/>
                      <a:gd name="connsiteY39" fmla="*/ 28924 h 34489"/>
                      <a:gd name="connsiteX40" fmla="*/ 52096 w 71444"/>
                      <a:gd name="connsiteY40" fmla="*/ 20386 h 34489"/>
                      <a:gd name="connsiteX41" fmla="*/ 52096 w 71444"/>
                      <a:gd name="connsiteY41" fmla="*/ 20386 h 34489"/>
                      <a:gd name="connsiteX42" fmla="*/ 51867 w 71444"/>
                      <a:gd name="connsiteY42" fmla="*/ 24041 h 34489"/>
                      <a:gd name="connsiteX43" fmla="*/ 51582 w 71444"/>
                      <a:gd name="connsiteY43" fmla="*/ 27524 h 34489"/>
                      <a:gd name="connsiteX44" fmla="*/ 51011 w 71444"/>
                      <a:gd name="connsiteY44" fmla="*/ 28695 h 34489"/>
                      <a:gd name="connsiteX45" fmla="*/ 38733 w 71444"/>
                      <a:gd name="connsiteY45" fmla="*/ 29466 h 34489"/>
                      <a:gd name="connsiteX46" fmla="*/ 38733 w 71444"/>
                      <a:gd name="connsiteY46" fmla="*/ 29466 h 34489"/>
                      <a:gd name="connsiteX47" fmla="*/ 37905 w 71444"/>
                      <a:gd name="connsiteY47" fmla="*/ 28610 h 34489"/>
                      <a:gd name="connsiteX48" fmla="*/ 37933 w 71444"/>
                      <a:gd name="connsiteY48" fmla="*/ 28438 h 34489"/>
                      <a:gd name="connsiteX49" fmla="*/ 37790 w 71444"/>
                      <a:gd name="connsiteY49" fmla="*/ 27353 h 34489"/>
                      <a:gd name="connsiteX50" fmla="*/ 36734 w 71444"/>
                      <a:gd name="connsiteY50" fmla="*/ 19872 h 34489"/>
                      <a:gd name="connsiteX51" fmla="*/ 52153 w 71444"/>
                      <a:gd name="connsiteY51" fmla="*/ 19444 h 34489"/>
                      <a:gd name="connsiteX52" fmla="*/ 52096 w 71444"/>
                      <a:gd name="connsiteY52" fmla="*/ 20386 h 34489"/>
                      <a:gd name="connsiteX53" fmla="*/ 52381 w 71444"/>
                      <a:gd name="connsiteY53" fmla="*/ 16360 h 34489"/>
                      <a:gd name="connsiteX54" fmla="*/ 36420 w 71444"/>
                      <a:gd name="connsiteY54" fmla="*/ 17160 h 34489"/>
                      <a:gd name="connsiteX55" fmla="*/ 35649 w 71444"/>
                      <a:gd name="connsiteY55" fmla="*/ 9821 h 34489"/>
                      <a:gd name="connsiteX56" fmla="*/ 35649 w 71444"/>
                      <a:gd name="connsiteY56" fmla="*/ 9821 h 34489"/>
                      <a:gd name="connsiteX57" fmla="*/ 35506 w 71444"/>
                      <a:gd name="connsiteY57" fmla="*/ 8137 h 34489"/>
                      <a:gd name="connsiteX58" fmla="*/ 35506 w 71444"/>
                      <a:gd name="connsiteY58" fmla="*/ 8137 h 34489"/>
                      <a:gd name="connsiteX59" fmla="*/ 52381 w 71444"/>
                      <a:gd name="connsiteY59" fmla="*/ 7594 h 34489"/>
                      <a:gd name="connsiteX60" fmla="*/ 52924 w 71444"/>
                      <a:gd name="connsiteY60" fmla="*/ 7880 h 34489"/>
                      <a:gd name="connsiteX61" fmla="*/ 53095 w 71444"/>
                      <a:gd name="connsiteY61" fmla="*/ 7937 h 34489"/>
                      <a:gd name="connsiteX62" fmla="*/ 52381 w 71444"/>
                      <a:gd name="connsiteY62" fmla="*/ 16360 h 34489"/>
                      <a:gd name="connsiteX63" fmla="*/ 55522 w 71444"/>
                      <a:gd name="connsiteY63" fmla="*/ 27553 h 34489"/>
                      <a:gd name="connsiteX64" fmla="*/ 55180 w 71444"/>
                      <a:gd name="connsiteY64" fmla="*/ 24127 h 34489"/>
                      <a:gd name="connsiteX65" fmla="*/ 54922 w 71444"/>
                      <a:gd name="connsiteY65" fmla="*/ 20101 h 34489"/>
                      <a:gd name="connsiteX66" fmla="*/ 54922 w 71444"/>
                      <a:gd name="connsiteY66" fmla="*/ 20072 h 34489"/>
                      <a:gd name="connsiteX67" fmla="*/ 54866 w 71444"/>
                      <a:gd name="connsiteY67" fmla="*/ 19330 h 34489"/>
                      <a:gd name="connsiteX68" fmla="*/ 61461 w 71444"/>
                      <a:gd name="connsiteY68" fmla="*/ 19073 h 34489"/>
                      <a:gd name="connsiteX69" fmla="*/ 62261 w 71444"/>
                      <a:gd name="connsiteY69" fmla="*/ 19073 h 34489"/>
                      <a:gd name="connsiteX70" fmla="*/ 66030 w 71444"/>
                      <a:gd name="connsiteY70" fmla="*/ 18787 h 34489"/>
                      <a:gd name="connsiteX71" fmla="*/ 55522 w 71444"/>
                      <a:gd name="connsiteY71" fmla="*/ 27553 h 34489"/>
                      <a:gd name="connsiteX72" fmla="*/ 61604 w 71444"/>
                      <a:gd name="connsiteY72" fmla="*/ 15789 h 34489"/>
                      <a:gd name="connsiteX73" fmla="*/ 54637 w 71444"/>
                      <a:gd name="connsiteY73" fmla="*/ 16246 h 34489"/>
                      <a:gd name="connsiteX74" fmla="*/ 54152 w 71444"/>
                      <a:gd name="connsiteY74" fmla="*/ 8279 h 34489"/>
                      <a:gd name="connsiteX75" fmla="*/ 54152 w 71444"/>
                      <a:gd name="connsiteY75" fmla="*/ 8279 h 34489"/>
                      <a:gd name="connsiteX76" fmla="*/ 54152 w 71444"/>
                      <a:gd name="connsiteY76" fmla="*/ 8279 h 34489"/>
                      <a:gd name="connsiteX77" fmla="*/ 54152 w 71444"/>
                      <a:gd name="connsiteY77" fmla="*/ 8279 h 34489"/>
                      <a:gd name="connsiteX78" fmla="*/ 57921 w 71444"/>
                      <a:gd name="connsiteY78" fmla="*/ 8794 h 34489"/>
                      <a:gd name="connsiteX79" fmla="*/ 66772 w 71444"/>
                      <a:gd name="connsiteY79" fmla="*/ 15818 h 34489"/>
                      <a:gd name="connsiteX80" fmla="*/ 61604 w 71444"/>
                      <a:gd name="connsiteY80" fmla="*/ 15789 h 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1444" h="34489">
                        <a:moveTo>
                          <a:pt x="69656" y="6709"/>
                        </a:moveTo>
                        <a:cubicBezTo>
                          <a:pt x="67229" y="4310"/>
                          <a:pt x="64031" y="3340"/>
                          <a:pt x="61775" y="2911"/>
                        </a:cubicBezTo>
                        <a:cubicBezTo>
                          <a:pt x="58663" y="2426"/>
                          <a:pt x="55265" y="1855"/>
                          <a:pt x="52324" y="3368"/>
                        </a:cubicBezTo>
                        <a:cubicBezTo>
                          <a:pt x="51667" y="3625"/>
                          <a:pt x="51211" y="4254"/>
                          <a:pt x="51125" y="4967"/>
                        </a:cubicBezTo>
                        <a:cubicBezTo>
                          <a:pt x="37248" y="5681"/>
                          <a:pt x="22543" y="-3056"/>
                          <a:pt x="9408" y="4025"/>
                        </a:cubicBezTo>
                        <a:cubicBezTo>
                          <a:pt x="-2641" y="10764"/>
                          <a:pt x="-243" y="30751"/>
                          <a:pt x="13634" y="34092"/>
                        </a:cubicBezTo>
                        <a:cubicBezTo>
                          <a:pt x="21658" y="36433"/>
                          <a:pt x="30367" y="35462"/>
                          <a:pt x="38533" y="35719"/>
                        </a:cubicBezTo>
                        <a:cubicBezTo>
                          <a:pt x="51496" y="35891"/>
                          <a:pt x="67086" y="33692"/>
                          <a:pt x="72255" y="20186"/>
                        </a:cubicBezTo>
                        <a:cubicBezTo>
                          <a:pt x="73853" y="15675"/>
                          <a:pt x="73225" y="10135"/>
                          <a:pt x="69656" y="6709"/>
                        </a:cubicBezTo>
                        <a:close/>
                        <a:moveTo>
                          <a:pt x="22486" y="7023"/>
                        </a:moveTo>
                        <a:lnTo>
                          <a:pt x="22486" y="7023"/>
                        </a:lnTo>
                        <a:cubicBezTo>
                          <a:pt x="25455" y="7080"/>
                          <a:pt x="28397" y="7309"/>
                          <a:pt x="31337" y="7708"/>
                        </a:cubicBezTo>
                        <a:cubicBezTo>
                          <a:pt x="31566" y="7737"/>
                          <a:pt x="32822" y="7880"/>
                          <a:pt x="33079" y="7908"/>
                        </a:cubicBezTo>
                        <a:cubicBezTo>
                          <a:pt x="32879" y="9393"/>
                          <a:pt x="32822" y="10906"/>
                          <a:pt x="32851" y="12391"/>
                        </a:cubicBezTo>
                        <a:cubicBezTo>
                          <a:pt x="32879" y="14133"/>
                          <a:pt x="32822" y="15532"/>
                          <a:pt x="32822" y="17302"/>
                        </a:cubicBezTo>
                        <a:cubicBezTo>
                          <a:pt x="28482" y="17474"/>
                          <a:pt x="24142" y="17616"/>
                          <a:pt x="19773" y="17845"/>
                        </a:cubicBezTo>
                        <a:cubicBezTo>
                          <a:pt x="19431" y="15903"/>
                          <a:pt x="19259" y="14476"/>
                          <a:pt x="19145" y="12562"/>
                        </a:cubicBezTo>
                        <a:cubicBezTo>
                          <a:pt x="19088" y="10792"/>
                          <a:pt x="18859" y="9022"/>
                          <a:pt x="18460" y="7280"/>
                        </a:cubicBezTo>
                        <a:cubicBezTo>
                          <a:pt x="19802" y="7080"/>
                          <a:pt x="21087" y="7023"/>
                          <a:pt x="22486" y="7023"/>
                        </a:cubicBezTo>
                        <a:close/>
                        <a:moveTo>
                          <a:pt x="16775" y="7594"/>
                        </a:moveTo>
                        <a:cubicBezTo>
                          <a:pt x="15776" y="10992"/>
                          <a:pt x="15975" y="14590"/>
                          <a:pt x="15833" y="18016"/>
                        </a:cubicBezTo>
                        <a:cubicBezTo>
                          <a:pt x="13206" y="18102"/>
                          <a:pt x="10436" y="18216"/>
                          <a:pt x="7752" y="18530"/>
                        </a:cubicBezTo>
                        <a:cubicBezTo>
                          <a:pt x="7181" y="12934"/>
                          <a:pt x="12092" y="8337"/>
                          <a:pt x="16775" y="7594"/>
                        </a:cubicBezTo>
                        <a:close/>
                        <a:moveTo>
                          <a:pt x="7838" y="19587"/>
                        </a:moveTo>
                        <a:cubicBezTo>
                          <a:pt x="10579" y="19872"/>
                          <a:pt x="13406" y="19901"/>
                          <a:pt x="15804" y="19929"/>
                        </a:cubicBezTo>
                        <a:cubicBezTo>
                          <a:pt x="15804" y="22299"/>
                          <a:pt x="15947" y="24669"/>
                          <a:pt x="16261" y="27011"/>
                        </a:cubicBezTo>
                        <a:cubicBezTo>
                          <a:pt x="16318" y="27696"/>
                          <a:pt x="16718" y="28295"/>
                          <a:pt x="17318" y="28610"/>
                        </a:cubicBezTo>
                        <a:cubicBezTo>
                          <a:pt x="17403" y="28667"/>
                          <a:pt x="17603" y="28695"/>
                          <a:pt x="17575" y="28724"/>
                        </a:cubicBezTo>
                        <a:cubicBezTo>
                          <a:pt x="17546" y="28781"/>
                          <a:pt x="17089" y="28638"/>
                          <a:pt x="16861" y="28581"/>
                        </a:cubicBezTo>
                        <a:cubicBezTo>
                          <a:pt x="11521" y="27353"/>
                          <a:pt x="8494" y="24355"/>
                          <a:pt x="7838" y="19587"/>
                        </a:cubicBezTo>
                        <a:close/>
                        <a:moveTo>
                          <a:pt x="18803" y="28924"/>
                        </a:moveTo>
                        <a:cubicBezTo>
                          <a:pt x="18745" y="28924"/>
                          <a:pt x="18745" y="28838"/>
                          <a:pt x="18803" y="28838"/>
                        </a:cubicBezTo>
                        <a:cubicBezTo>
                          <a:pt x="20259" y="28581"/>
                          <a:pt x="21515" y="27182"/>
                          <a:pt x="21201" y="25669"/>
                        </a:cubicBezTo>
                        <a:cubicBezTo>
                          <a:pt x="20972" y="24355"/>
                          <a:pt x="20715" y="23070"/>
                          <a:pt x="20487" y="21785"/>
                        </a:cubicBezTo>
                        <a:lnTo>
                          <a:pt x="20487" y="21785"/>
                        </a:lnTo>
                        <a:cubicBezTo>
                          <a:pt x="20373" y="21186"/>
                          <a:pt x="20259" y="20586"/>
                          <a:pt x="20145" y="19986"/>
                        </a:cubicBezTo>
                        <a:cubicBezTo>
                          <a:pt x="24256" y="20072"/>
                          <a:pt x="28825" y="20015"/>
                          <a:pt x="32851" y="19929"/>
                        </a:cubicBezTo>
                        <a:cubicBezTo>
                          <a:pt x="32851" y="22014"/>
                          <a:pt x="33022" y="24041"/>
                          <a:pt x="33022" y="26125"/>
                        </a:cubicBezTo>
                        <a:cubicBezTo>
                          <a:pt x="32994" y="27210"/>
                          <a:pt x="33051" y="28324"/>
                          <a:pt x="33193" y="29409"/>
                        </a:cubicBezTo>
                        <a:cubicBezTo>
                          <a:pt x="28397" y="29438"/>
                          <a:pt x="23571" y="29609"/>
                          <a:pt x="18803" y="28924"/>
                        </a:cubicBezTo>
                        <a:close/>
                        <a:moveTo>
                          <a:pt x="52096" y="20386"/>
                        </a:moveTo>
                        <a:lnTo>
                          <a:pt x="52096" y="20386"/>
                        </a:lnTo>
                        <a:cubicBezTo>
                          <a:pt x="52010" y="21585"/>
                          <a:pt x="51925" y="22813"/>
                          <a:pt x="51867" y="24041"/>
                        </a:cubicBezTo>
                        <a:cubicBezTo>
                          <a:pt x="51867" y="25212"/>
                          <a:pt x="51753" y="26354"/>
                          <a:pt x="51582" y="27524"/>
                        </a:cubicBezTo>
                        <a:cubicBezTo>
                          <a:pt x="51239" y="27810"/>
                          <a:pt x="51039" y="28238"/>
                          <a:pt x="51011" y="28695"/>
                        </a:cubicBezTo>
                        <a:cubicBezTo>
                          <a:pt x="46928" y="29381"/>
                          <a:pt x="42844" y="29552"/>
                          <a:pt x="38733" y="29466"/>
                        </a:cubicBezTo>
                        <a:lnTo>
                          <a:pt x="38733" y="29466"/>
                        </a:lnTo>
                        <a:cubicBezTo>
                          <a:pt x="38561" y="29095"/>
                          <a:pt x="38276" y="28752"/>
                          <a:pt x="37905" y="28610"/>
                        </a:cubicBezTo>
                        <a:lnTo>
                          <a:pt x="37933" y="28438"/>
                        </a:lnTo>
                        <a:cubicBezTo>
                          <a:pt x="37933" y="28067"/>
                          <a:pt x="37876" y="27696"/>
                          <a:pt x="37790" y="27353"/>
                        </a:cubicBezTo>
                        <a:cubicBezTo>
                          <a:pt x="37305" y="24783"/>
                          <a:pt x="37048" y="22356"/>
                          <a:pt x="36734" y="19872"/>
                        </a:cubicBezTo>
                        <a:cubicBezTo>
                          <a:pt x="42017" y="19758"/>
                          <a:pt x="47213" y="19615"/>
                          <a:pt x="52153" y="19444"/>
                        </a:cubicBezTo>
                        <a:cubicBezTo>
                          <a:pt x="52153" y="19758"/>
                          <a:pt x="52124" y="20072"/>
                          <a:pt x="52096" y="20386"/>
                        </a:cubicBezTo>
                        <a:close/>
                        <a:moveTo>
                          <a:pt x="52381" y="16360"/>
                        </a:moveTo>
                        <a:cubicBezTo>
                          <a:pt x="46471" y="16674"/>
                          <a:pt x="41103" y="16931"/>
                          <a:pt x="36420" y="17160"/>
                        </a:cubicBezTo>
                        <a:cubicBezTo>
                          <a:pt x="36134" y="14675"/>
                          <a:pt x="35849" y="12134"/>
                          <a:pt x="35649" y="9821"/>
                        </a:cubicBezTo>
                        <a:lnTo>
                          <a:pt x="35649" y="9821"/>
                        </a:lnTo>
                        <a:cubicBezTo>
                          <a:pt x="35592" y="9279"/>
                          <a:pt x="35563" y="8708"/>
                          <a:pt x="35506" y="8137"/>
                        </a:cubicBezTo>
                        <a:lnTo>
                          <a:pt x="35506" y="8137"/>
                        </a:lnTo>
                        <a:cubicBezTo>
                          <a:pt x="41388" y="8622"/>
                          <a:pt x="46642" y="8365"/>
                          <a:pt x="52381" y="7594"/>
                        </a:cubicBezTo>
                        <a:cubicBezTo>
                          <a:pt x="52553" y="7708"/>
                          <a:pt x="52724" y="7794"/>
                          <a:pt x="52924" y="7880"/>
                        </a:cubicBezTo>
                        <a:lnTo>
                          <a:pt x="53095" y="7937"/>
                        </a:lnTo>
                        <a:cubicBezTo>
                          <a:pt x="52752" y="10792"/>
                          <a:pt x="52581" y="13619"/>
                          <a:pt x="52381" y="16360"/>
                        </a:cubicBezTo>
                        <a:close/>
                        <a:moveTo>
                          <a:pt x="55522" y="27553"/>
                        </a:moveTo>
                        <a:cubicBezTo>
                          <a:pt x="55322" y="26439"/>
                          <a:pt x="55208" y="25298"/>
                          <a:pt x="55180" y="24127"/>
                        </a:cubicBezTo>
                        <a:cubicBezTo>
                          <a:pt x="55123" y="22813"/>
                          <a:pt x="55008" y="21414"/>
                          <a:pt x="54922" y="20101"/>
                        </a:cubicBezTo>
                        <a:lnTo>
                          <a:pt x="54922" y="20072"/>
                        </a:lnTo>
                        <a:cubicBezTo>
                          <a:pt x="54894" y="19844"/>
                          <a:pt x="54866" y="19587"/>
                          <a:pt x="54866" y="19330"/>
                        </a:cubicBezTo>
                        <a:cubicBezTo>
                          <a:pt x="57035" y="19272"/>
                          <a:pt x="59263" y="19101"/>
                          <a:pt x="61461" y="19073"/>
                        </a:cubicBezTo>
                        <a:cubicBezTo>
                          <a:pt x="61661" y="19073"/>
                          <a:pt x="62061" y="19073"/>
                          <a:pt x="62261" y="19073"/>
                        </a:cubicBezTo>
                        <a:cubicBezTo>
                          <a:pt x="63517" y="19130"/>
                          <a:pt x="64774" y="19016"/>
                          <a:pt x="66030" y="18787"/>
                        </a:cubicBezTo>
                        <a:cubicBezTo>
                          <a:pt x="64031" y="23156"/>
                          <a:pt x="60376" y="25840"/>
                          <a:pt x="55522" y="27553"/>
                        </a:cubicBezTo>
                        <a:close/>
                        <a:moveTo>
                          <a:pt x="61604" y="15789"/>
                        </a:moveTo>
                        <a:cubicBezTo>
                          <a:pt x="59520" y="16046"/>
                          <a:pt x="56750" y="16103"/>
                          <a:pt x="54637" y="16246"/>
                        </a:cubicBezTo>
                        <a:cubicBezTo>
                          <a:pt x="54494" y="13590"/>
                          <a:pt x="54352" y="10964"/>
                          <a:pt x="54152" y="8279"/>
                        </a:cubicBezTo>
                        <a:cubicBezTo>
                          <a:pt x="54152" y="8279"/>
                          <a:pt x="54152" y="8279"/>
                          <a:pt x="54152" y="8279"/>
                        </a:cubicBezTo>
                        <a:lnTo>
                          <a:pt x="54152" y="8279"/>
                        </a:lnTo>
                        <a:lnTo>
                          <a:pt x="54152" y="8279"/>
                        </a:lnTo>
                        <a:cubicBezTo>
                          <a:pt x="55379" y="8565"/>
                          <a:pt x="56664" y="8736"/>
                          <a:pt x="57921" y="8794"/>
                        </a:cubicBezTo>
                        <a:cubicBezTo>
                          <a:pt x="62289" y="8794"/>
                          <a:pt x="67429" y="10906"/>
                          <a:pt x="66772" y="15818"/>
                        </a:cubicBezTo>
                        <a:cubicBezTo>
                          <a:pt x="65088" y="15361"/>
                          <a:pt x="63317" y="15589"/>
                          <a:pt x="61604" y="15789"/>
                        </a:cubicBezTo>
                        <a:close/>
                      </a:path>
                    </a:pathLst>
                  </a:custGeom>
                  <a:solidFill>
                    <a:srgbClr val="000000"/>
                  </a:solidFill>
                  <a:ln w="2826" cap="flat">
                    <a:noFill/>
                    <a:prstDash val="solid"/>
                    <a:miter/>
                  </a:ln>
                </p:spPr>
                <p:txBody>
                  <a:bodyPr rtlCol="0" anchor="ctr"/>
                  <a:lstStyle/>
                  <a:p>
                    <a:endParaRPr lang="fr-CA"/>
                  </a:p>
                </p:txBody>
              </p:sp>
              <p:sp>
                <p:nvSpPr>
                  <p:cNvPr id="1617" name="Forme libre : forme 1616">
                    <a:extLst>
                      <a:ext uri="{FF2B5EF4-FFF2-40B4-BE49-F238E27FC236}">
                        <a16:creationId xmlns:a16="http://schemas.microsoft.com/office/drawing/2014/main" id="{FD6412F2-C652-E34E-668E-0A840A1424F6}"/>
                      </a:ext>
                    </a:extLst>
                  </p:cNvPr>
                  <p:cNvSpPr/>
                  <p:nvPr/>
                </p:nvSpPr>
                <p:spPr>
                  <a:xfrm>
                    <a:off x="9449973" y="3937634"/>
                    <a:ext cx="19505" cy="16824"/>
                  </a:xfrm>
                  <a:custGeom>
                    <a:avLst/>
                    <a:gdLst>
                      <a:gd name="connsiteX0" fmla="*/ 7368 w 19505"/>
                      <a:gd name="connsiteY0" fmla="*/ 18061 h 16824"/>
                      <a:gd name="connsiteX1" fmla="*/ 1914 w 19505"/>
                      <a:gd name="connsiteY1" fmla="*/ 12950 h 16824"/>
                      <a:gd name="connsiteX2" fmla="*/ 4684 w 19505"/>
                      <a:gd name="connsiteY2" fmla="*/ 10894 h 16824"/>
                      <a:gd name="connsiteX3" fmla="*/ 6283 w 19505"/>
                      <a:gd name="connsiteY3" fmla="*/ 11436 h 16824"/>
                      <a:gd name="connsiteX4" fmla="*/ 8510 w 19505"/>
                      <a:gd name="connsiteY4" fmla="*/ 11951 h 16824"/>
                      <a:gd name="connsiteX5" fmla="*/ 12822 w 19505"/>
                      <a:gd name="connsiteY5" fmla="*/ 11208 h 16824"/>
                      <a:gd name="connsiteX6" fmla="*/ 16334 w 19505"/>
                      <a:gd name="connsiteY6" fmla="*/ 8667 h 16824"/>
                      <a:gd name="connsiteX7" fmla="*/ 14221 w 19505"/>
                      <a:gd name="connsiteY7" fmla="*/ 4612 h 16824"/>
                      <a:gd name="connsiteX8" fmla="*/ 11108 w 19505"/>
                      <a:gd name="connsiteY8" fmla="*/ 4127 h 16824"/>
                      <a:gd name="connsiteX9" fmla="*/ 10538 w 19505"/>
                      <a:gd name="connsiteY9" fmla="*/ 4098 h 16824"/>
                      <a:gd name="connsiteX10" fmla="*/ 6026 w 19505"/>
                      <a:gd name="connsiteY10" fmla="*/ 4498 h 16824"/>
                      <a:gd name="connsiteX11" fmla="*/ 3057 w 19505"/>
                      <a:gd name="connsiteY11" fmla="*/ 4841 h 16824"/>
                      <a:gd name="connsiteX12" fmla="*/ 2685 w 19505"/>
                      <a:gd name="connsiteY12" fmla="*/ 4555 h 16824"/>
                      <a:gd name="connsiteX13" fmla="*/ 2857 w 19505"/>
                      <a:gd name="connsiteY13" fmla="*/ 4070 h 16824"/>
                      <a:gd name="connsiteX14" fmla="*/ 7625 w 19505"/>
                      <a:gd name="connsiteY14" fmla="*/ 2128 h 16824"/>
                      <a:gd name="connsiteX15" fmla="*/ 18590 w 19505"/>
                      <a:gd name="connsiteY15" fmla="*/ 2556 h 16824"/>
                      <a:gd name="connsiteX16" fmla="*/ 19475 w 19505"/>
                      <a:gd name="connsiteY16" fmla="*/ 12778 h 16824"/>
                      <a:gd name="connsiteX17" fmla="*/ 7368 w 19505"/>
                      <a:gd name="connsiteY17" fmla="*/ 18061 h 16824"/>
                      <a:gd name="connsiteX18" fmla="*/ 7368 w 19505"/>
                      <a:gd name="connsiteY18" fmla="*/ 18061 h 1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505" h="16824">
                        <a:moveTo>
                          <a:pt x="7368" y="18061"/>
                        </a:moveTo>
                        <a:cubicBezTo>
                          <a:pt x="4113" y="18146"/>
                          <a:pt x="630" y="16234"/>
                          <a:pt x="1914" y="12950"/>
                        </a:cubicBezTo>
                        <a:cubicBezTo>
                          <a:pt x="2371" y="11836"/>
                          <a:pt x="3456" y="10922"/>
                          <a:pt x="4684" y="10894"/>
                        </a:cubicBezTo>
                        <a:cubicBezTo>
                          <a:pt x="5255" y="10922"/>
                          <a:pt x="5826" y="11094"/>
                          <a:pt x="6283" y="11436"/>
                        </a:cubicBezTo>
                        <a:cubicBezTo>
                          <a:pt x="6968" y="11808"/>
                          <a:pt x="7739" y="11979"/>
                          <a:pt x="8510" y="11951"/>
                        </a:cubicBezTo>
                        <a:cubicBezTo>
                          <a:pt x="9967" y="11893"/>
                          <a:pt x="11423" y="11636"/>
                          <a:pt x="12822" y="11208"/>
                        </a:cubicBezTo>
                        <a:cubicBezTo>
                          <a:pt x="14021" y="10865"/>
                          <a:pt x="15620" y="10009"/>
                          <a:pt x="16334" y="8667"/>
                        </a:cubicBezTo>
                        <a:cubicBezTo>
                          <a:pt x="17190" y="6925"/>
                          <a:pt x="16191" y="5240"/>
                          <a:pt x="14221" y="4612"/>
                        </a:cubicBezTo>
                        <a:cubicBezTo>
                          <a:pt x="13222" y="4298"/>
                          <a:pt x="12165" y="4127"/>
                          <a:pt x="11108" y="4127"/>
                        </a:cubicBezTo>
                        <a:cubicBezTo>
                          <a:pt x="10909" y="4098"/>
                          <a:pt x="10738" y="4098"/>
                          <a:pt x="10538" y="4098"/>
                        </a:cubicBezTo>
                        <a:cubicBezTo>
                          <a:pt x="9024" y="4127"/>
                          <a:pt x="7511" y="4269"/>
                          <a:pt x="6026" y="4498"/>
                        </a:cubicBezTo>
                        <a:cubicBezTo>
                          <a:pt x="5055" y="4641"/>
                          <a:pt x="4056" y="4784"/>
                          <a:pt x="3057" y="4841"/>
                        </a:cubicBezTo>
                        <a:cubicBezTo>
                          <a:pt x="2885" y="4869"/>
                          <a:pt x="2714" y="4726"/>
                          <a:pt x="2685" y="4555"/>
                        </a:cubicBezTo>
                        <a:cubicBezTo>
                          <a:pt x="2628" y="4384"/>
                          <a:pt x="2685" y="4155"/>
                          <a:pt x="2857" y="4070"/>
                        </a:cubicBezTo>
                        <a:cubicBezTo>
                          <a:pt x="4370" y="3242"/>
                          <a:pt x="5969" y="2585"/>
                          <a:pt x="7625" y="2128"/>
                        </a:cubicBezTo>
                        <a:cubicBezTo>
                          <a:pt x="10966" y="1129"/>
                          <a:pt x="15820" y="615"/>
                          <a:pt x="18590" y="2556"/>
                        </a:cubicBezTo>
                        <a:cubicBezTo>
                          <a:pt x="21788" y="4584"/>
                          <a:pt x="21873" y="9923"/>
                          <a:pt x="19475" y="12778"/>
                        </a:cubicBezTo>
                        <a:cubicBezTo>
                          <a:pt x="16363" y="16490"/>
                          <a:pt x="12765" y="17633"/>
                          <a:pt x="7368" y="18061"/>
                        </a:cubicBezTo>
                        <a:lnTo>
                          <a:pt x="7368" y="18061"/>
                        </a:lnTo>
                        <a:close/>
                      </a:path>
                    </a:pathLst>
                  </a:custGeom>
                  <a:solidFill>
                    <a:srgbClr val="000000"/>
                  </a:solidFill>
                  <a:ln w="2826" cap="flat">
                    <a:noFill/>
                    <a:prstDash val="solid"/>
                    <a:miter/>
                  </a:ln>
                </p:spPr>
                <p:txBody>
                  <a:bodyPr rtlCol="0" anchor="ctr"/>
                  <a:lstStyle/>
                  <a:p>
                    <a:endParaRPr lang="fr-CA"/>
                  </a:p>
                </p:txBody>
              </p:sp>
              <p:sp>
                <p:nvSpPr>
                  <p:cNvPr id="1618" name="Forme libre : forme 1617">
                    <a:extLst>
                      <a:ext uri="{FF2B5EF4-FFF2-40B4-BE49-F238E27FC236}">
                        <a16:creationId xmlns:a16="http://schemas.microsoft.com/office/drawing/2014/main" id="{31ACAB04-5F2A-B42A-C294-3956D4F9C247}"/>
                      </a:ext>
                    </a:extLst>
                  </p:cNvPr>
                  <p:cNvSpPr/>
                  <p:nvPr/>
                </p:nvSpPr>
                <p:spPr>
                  <a:xfrm>
                    <a:off x="9465049" y="3926096"/>
                    <a:ext cx="16520" cy="15025"/>
                  </a:xfrm>
                  <a:custGeom>
                    <a:avLst/>
                    <a:gdLst>
                      <a:gd name="connsiteX0" fmla="*/ 15449 w 16520"/>
                      <a:gd name="connsiteY0" fmla="*/ 16265 h 15025"/>
                      <a:gd name="connsiteX1" fmla="*/ 14592 w 16520"/>
                      <a:gd name="connsiteY1" fmla="*/ 16150 h 15025"/>
                      <a:gd name="connsiteX2" fmla="*/ 13164 w 16520"/>
                      <a:gd name="connsiteY2" fmla="*/ 15208 h 15025"/>
                      <a:gd name="connsiteX3" fmla="*/ 12622 w 16520"/>
                      <a:gd name="connsiteY3" fmla="*/ 13609 h 15025"/>
                      <a:gd name="connsiteX4" fmla="*/ 12193 w 16520"/>
                      <a:gd name="connsiteY4" fmla="*/ 9041 h 15025"/>
                      <a:gd name="connsiteX5" fmla="*/ 9110 w 16520"/>
                      <a:gd name="connsiteY5" fmla="*/ 6414 h 15025"/>
                      <a:gd name="connsiteX6" fmla="*/ 4570 w 16520"/>
                      <a:gd name="connsiteY6" fmla="*/ 11154 h 15025"/>
                      <a:gd name="connsiteX7" fmla="*/ 1743 w 16520"/>
                      <a:gd name="connsiteY7" fmla="*/ 9041 h 15025"/>
                      <a:gd name="connsiteX8" fmla="*/ 15791 w 16520"/>
                      <a:gd name="connsiteY8" fmla="*/ 4729 h 15025"/>
                      <a:gd name="connsiteX9" fmla="*/ 17847 w 16520"/>
                      <a:gd name="connsiteY9" fmla="*/ 14323 h 15025"/>
                      <a:gd name="connsiteX10" fmla="*/ 16962 w 16520"/>
                      <a:gd name="connsiteY10" fmla="*/ 15665 h 15025"/>
                      <a:gd name="connsiteX11" fmla="*/ 15449 w 16520"/>
                      <a:gd name="connsiteY11" fmla="*/ 16265 h 15025"/>
                      <a:gd name="connsiteX12" fmla="*/ 15449 w 16520"/>
                      <a:gd name="connsiteY12" fmla="*/ 16265 h 1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20" h="15025">
                        <a:moveTo>
                          <a:pt x="15449" y="16265"/>
                        </a:moveTo>
                        <a:cubicBezTo>
                          <a:pt x="15163" y="16265"/>
                          <a:pt x="14849" y="16236"/>
                          <a:pt x="14592" y="16150"/>
                        </a:cubicBezTo>
                        <a:cubicBezTo>
                          <a:pt x="14021" y="16008"/>
                          <a:pt x="13535" y="15665"/>
                          <a:pt x="13164" y="15208"/>
                        </a:cubicBezTo>
                        <a:cubicBezTo>
                          <a:pt x="12793" y="14751"/>
                          <a:pt x="12593" y="14180"/>
                          <a:pt x="12622" y="13609"/>
                        </a:cubicBezTo>
                        <a:cubicBezTo>
                          <a:pt x="12708" y="12267"/>
                          <a:pt x="12765" y="10583"/>
                          <a:pt x="12193" y="9041"/>
                        </a:cubicBezTo>
                        <a:cubicBezTo>
                          <a:pt x="11737" y="7642"/>
                          <a:pt x="10538" y="6642"/>
                          <a:pt x="9110" y="6414"/>
                        </a:cubicBezTo>
                        <a:cubicBezTo>
                          <a:pt x="6369" y="5786"/>
                          <a:pt x="4570" y="8555"/>
                          <a:pt x="4570" y="11154"/>
                        </a:cubicBezTo>
                        <a:cubicBezTo>
                          <a:pt x="3941" y="13038"/>
                          <a:pt x="1800" y="10011"/>
                          <a:pt x="1743" y="9041"/>
                        </a:cubicBezTo>
                        <a:cubicBezTo>
                          <a:pt x="458" y="874"/>
                          <a:pt x="11680" y="-1410"/>
                          <a:pt x="15791" y="4729"/>
                        </a:cubicBezTo>
                        <a:cubicBezTo>
                          <a:pt x="17904" y="7442"/>
                          <a:pt x="18647" y="10982"/>
                          <a:pt x="17847" y="14323"/>
                        </a:cubicBezTo>
                        <a:cubicBezTo>
                          <a:pt x="17704" y="14837"/>
                          <a:pt x="17390" y="15322"/>
                          <a:pt x="16962" y="15665"/>
                        </a:cubicBezTo>
                        <a:cubicBezTo>
                          <a:pt x="16534" y="16036"/>
                          <a:pt x="16020" y="16265"/>
                          <a:pt x="15449" y="16265"/>
                        </a:cubicBezTo>
                        <a:lnTo>
                          <a:pt x="15449" y="16265"/>
                        </a:lnTo>
                        <a:close/>
                      </a:path>
                    </a:pathLst>
                  </a:custGeom>
                  <a:solidFill>
                    <a:srgbClr val="000000"/>
                  </a:solidFill>
                  <a:ln w="2826" cap="flat">
                    <a:noFill/>
                    <a:prstDash val="solid"/>
                    <a:miter/>
                  </a:ln>
                </p:spPr>
                <p:txBody>
                  <a:bodyPr rtlCol="0" anchor="ctr"/>
                  <a:lstStyle/>
                  <a:p>
                    <a:endParaRPr lang="fr-CA"/>
                  </a:p>
                </p:txBody>
              </p:sp>
              <p:sp>
                <p:nvSpPr>
                  <p:cNvPr id="1619" name="Forme libre : forme 1618">
                    <a:extLst>
                      <a:ext uri="{FF2B5EF4-FFF2-40B4-BE49-F238E27FC236}">
                        <a16:creationId xmlns:a16="http://schemas.microsoft.com/office/drawing/2014/main" id="{4385F9F4-4723-30B9-4204-8307FB2832EC}"/>
                      </a:ext>
                    </a:extLst>
                  </p:cNvPr>
                  <p:cNvSpPr/>
                  <p:nvPr/>
                </p:nvSpPr>
                <p:spPr>
                  <a:xfrm>
                    <a:off x="9415068" y="3927226"/>
                    <a:ext cx="20723" cy="12695"/>
                  </a:xfrm>
                  <a:custGeom>
                    <a:avLst/>
                    <a:gdLst>
                      <a:gd name="connsiteX0" fmla="*/ 3754 w 20723"/>
                      <a:gd name="connsiteY0" fmla="*/ 13935 h 12695"/>
                      <a:gd name="connsiteX1" fmla="*/ 1641 w 20723"/>
                      <a:gd name="connsiteY1" fmla="*/ 10908 h 12695"/>
                      <a:gd name="connsiteX2" fmla="*/ 20829 w 20723"/>
                      <a:gd name="connsiteY2" fmla="*/ 6968 h 12695"/>
                      <a:gd name="connsiteX3" fmla="*/ 20972 w 20723"/>
                      <a:gd name="connsiteY3" fmla="*/ 12250 h 12695"/>
                      <a:gd name="connsiteX4" fmla="*/ 15918 w 20723"/>
                      <a:gd name="connsiteY4" fmla="*/ 10994 h 12695"/>
                      <a:gd name="connsiteX5" fmla="*/ 6181 w 20723"/>
                      <a:gd name="connsiteY5" fmla="*/ 10937 h 12695"/>
                      <a:gd name="connsiteX6" fmla="*/ 4268 w 20723"/>
                      <a:gd name="connsiteY6" fmla="*/ 13735 h 12695"/>
                      <a:gd name="connsiteX7" fmla="*/ 3754 w 20723"/>
                      <a:gd name="connsiteY7" fmla="*/ 13935 h 1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23" h="12695">
                        <a:moveTo>
                          <a:pt x="3754" y="13935"/>
                        </a:moveTo>
                        <a:cubicBezTo>
                          <a:pt x="2241" y="13649"/>
                          <a:pt x="1698" y="11936"/>
                          <a:pt x="1641" y="10908"/>
                        </a:cubicBezTo>
                        <a:cubicBezTo>
                          <a:pt x="1869" y="-28"/>
                          <a:pt x="16003" y="-2169"/>
                          <a:pt x="20829" y="6968"/>
                        </a:cubicBezTo>
                        <a:cubicBezTo>
                          <a:pt x="23342" y="7596"/>
                          <a:pt x="22314" y="10851"/>
                          <a:pt x="20972" y="12250"/>
                        </a:cubicBezTo>
                        <a:cubicBezTo>
                          <a:pt x="19516" y="13906"/>
                          <a:pt x="16489" y="13079"/>
                          <a:pt x="15918" y="10994"/>
                        </a:cubicBezTo>
                        <a:cubicBezTo>
                          <a:pt x="14376" y="5826"/>
                          <a:pt x="7865" y="5997"/>
                          <a:pt x="6181" y="10937"/>
                        </a:cubicBezTo>
                        <a:cubicBezTo>
                          <a:pt x="5724" y="11965"/>
                          <a:pt x="5067" y="12936"/>
                          <a:pt x="4268" y="13735"/>
                        </a:cubicBezTo>
                        <a:cubicBezTo>
                          <a:pt x="4125" y="13849"/>
                          <a:pt x="3925" y="13935"/>
                          <a:pt x="3754" y="13935"/>
                        </a:cubicBezTo>
                        <a:close/>
                      </a:path>
                    </a:pathLst>
                  </a:custGeom>
                  <a:solidFill>
                    <a:srgbClr val="000000"/>
                  </a:solidFill>
                  <a:ln w="2826" cap="flat">
                    <a:noFill/>
                    <a:prstDash val="solid"/>
                    <a:miter/>
                  </a:ln>
                </p:spPr>
                <p:txBody>
                  <a:bodyPr rtlCol="0" anchor="ctr"/>
                  <a:lstStyle/>
                  <a:p>
                    <a:endParaRPr lang="fr-CA"/>
                  </a:p>
                </p:txBody>
              </p:sp>
              <p:sp>
                <p:nvSpPr>
                  <p:cNvPr id="1620" name="Forme libre : forme 1619">
                    <a:extLst>
                      <a:ext uri="{FF2B5EF4-FFF2-40B4-BE49-F238E27FC236}">
                        <a16:creationId xmlns:a16="http://schemas.microsoft.com/office/drawing/2014/main" id="{04EF03C3-0BEB-E7C0-B654-3C519B8314E2}"/>
                      </a:ext>
                    </a:extLst>
                  </p:cNvPr>
                  <p:cNvSpPr/>
                  <p:nvPr/>
                </p:nvSpPr>
                <p:spPr>
                  <a:xfrm>
                    <a:off x="9408469" y="3907926"/>
                    <a:ext cx="23705" cy="23030"/>
                  </a:xfrm>
                  <a:custGeom>
                    <a:avLst/>
                    <a:gdLst>
                      <a:gd name="connsiteX0" fmla="*/ 1987 w 23705"/>
                      <a:gd name="connsiteY0" fmla="*/ 24269 h 23030"/>
                      <a:gd name="connsiteX1" fmla="*/ 1730 w 23705"/>
                      <a:gd name="connsiteY1" fmla="*/ 24012 h 23030"/>
                      <a:gd name="connsiteX2" fmla="*/ 8098 w 23705"/>
                      <a:gd name="connsiteY2" fmla="*/ 5995 h 23030"/>
                      <a:gd name="connsiteX3" fmla="*/ 12923 w 23705"/>
                      <a:gd name="connsiteY3" fmla="*/ 2711 h 23030"/>
                      <a:gd name="connsiteX4" fmla="*/ 22688 w 23705"/>
                      <a:gd name="connsiteY4" fmla="*/ 2197 h 23030"/>
                      <a:gd name="connsiteX5" fmla="*/ 25230 w 23705"/>
                      <a:gd name="connsiteY5" fmla="*/ 5510 h 23030"/>
                      <a:gd name="connsiteX6" fmla="*/ 24944 w 23705"/>
                      <a:gd name="connsiteY6" fmla="*/ 7737 h 23030"/>
                      <a:gd name="connsiteX7" fmla="*/ 23145 w 23705"/>
                      <a:gd name="connsiteY7" fmla="*/ 9165 h 23030"/>
                      <a:gd name="connsiteX8" fmla="*/ 21775 w 23705"/>
                      <a:gd name="connsiteY8" fmla="*/ 9279 h 23030"/>
                      <a:gd name="connsiteX9" fmla="*/ 19262 w 23705"/>
                      <a:gd name="connsiteY9" fmla="*/ 9022 h 23030"/>
                      <a:gd name="connsiteX10" fmla="*/ 19262 w 23705"/>
                      <a:gd name="connsiteY10" fmla="*/ 9022 h 23030"/>
                      <a:gd name="connsiteX11" fmla="*/ 16721 w 23705"/>
                      <a:gd name="connsiteY11" fmla="*/ 8736 h 23030"/>
                      <a:gd name="connsiteX12" fmla="*/ 10525 w 23705"/>
                      <a:gd name="connsiteY12" fmla="*/ 10792 h 23030"/>
                      <a:gd name="connsiteX13" fmla="*/ 5043 w 23705"/>
                      <a:gd name="connsiteY13" fmla="*/ 18872 h 23030"/>
                      <a:gd name="connsiteX14" fmla="*/ 1987 w 23705"/>
                      <a:gd name="connsiteY14" fmla="*/ 24269 h 2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05" h="23030">
                        <a:moveTo>
                          <a:pt x="1987" y="24269"/>
                        </a:moveTo>
                        <a:cubicBezTo>
                          <a:pt x="1845" y="24269"/>
                          <a:pt x="1730" y="24155"/>
                          <a:pt x="1730" y="24012"/>
                        </a:cubicBezTo>
                        <a:cubicBezTo>
                          <a:pt x="1131" y="17502"/>
                          <a:pt x="3586" y="10735"/>
                          <a:pt x="8098" y="5995"/>
                        </a:cubicBezTo>
                        <a:cubicBezTo>
                          <a:pt x="9497" y="4624"/>
                          <a:pt x="11124" y="3511"/>
                          <a:pt x="12923" y="2711"/>
                        </a:cubicBezTo>
                        <a:cubicBezTo>
                          <a:pt x="15893" y="1369"/>
                          <a:pt x="19690" y="456"/>
                          <a:pt x="22688" y="2197"/>
                        </a:cubicBezTo>
                        <a:cubicBezTo>
                          <a:pt x="23888" y="2968"/>
                          <a:pt x="24773" y="4139"/>
                          <a:pt x="25230" y="5510"/>
                        </a:cubicBezTo>
                        <a:cubicBezTo>
                          <a:pt x="25458" y="6252"/>
                          <a:pt x="25344" y="7052"/>
                          <a:pt x="24944" y="7737"/>
                        </a:cubicBezTo>
                        <a:cubicBezTo>
                          <a:pt x="24573" y="8451"/>
                          <a:pt x="23916" y="8964"/>
                          <a:pt x="23145" y="9165"/>
                        </a:cubicBezTo>
                        <a:cubicBezTo>
                          <a:pt x="22688" y="9250"/>
                          <a:pt x="22232" y="9279"/>
                          <a:pt x="21775" y="9279"/>
                        </a:cubicBezTo>
                        <a:cubicBezTo>
                          <a:pt x="20918" y="9250"/>
                          <a:pt x="20090" y="9165"/>
                          <a:pt x="19262" y="9022"/>
                        </a:cubicBezTo>
                        <a:lnTo>
                          <a:pt x="19262" y="9022"/>
                        </a:lnTo>
                        <a:cubicBezTo>
                          <a:pt x="18405" y="8851"/>
                          <a:pt x="17578" y="8765"/>
                          <a:pt x="16721" y="8736"/>
                        </a:cubicBezTo>
                        <a:cubicBezTo>
                          <a:pt x="14494" y="8765"/>
                          <a:pt x="12323" y="9479"/>
                          <a:pt x="10525" y="10792"/>
                        </a:cubicBezTo>
                        <a:cubicBezTo>
                          <a:pt x="7841" y="12876"/>
                          <a:pt x="6413" y="15932"/>
                          <a:pt x="5043" y="18872"/>
                        </a:cubicBezTo>
                        <a:cubicBezTo>
                          <a:pt x="4157" y="20700"/>
                          <a:pt x="3329" y="22813"/>
                          <a:pt x="1987" y="24269"/>
                        </a:cubicBezTo>
                        <a:close/>
                      </a:path>
                    </a:pathLst>
                  </a:custGeom>
                  <a:solidFill>
                    <a:srgbClr val="000000"/>
                  </a:solidFill>
                  <a:ln w="2826" cap="flat">
                    <a:noFill/>
                    <a:prstDash val="solid"/>
                    <a:miter/>
                  </a:ln>
                </p:spPr>
                <p:txBody>
                  <a:bodyPr rtlCol="0" anchor="ctr"/>
                  <a:lstStyle/>
                  <a:p>
                    <a:endParaRPr lang="fr-CA"/>
                  </a:p>
                </p:txBody>
              </p:sp>
              <p:sp>
                <p:nvSpPr>
                  <p:cNvPr id="1621" name="Forme libre : forme 1620">
                    <a:extLst>
                      <a:ext uri="{FF2B5EF4-FFF2-40B4-BE49-F238E27FC236}">
                        <a16:creationId xmlns:a16="http://schemas.microsoft.com/office/drawing/2014/main" id="{314898A8-B9B3-88FA-C960-FCB66446499A}"/>
                      </a:ext>
                    </a:extLst>
                  </p:cNvPr>
                  <p:cNvSpPr/>
                  <p:nvPr/>
                </p:nvSpPr>
                <p:spPr>
                  <a:xfrm>
                    <a:off x="9461120" y="3907996"/>
                    <a:ext cx="26679" cy="18163"/>
                  </a:xfrm>
                  <a:custGeom>
                    <a:avLst/>
                    <a:gdLst>
                      <a:gd name="connsiteX0" fmla="*/ 24146 w 26679"/>
                      <a:gd name="connsiteY0" fmla="*/ 19403 h 18163"/>
                      <a:gd name="connsiteX1" fmla="*/ 18578 w 26679"/>
                      <a:gd name="connsiteY1" fmla="*/ 13378 h 18163"/>
                      <a:gd name="connsiteX2" fmla="*/ 1931 w 26679"/>
                      <a:gd name="connsiteY2" fmla="*/ 6896 h 18163"/>
                      <a:gd name="connsiteX3" fmla="*/ 1646 w 26679"/>
                      <a:gd name="connsiteY3" fmla="*/ 6725 h 18163"/>
                      <a:gd name="connsiteX4" fmla="*/ 2217 w 26679"/>
                      <a:gd name="connsiteY4" fmla="*/ 5754 h 18163"/>
                      <a:gd name="connsiteX5" fmla="*/ 3958 w 26679"/>
                      <a:gd name="connsiteY5" fmla="*/ 3784 h 18163"/>
                      <a:gd name="connsiteX6" fmla="*/ 25117 w 26679"/>
                      <a:gd name="connsiteY6" fmla="*/ 9466 h 18163"/>
                      <a:gd name="connsiteX7" fmla="*/ 26202 w 26679"/>
                      <a:gd name="connsiteY7" fmla="*/ 11979 h 18163"/>
                      <a:gd name="connsiteX8" fmla="*/ 28286 w 26679"/>
                      <a:gd name="connsiteY8" fmla="*/ 14948 h 18163"/>
                      <a:gd name="connsiteX9" fmla="*/ 24146 w 26679"/>
                      <a:gd name="connsiteY9" fmla="*/ 19403 h 1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79" h="18163">
                        <a:moveTo>
                          <a:pt x="24146" y="19403"/>
                        </a:moveTo>
                        <a:cubicBezTo>
                          <a:pt x="20548" y="19260"/>
                          <a:pt x="19577" y="16062"/>
                          <a:pt x="18578" y="13378"/>
                        </a:cubicBezTo>
                        <a:cubicBezTo>
                          <a:pt x="16036" y="7296"/>
                          <a:pt x="8184" y="5212"/>
                          <a:pt x="1931" y="6896"/>
                        </a:cubicBezTo>
                        <a:cubicBezTo>
                          <a:pt x="1817" y="6896"/>
                          <a:pt x="1703" y="6810"/>
                          <a:pt x="1646" y="6725"/>
                        </a:cubicBezTo>
                        <a:cubicBezTo>
                          <a:pt x="1588" y="6353"/>
                          <a:pt x="2074" y="6039"/>
                          <a:pt x="2217" y="5754"/>
                        </a:cubicBezTo>
                        <a:cubicBezTo>
                          <a:pt x="2702" y="5011"/>
                          <a:pt x="3273" y="4355"/>
                          <a:pt x="3958" y="3784"/>
                        </a:cubicBezTo>
                        <a:cubicBezTo>
                          <a:pt x="10868" y="-1641"/>
                          <a:pt x="21176" y="2242"/>
                          <a:pt x="25117" y="9466"/>
                        </a:cubicBezTo>
                        <a:cubicBezTo>
                          <a:pt x="25545" y="10294"/>
                          <a:pt x="25773" y="11179"/>
                          <a:pt x="26202" y="11979"/>
                        </a:cubicBezTo>
                        <a:cubicBezTo>
                          <a:pt x="27315" y="12607"/>
                          <a:pt x="28086" y="13720"/>
                          <a:pt x="28286" y="14948"/>
                        </a:cubicBezTo>
                        <a:cubicBezTo>
                          <a:pt x="28629" y="17290"/>
                          <a:pt x="26373" y="19403"/>
                          <a:pt x="24146" y="19403"/>
                        </a:cubicBezTo>
                        <a:close/>
                      </a:path>
                    </a:pathLst>
                  </a:custGeom>
                  <a:solidFill>
                    <a:srgbClr val="000000"/>
                  </a:solidFill>
                  <a:ln w="2826" cap="flat">
                    <a:noFill/>
                    <a:prstDash val="solid"/>
                    <a:miter/>
                  </a:ln>
                </p:spPr>
                <p:txBody>
                  <a:bodyPr rtlCol="0" anchor="ctr"/>
                  <a:lstStyle/>
                  <a:p>
                    <a:endParaRPr lang="fr-CA"/>
                  </a:p>
                </p:txBody>
              </p:sp>
            </p:grpSp>
          </p:grpSp>
        </p:grpSp>
        <p:pic>
          <p:nvPicPr>
            <p:cNvPr id="1606" name="Graphique 1605" descr="Fille portant un sac à dos">
              <a:extLst>
                <a:ext uri="{FF2B5EF4-FFF2-40B4-BE49-F238E27FC236}">
                  <a16:creationId xmlns:a16="http://schemas.microsoft.com/office/drawing/2014/main" id="{36A18454-2B9A-CFF5-C828-A2A327525BBE}"/>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flipH="1">
              <a:off x="4216411" y="4975122"/>
              <a:ext cx="431158" cy="1070756"/>
            </a:xfrm>
            <a:prstGeom prst="rect">
              <a:avLst/>
            </a:prstGeom>
          </p:spPr>
        </p:pic>
        <p:pic>
          <p:nvPicPr>
            <p:cNvPr id="1607" name="Graphique 1606" descr="Garçon portant un sac à dos">
              <a:extLst>
                <a:ext uri="{FF2B5EF4-FFF2-40B4-BE49-F238E27FC236}">
                  <a16:creationId xmlns:a16="http://schemas.microsoft.com/office/drawing/2014/main" id="{DB33EF8C-9E39-E879-DCF8-5CD790438696}"/>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flipH="1">
              <a:off x="4500900" y="5097843"/>
              <a:ext cx="431158" cy="1070756"/>
            </a:xfrm>
            <a:prstGeom prst="rect">
              <a:avLst/>
            </a:prstGeom>
          </p:spPr>
        </p:pic>
        <p:pic>
          <p:nvPicPr>
            <p:cNvPr id="1608" name="Graphique 1607" descr="Homme en smoking">
              <a:extLst>
                <a:ext uri="{FF2B5EF4-FFF2-40B4-BE49-F238E27FC236}">
                  <a16:creationId xmlns:a16="http://schemas.microsoft.com/office/drawing/2014/main" id="{8351EEDC-64B3-DC5F-F010-B1C53866DA66}"/>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flipH="1">
              <a:off x="4024533" y="4213138"/>
              <a:ext cx="479699" cy="1370568"/>
            </a:xfrm>
            <a:prstGeom prst="rect">
              <a:avLst/>
            </a:prstGeom>
          </p:spPr>
        </p:pic>
        <p:pic>
          <p:nvPicPr>
            <p:cNvPr id="1609" name="Graphique 1608" descr="Homme âgé portant une veste">
              <a:extLst>
                <a:ext uri="{FF2B5EF4-FFF2-40B4-BE49-F238E27FC236}">
                  <a16:creationId xmlns:a16="http://schemas.microsoft.com/office/drawing/2014/main" id="{B4596DB6-F004-D3E6-4C16-41E487D36A55}"/>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flipH="1">
              <a:off x="4139263" y="2951037"/>
              <a:ext cx="428302" cy="1333448"/>
            </a:xfrm>
            <a:prstGeom prst="rect">
              <a:avLst/>
            </a:prstGeom>
          </p:spPr>
        </p:pic>
        <p:pic>
          <p:nvPicPr>
            <p:cNvPr id="1610" name="Graphique 1609" descr="Femme levant le doigt">
              <a:extLst>
                <a:ext uri="{FF2B5EF4-FFF2-40B4-BE49-F238E27FC236}">
                  <a16:creationId xmlns:a16="http://schemas.microsoft.com/office/drawing/2014/main" id="{9AC7A2C7-2EA2-C259-1550-53214FD78CBE}"/>
                </a:ext>
              </a:extLst>
            </p:cNvPr>
            <p:cNvPicPr>
              <a:picLocks noChangeAspect="1"/>
            </p:cNvPicPr>
            <p:nvPr/>
          </p:nvPicPr>
          <p:blipFill>
            <a:blip r:embed="rId92">
              <a:extLst>
                <a:ext uri="{96DAC541-7B7A-43D3-8B79-37D633B846F1}">
                  <asvg:svgBlip xmlns:asvg="http://schemas.microsoft.com/office/drawing/2016/SVG/main" r:embed="rId93"/>
                </a:ext>
              </a:extLst>
            </a:blip>
            <a:stretch>
              <a:fillRect/>
            </a:stretch>
          </p:blipFill>
          <p:spPr>
            <a:xfrm flipH="1">
              <a:off x="3501504" y="3383977"/>
              <a:ext cx="633888" cy="1230656"/>
            </a:xfrm>
            <a:prstGeom prst="rect">
              <a:avLst/>
            </a:prstGeom>
          </p:spPr>
        </p:pic>
      </p:grpSp>
      <p:sp>
        <p:nvSpPr>
          <p:cNvPr id="3" name="Espace réservé du pied de page 2">
            <a:extLst>
              <a:ext uri="{FF2B5EF4-FFF2-40B4-BE49-F238E27FC236}">
                <a16:creationId xmlns:a16="http://schemas.microsoft.com/office/drawing/2014/main" id="{6084EAA3-BEA4-6F88-560B-1D832ACFB251}"/>
              </a:ext>
            </a:extLst>
          </p:cNvPr>
          <p:cNvSpPr>
            <a:spLocks noGrp="1"/>
          </p:cNvSpPr>
          <p:nvPr>
            <p:ph type="ftr" sz="quarter" idx="10"/>
            <p:custDataLst>
              <p:tags r:id="rId4"/>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0C13DB13-C8DA-0D91-E4D4-BD1520C933A2}"/>
              </a:ext>
            </a:extLst>
          </p:cNvPr>
          <p:cNvSpPr>
            <a:spLocks noGrp="1"/>
          </p:cNvSpPr>
          <p:nvPr>
            <p:ph type="sldNum" sz="quarter" idx="11"/>
            <p:custDataLst>
              <p:tags r:id="rId5"/>
            </p:custDataLst>
          </p:nvPr>
        </p:nvSpPr>
        <p:spPr/>
        <p:txBody>
          <a:bodyPr/>
          <a:lstStyle/>
          <a:p>
            <a:fld id="{91882AA3-08DC-0043-8CA8-8CA69DA2397E}" type="slidenum">
              <a:rPr lang="en-US" smtClean="0"/>
              <a:pPr/>
              <a:t>38</a:t>
            </a:fld>
            <a:endParaRPr lang="en-US"/>
          </a:p>
        </p:txBody>
      </p:sp>
      <p:sp>
        <p:nvSpPr>
          <p:cNvPr id="6" name="Titre 1">
            <a:extLst>
              <a:ext uri="{FF2B5EF4-FFF2-40B4-BE49-F238E27FC236}">
                <a16:creationId xmlns:a16="http://schemas.microsoft.com/office/drawing/2014/main" id="{6C483A6D-E4EE-C56D-5571-368E8B1AF0FD}"/>
              </a:ext>
            </a:extLst>
          </p:cNvPr>
          <p:cNvSpPr>
            <a:spLocks noGrp="1"/>
          </p:cNvSpPr>
          <p:nvPr>
            <p:ph type="title"/>
            <p:custDataLst>
              <p:tags r:id="rId6"/>
            </p:custDataLst>
          </p:nvPr>
        </p:nvSpPr>
        <p:spPr>
          <a:xfrm>
            <a:off x="609600" y="739589"/>
            <a:ext cx="9337792" cy="784412"/>
          </a:xfrm>
        </p:spPr>
        <p:txBody>
          <a:bodyPr/>
          <a:lstStyle/>
          <a:p>
            <a:r>
              <a:rPr lang="fr-CA"/>
              <a:t>Révision de la pharmacothérapie</a:t>
            </a:r>
            <a:br>
              <a:rPr lang="fr-CA"/>
            </a:br>
            <a:endParaRPr lang="fr-CA">
              <a:cs typeface="Arial"/>
            </a:endParaRPr>
          </a:p>
        </p:txBody>
      </p:sp>
      <p:sp>
        <p:nvSpPr>
          <p:cNvPr id="1029" name="Content Placeholder 2">
            <a:extLst>
              <a:ext uri="{FF2B5EF4-FFF2-40B4-BE49-F238E27FC236}">
                <a16:creationId xmlns:a16="http://schemas.microsoft.com/office/drawing/2014/main" id="{B28AD78A-F1C0-8B39-26F0-405BA1ABE586}"/>
              </a:ext>
            </a:extLst>
          </p:cNvPr>
          <p:cNvSpPr txBox="1">
            <a:spLocks/>
          </p:cNvSpPr>
          <p:nvPr>
            <p:custDataLst>
              <p:tags r:id="rId7"/>
            </p:custDataLst>
          </p:nvPr>
        </p:nvSpPr>
        <p:spPr>
          <a:xfrm>
            <a:off x="609600" y="1606963"/>
            <a:ext cx="10845798" cy="1317982"/>
          </a:xfrm>
          <a:prstGeom prst="rect">
            <a:avLst/>
          </a:prstGeom>
        </p:spPr>
        <p:txBody>
          <a:bodyPr lIns="0" tIns="0" rIns="0" bIns="0" anchor="t"/>
          <a:lstStyle>
            <a:lvl1pPr marL="0" eaLnBrk="1" hangingPunct="1">
              <a:spcAft>
                <a:spcPts val="1200"/>
              </a:spcAft>
              <a:defRPr sz="1500" b="1" cap="all" baseline="0">
                <a:solidFill>
                  <a:schemeClr val="accent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accent2"/>
              </a:buClr>
              <a:buFont typeface="Arial" panose="020B0604020202020204" pitchFamily="34" charset="0"/>
              <a:buChar char="•"/>
              <a:defRPr>
                <a:solidFill>
                  <a:schemeClr val="tx1"/>
                </a:solidFill>
                <a:latin typeface="+mn-lt"/>
                <a:ea typeface="+mn-ea"/>
                <a:cs typeface="+mn-cs"/>
              </a:defRPr>
            </a:lvl3pPr>
            <a:lvl4pPr marL="1371600" indent="-228600" eaLnBrk="1" hangingPunct="1">
              <a:spcAft>
                <a:spcPts val="1200"/>
              </a:spcAft>
              <a:buClr>
                <a:schemeClr val="accent4"/>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accent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r>
              <a:rPr lang="fr-CA" sz="2000" cap="none">
                <a:solidFill>
                  <a:schemeClr val="tx2"/>
                </a:solidFill>
                <a:ea typeface="+mn-lt"/>
                <a:cs typeface="+mn-lt"/>
              </a:rPr>
              <a:t>L’approche Vigie </a:t>
            </a:r>
          </a:p>
          <a:p>
            <a:pPr algn="l"/>
            <a:r>
              <a:rPr lang="fr-CA" sz="2000" b="0" cap="none">
                <a:solidFill>
                  <a:srgbClr val="454547"/>
                </a:solidFill>
                <a:ea typeface="+mn-lt"/>
                <a:cs typeface="+mn-lt"/>
              </a:rPr>
              <a:t>Introduite en 2021 par l’OPQ, cette approche propose de moduler vos activités de surveillance de la thérapie médicamenteuse en fonction :</a:t>
            </a:r>
            <a:endParaRPr lang="fr-CA"/>
          </a:p>
        </p:txBody>
      </p:sp>
      <p:grpSp>
        <p:nvGrpSpPr>
          <p:cNvPr id="1404" name="Groupe 1403">
            <a:extLst>
              <a:ext uri="{FF2B5EF4-FFF2-40B4-BE49-F238E27FC236}">
                <a16:creationId xmlns:a16="http://schemas.microsoft.com/office/drawing/2014/main" id="{87FCD8F8-8EC7-1D5F-0142-D38699ED0DFB}"/>
              </a:ext>
            </a:extLst>
          </p:cNvPr>
          <p:cNvGrpSpPr/>
          <p:nvPr>
            <p:custDataLst>
              <p:tags r:id="rId8"/>
            </p:custDataLst>
          </p:nvPr>
        </p:nvGrpSpPr>
        <p:grpSpPr>
          <a:xfrm>
            <a:off x="3653904" y="2795717"/>
            <a:ext cx="4554890" cy="3715011"/>
            <a:chOff x="3501504" y="2643317"/>
            <a:chExt cx="4554890" cy="3715011"/>
          </a:xfrm>
        </p:grpSpPr>
        <p:pic>
          <p:nvPicPr>
            <p:cNvPr id="1405" name="Graphique 1404" descr="Homme non-voyant portant des lunettes de soleil">
              <a:extLst>
                <a:ext uri="{FF2B5EF4-FFF2-40B4-BE49-F238E27FC236}">
                  <a16:creationId xmlns:a16="http://schemas.microsoft.com/office/drawing/2014/main" id="{0E582EC0-05E0-3099-0C9C-493F68DAE2C3}"/>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flipH="1">
              <a:off x="4305733" y="2926313"/>
              <a:ext cx="730969" cy="1444807"/>
            </a:xfrm>
            <a:prstGeom prst="rect">
              <a:avLst/>
            </a:prstGeom>
          </p:spPr>
        </p:pic>
        <p:pic>
          <p:nvPicPr>
            <p:cNvPr id="1406" name="Graphique 1405" descr="Un bébé à quatre pattes">
              <a:extLst>
                <a:ext uri="{FF2B5EF4-FFF2-40B4-BE49-F238E27FC236}">
                  <a16:creationId xmlns:a16="http://schemas.microsoft.com/office/drawing/2014/main" id="{7C1748B8-9B6B-9D91-6BBB-C18FDBEF6101}"/>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flipH="1">
              <a:off x="5745541" y="4718082"/>
              <a:ext cx="396893" cy="379761"/>
            </a:xfrm>
            <a:prstGeom prst="rect">
              <a:avLst/>
            </a:prstGeom>
          </p:spPr>
        </p:pic>
        <p:pic>
          <p:nvPicPr>
            <p:cNvPr id="1407" name="Graphique 1406" descr="Garçon portant un sac à dos">
              <a:extLst>
                <a:ext uri="{FF2B5EF4-FFF2-40B4-BE49-F238E27FC236}">
                  <a16:creationId xmlns:a16="http://schemas.microsoft.com/office/drawing/2014/main" id="{F6CFC023-27EB-17DA-5C59-06C93D822BA1}"/>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flipH="1">
              <a:off x="7225782" y="5163816"/>
              <a:ext cx="431158" cy="1070756"/>
            </a:xfrm>
            <a:prstGeom prst="rect">
              <a:avLst/>
            </a:prstGeom>
          </p:spPr>
        </p:pic>
        <p:pic>
          <p:nvPicPr>
            <p:cNvPr id="1408" name="Graphique 1407" descr="Garçon portant une cape">
              <a:extLst>
                <a:ext uri="{FF2B5EF4-FFF2-40B4-BE49-F238E27FC236}">
                  <a16:creationId xmlns:a16="http://schemas.microsoft.com/office/drawing/2014/main" id="{62DB1247-12FE-6D9D-C39C-32BBE9948915}"/>
                </a:ext>
              </a:extLst>
            </p:cNvPr>
            <p:cNvPicPr>
              <a:picLocks noChangeAspect="1"/>
            </p:cNvPicPr>
            <p:nvPr/>
          </p:nvPicPr>
          <p:blipFill>
            <a:blip r:embed="rId60">
              <a:extLst>
                <a:ext uri="{96DAC541-7B7A-43D3-8B79-37D633B846F1}">
                  <asvg:svgBlip xmlns:asvg="http://schemas.microsoft.com/office/drawing/2016/SVG/main" r:embed="rId61"/>
                </a:ext>
              </a:extLst>
            </a:blip>
            <a:stretch>
              <a:fillRect/>
            </a:stretch>
          </p:blipFill>
          <p:spPr>
            <a:xfrm flipH="1">
              <a:off x="7401478" y="4190813"/>
              <a:ext cx="571070" cy="1184970"/>
            </a:xfrm>
            <a:prstGeom prst="rect">
              <a:avLst/>
            </a:prstGeom>
          </p:spPr>
        </p:pic>
        <p:pic>
          <p:nvPicPr>
            <p:cNvPr id="1409" name="Graphique 1408" descr="Fille portant un sac à dos">
              <a:extLst>
                <a:ext uri="{FF2B5EF4-FFF2-40B4-BE49-F238E27FC236}">
                  <a16:creationId xmlns:a16="http://schemas.microsoft.com/office/drawing/2014/main" id="{9F9FA617-91A4-0C69-949E-514807F38D19}"/>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flipH="1">
              <a:off x="7625236" y="4837482"/>
              <a:ext cx="431158" cy="1070756"/>
            </a:xfrm>
            <a:prstGeom prst="rect">
              <a:avLst/>
            </a:prstGeom>
          </p:spPr>
        </p:pic>
        <p:pic>
          <p:nvPicPr>
            <p:cNvPr id="1410" name="Graphique 1409" descr="Homme non-voyant portant des lunettes de soleil">
              <a:extLst>
                <a:ext uri="{FF2B5EF4-FFF2-40B4-BE49-F238E27FC236}">
                  <a16:creationId xmlns:a16="http://schemas.microsoft.com/office/drawing/2014/main" id="{75FB6732-2776-866F-E83E-ACFCAECEB10F}"/>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flipH="1">
              <a:off x="7229553" y="2934628"/>
              <a:ext cx="730969" cy="1444807"/>
            </a:xfrm>
            <a:prstGeom prst="rect">
              <a:avLst/>
            </a:prstGeom>
          </p:spPr>
        </p:pic>
        <p:pic>
          <p:nvPicPr>
            <p:cNvPr id="1411" name="Graphique 1410" descr="Homme en smoking">
              <a:extLst>
                <a:ext uri="{FF2B5EF4-FFF2-40B4-BE49-F238E27FC236}">
                  <a16:creationId xmlns:a16="http://schemas.microsoft.com/office/drawing/2014/main" id="{EE0EF10E-BC77-7A3A-75DA-226B5361228B}"/>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flipH="1">
              <a:off x="6890458" y="4259181"/>
              <a:ext cx="479699" cy="1370568"/>
            </a:xfrm>
            <a:prstGeom prst="rect">
              <a:avLst/>
            </a:prstGeom>
          </p:spPr>
        </p:pic>
        <p:pic>
          <p:nvPicPr>
            <p:cNvPr id="1412" name="Graphique 1411" descr="Homme avec un Mohawk">
              <a:extLst>
                <a:ext uri="{FF2B5EF4-FFF2-40B4-BE49-F238E27FC236}">
                  <a16:creationId xmlns:a16="http://schemas.microsoft.com/office/drawing/2014/main" id="{2C7FBF36-1632-81A8-1649-CC4CCE8D5FD9}"/>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flipH="1">
              <a:off x="6365862" y="3574884"/>
              <a:ext cx="414026" cy="1322027"/>
            </a:xfrm>
            <a:prstGeom prst="rect">
              <a:avLst/>
            </a:prstGeom>
          </p:spPr>
        </p:pic>
        <p:pic>
          <p:nvPicPr>
            <p:cNvPr id="1413" name="Graphique 1412" descr="Homme portant un collier">
              <a:extLst>
                <a:ext uri="{FF2B5EF4-FFF2-40B4-BE49-F238E27FC236}">
                  <a16:creationId xmlns:a16="http://schemas.microsoft.com/office/drawing/2014/main" id="{6E4E4B21-E606-74CE-3021-9462575460C1}"/>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flipH="1">
              <a:off x="6233703" y="4597750"/>
              <a:ext cx="582491" cy="1299184"/>
            </a:xfrm>
            <a:prstGeom prst="rect">
              <a:avLst/>
            </a:prstGeom>
          </p:spPr>
        </p:pic>
        <p:pic>
          <p:nvPicPr>
            <p:cNvPr id="1414" name="Graphique 1413" descr="Homme avec bras prothétique">
              <a:extLst>
                <a:ext uri="{FF2B5EF4-FFF2-40B4-BE49-F238E27FC236}">
                  <a16:creationId xmlns:a16="http://schemas.microsoft.com/office/drawing/2014/main" id="{A47D4CB8-7B50-36F3-909A-5B1E0F19E0A7}"/>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flipH="1">
              <a:off x="5687165" y="2922124"/>
              <a:ext cx="414026" cy="1384845"/>
            </a:xfrm>
            <a:prstGeom prst="rect">
              <a:avLst/>
            </a:prstGeom>
          </p:spPr>
        </p:pic>
        <p:pic>
          <p:nvPicPr>
            <p:cNvPr id="1415" name="Graphique 1414" descr="Homme portant une chemise avec motif">
              <a:extLst>
                <a:ext uri="{FF2B5EF4-FFF2-40B4-BE49-F238E27FC236}">
                  <a16:creationId xmlns:a16="http://schemas.microsoft.com/office/drawing/2014/main" id="{592D7708-3FE4-4A4A-AE66-0DA8CE73DDA0}"/>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flipH="1">
              <a:off x="5344090" y="3927422"/>
              <a:ext cx="559649" cy="1362002"/>
            </a:xfrm>
            <a:prstGeom prst="rect">
              <a:avLst/>
            </a:prstGeom>
          </p:spPr>
        </p:pic>
        <p:pic>
          <p:nvPicPr>
            <p:cNvPr id="1416" name="Graphique 1415" descr="Homme roulant sur un scooter">
              <a:extLst>
                <a:ext uri="{FF2B5EF4-FFF2-40B4-BE49-F238E27FC236}">
                  <a16:creationId xmlns:a16="http://schemas.microsoft.com/office/drawing/2014/main" id="{89F7C18F-2288-B676-0347-D5335C3D4CAE}"/>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flipH="1">
              <a:off x="4849169" y="4750256"/>
              <a:ext cx="533950" cy="1461939"/>
            </a:xfrm>
            <a:prstGeom prst="rect">
              <a:avLst/>
            </a:prstGeom>
          </p:spPr>
        </p:pic>
        <p:pic>
          <p:nvPicPr>
            <p:cNvPr id="1417" name="Graphique 1416" descr="Homme âgé portant une veste">
              <a:extLst>
                <a:ext uri="{FF2B5EF4-FFF2-40B4-BE49-F238E27FC236}">
                  <a16:creationId xmlns:a16="http://schemas.microsoft.com/office/drawing/2014/main" id="{F6B66446-9E73-C338-E1E2-9625B19DFA4C}"/>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flipH="1">
              <a:off x="6964465" y="2975647"/>
              <a:ext cx="428302" cy="1333448"/>
            </a:xfrm>
            <a:prstGeom prst="rect">
              <a:avLst/>
            </a:prstGeom>
          </p:spPr>
        </p:pic>
        <p:pic>
          <p:nvPicPr>
            <p:cNvPr id="1418" name="Graphique 1417" descr="Homme portant une tunique">
              <a:extLst>
                <a:ext uri="{FF2B5EF4-FFF2-40B4-BE49-F238E27FC236}">
                  <a16:creationId xmlns:a16="http://schemas.microsoft.com/office/drawing/2014/main" id="{6D7FFCA1-D0C8-DA71-92BD-6E5376E182D1}"/>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flipH="1">
              <a:off x="4258678" y="4089671"/>
              <a:ext cx="753812" cy="1362002"/>
            </a:xfrm>
            <a:prstGeom prst="rect">
              <a:avLst/>
            </a:prstGeom>
          </p:spPr>
        </p:pic>
        <p:pic>
          <p:nvPicPr>
            <p:cNvPr id="1419" name="Graphique 1418" descr="Femme non-voyante utilisant un bâton">
              <a:extLst>
                <a:ext uri="{FF2B5EF4-FFF2-40B4-BE49-F238E27FC236}">
                  <a16:creationId xmlns:a16="http://schemas.microsoft.com/office/drawing/2014/main" id="{764A5056-24F8-23C8-6CE5-3A01904ABAEA}"/>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flipH="1">
              <a:off x="6017699" y="4075281"/>
              <a:ext cx="476843" cy="1441951"/>
            </a:xfrm>
            <a:prstGeom prst="rect">
              <a:avLst/>
            </a:prstGeom>
          </p:spPr>
        </p:pic>
        <p:pic>
          <p:nvPicPr>
            <p:cNvPr id="1420" name="Graphique 1419" descr="Femme avec les mains sur la hanche">
              <a:extLst>
                <a:ext uri="{FF2B5EF4-FFF2-40B4-BE49-F238E27FC236}">
                  <a16:creationId xmlns:a16="http://schemas.microsoft.com/office/drawing/2014/main" id="{F14D477F-3D47-59DC-1469-899D52DD5436}"/>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flipH="1">
              <a:off x="6041392" y="2780928"/>
              <a:ext cx="513963" cy="1259209"/>
            </a:xfrm>
            <a:prstGeom prst="rect">
              <a:avLst/>
            </a:prstGeom>
          </p:spPr>
        </p:pic>
        <p:pic>
          <p:nvPicPr>
            <p:cNvPr id="1421" name="Graphique 1420" descr="Femme portant une robe longue">
              <a:extLst>
                <a:ext uri="{FF2B5EF4-FFF2-40B4-BE49-F238E27FC236}">
                  <a16:creationId xmlns:a16="http://schemas.microsoft.com/office/drawing/2014/main" id="{ABDBFFFB-6AB8-CEC1-673A-77C289297B87}"/>
                </a:ext>
              </a:extLst>
            </p:cNvPr>
            <p:cNvPicPr>
              <a:picLocks noChangeAspect="1"/>
            </p:cNvPicPr>
            <p:nvPr/>
          </p:nvPicPr>
          <p:blipFill>
            <a:blip r:embed="rId84">
              <a:extLst>
                <a:ext uri="{96DAC541-7B7A-43D3-8B79-37D633B846F1}">
                  <asvg:svgBlip xmlns:asvg="http://schemas.microsoft.com/office/drawing/2016/SVG/main" r:embed="rId85"/>
                </a:ext>
              </a:extLst>
            </a:blip>
            <a:stretch>
              <a:fillRect/>
            </a:stretch>
          </p:blipFill>
          <p:spPr>
            <a:xfrm flipH="1">
              <a:off x="4868488" y="2643317"/>
              <a:ext cx="725259" cy="1421964"/>
            </a:xfrm>
            <a:prstGeom prst="rect">
              <a:avLst/>
            </a:prstGeom>
          </p:spPr>
        </p:pic>
        <p:pic>
          <p:nvPicPr>
            <p:cNvPr id="1422" name="Graphique 1421" descr="Femme avec main prothétique">
              <a:extLst>
                <a:ext uri="{FF2B5EF4-FFF2-40B4-BE49-F238E27FC236}">
                  <a16:creationId xmlns:a16="http://schemas.microsoft.com/office/drawing/2014/main" id="{C7D5214A-8EB1-A2E4-4943-96F1F265361A}"/>
                </a:ext>
              </a:extLst>
            </p:cNvPr>
            <p:cNvPicPr>
              <a:picLocks noChangeAspect="1"/>
            </p:cNvPicPr>
            <p:nvPr/>
          </p:nvPicPr>
          <p:blipFill>
            <a:blip r:embed="rId86">
              <a:extLst>
                <a:ext uri="{96DAC541-7B7A-43D3-8B79-37D633B846F1}">
                  <asvg:svgBlip xmlns:asvg="http://schemas.microsoft.com/office/drawing/2016/SVG/main" r:embed="rId87"/>
                </a:ext>
              </a:extLst>
            </a:blip>
            <a:stretch>
              <a:fillRect/>
            </a:stretch>
          </p:blipFill>
          <p:spPr>
            <a:xfrm flipH="1">
              <a:off x="4378646" y="4741492"/>
              <a:ext cx="365485" cy="1344870"/>
            </a:xfrm>
            <a:prstGeom prst="rect">
              <a:avLst/>
            </a:prstGeom>
          </p:spPr>
        </p:pic>
        <p:pic>
          <p:nvPicPr>
            <p:cNvPr id="1423" name="Graphique 1422" descr="Femme portant un blazer">
              <a:extLst>
                <a:ext uri="{FF2B5EF4-FFF2-40B4-BE49-F238E27FC236}">
                  <a16:creationId xmlns:a16="http://schemas.microsoft.com/office/drawing/2014/main" id="{CD30BB13-BF12-BD0A-D9F2-20855549D245}"/>
                </a:ext>
              </a:extLst>
            </p:cNvPr>
            <p:cNvPicPr>
              <a:picLocks noChangeAspect="1"/>
            </p:cNvPicPr>
            <p:nvPr/>
          </p:nvPicPr>
          <p:blipFill>
            <a:blip r:embed="rId88">
              <a:extLst>
                <a:ext uri="{96DAC541-7B7A-43D3-8B79-37D633B846F1}">
                  <asvg:svgBlip xmlns:asvg="http://schemas.microsoft.com/office/drawing/2016/SVG/main" r:embed="rId89"/>
                </a:ext>
              </a:extLst>
            </a:blip>
            <a:stretch>
              <a:fillRect/>
            </a:stretch>
          </p:blipFill>
          <p:spPr>
            <a:xfrm flipH="1">
              <a:off x="5367734" y="4812568"/>
              <a:ext cx="508253" cy="1324883"/>
            </a:xfrm>
            <a:prstGeom prst="rect">
              <a:avLst/>
            </a:prstGeom>
          </p:spPr>
        </p:pic>
        <p:pic>
          <p:nvPicPr>
            <p:cNvPr id="1424" name="Graphique 1423" descr="Homme âgé utilisant une cane">
              <a:extLst>
                <a:ext uri="{FF2B5EF4-FFF2-40B4-BE49-F238E27FC236}">
                  <a16:creationId xmlns:a16="http://schemas.microsoft.com/office/drawing/2014/main" id="{DC6B1FF6-A613-1986-9C85-0494B9670411}"/>
                </a:ext>
              </a:extLst>
            </p:cNvPr>
            <p:cNvPicPr>
              <a:picLocks noChangeAspect="1"/>
            </p:cNvPicPr>
            <p:nvPr/>
          </p:nvPicPr>
          <p:blipFill>
            <a:blip r:embed="rId90">
              <a:extLst>
                <a:ext uri="{96DAC541-7B7A-43D3-8B79-37D633B846F1}">
                  <asvg:svgBlip xmlns:asvg="http://schemas.microsoft.com/office/drawing/2016/SVG/main" r:embed="rId91"/>
                </a:ext>
              </a:extLst>
            </a:blip>
            <a:stretch>
              <a:fillRect/>
            </a:stretch>
          </p:blipFill>
          <p:spPr>
            <a:xfrm flipH="1">
              <a:off x="4900482" y="3507428"/>
              <a:ext cx="651020" cy="1379134"/>
            </a:xfrm>
            <a:prstGeom prst="rect">
              <a:avLst/>
            </a:prstGeom>
          </p:spPr>
        </p:pic>
        <p:grpSp>
          <p:nvGrpSpPr>
            <p:cNvPr id="1425" name="Graphique 35" descr="Garçon dans un fauteuil roulant">
              <a:extLst>
                <a:ext uri="{FF2B5EF4-FFF2-40B4-BE49-F238E27FC236}">
                  <a16:creationId xmlns:a16="http://schemas.microsoft.com/office/drawing/2014/main" id="{CE44AC61-CC02-EF67-20D7-3D8FB2A3C065}"/>
                </a:ext>
              </a:extLst>
            </p:cNvPr>
            <p:cNvGrpSpPr/>
            <p:nvPr/>
          </p:nvGrpSpPr>
          <p:grpSpPr>
            <a:xfrm>
              <a:off x="6596747" y="5481226"/>
              <a:ext cx="751062" cy="877102"/>
              <a:chOff x="9153323" y="3832116"/>
              <a:chExt cx="751062" cy="877102"/>
            </a:xfrm>
          </p:grpSpPr>
          <p:grpSp>
            <p:nvGrpSpPr>
              <p:cNvPr id="1431" name="Graphique 35" descr="Garçon dans un fauteuil roulant">
                <a:extLst>
                  <a:ext uri="{FF2B5EF4-FFF2-40B4-BE49-F238E27FC236}">
                    <a16:creationId xmlns:a16="http://schemas.microsoft.com/office/drawing/2014/main" id="{E7326707-1F7A-5AC1-A513-452A1BF2708D}"/>
                  </a:ext>
                </a:extLst>
              </p:cNvPr>
              <p:cNvGrpSpPr/>
              <p:nvPr/>
            </p:nvGrpSpPr>
            <p:grpSpPr>
              <a:xfrm>
                <a:off x="9153323" y="3985440"/>
                <a:ext cx="751062" cy="723778"/>
                <a:chOff x="9153323" y="3985440"/>
                <a:chExt cx="751062" cy="723778"/>
              </a:xfrm>
            </p:grpSpPr>
            <p:sp>
              <p:nvSpPr>
                <p:cNvPr id="1444" name="Forme libre : forme 1443">
                  <a:extLst>
                    <a:ext uri="{FF2B5EF4-FFF2-40B4-BE49-F238E27FC236}">
                      <a16:creationId xmlns:a16="http://schemas.microsoft.com/office/drawing/2014/main" id="{4347ADF1-6CC4-A615-752D-9794C98FE6D8}"/>
                    </a:ext>
                  </a:extLst>
                </p:cNvPr>
                <p:cNvSpPr/>
                <p:nvPr/>
              </p:nvSpPr>
              <p:spPr>
                <a:xfrm>
                  <a:off x="9156791" y="3985719"/>
                  <a:ext cx="746079" cy="721501"/>
                </a:xfrm>
                <a:custGeom>
                  <a:avLst/>
                  <a:gdLst>
                    <a:gd name="connsiteX0" fmla="*/ 725289 w 746079"/>
                    <a:gd name="connsiteY0" fmla="*/ 643256 h 721501"/>
                    <a:gd name="connsiteX1" fmla="*/ 726086 w 746079"/>
                    <a:gd name="connsiteY1" fmla="*/ 638168 h 721501"/>
                    <a:gd name="connsiteX2" fmla="*/ 744217 w 746079"/>
                    <a:gd name="connsiteY2" fmla="*/ 637691 h 721501"/>
                    <a:gd name="connsiteX3" fmla="*/ 744694 w 746079"/>
                    <a:gd name="connsiteY3" fmla="*/ 626398 h 721501"/>
                    <a:gd name="connsiteX4" fmla="*/ 726403 w 746079"/>
                    <a:gd name="connsiteY4" fmla="*/ 626238 h 721501"/>
                    <a:gd name="connsiteX5" fmla="*/ 723222 w 746079"/>
                    <a:gd name="connsiteY5" fmla="*/ 622581 h 721501"/>
                    <a:gd name="connsiteX6" fmla="*/ 690936 w 746079"/>
                    <a:gd name="connsiteY6" fmla="*/ 624648 h 721501"/>
                    <a:gd name="connsiteX7" fmla="*/ 679963 w 746079"/>
                    <a:gd name="connsiteY7" fmla="*/ 611764 h 721501"/>
                    <a:gd name="connsiteX8" fmla="*/ 622308 w 746079"/>
                    <a:gd name="connsiteY8" fmla="*/ 388228 h 721501"/>
                    <a:gd name="connsiteX9" fmla="*/ 602109 w 746079"/>
                    <a:gd name="connsiteY9" fmla="*/ 375187 h 721501"/>
                    <a:gd name="connsiteX10" fmla="*/ 604893 w 746079"/>
                    <a:gd name="connsiteY10" fmla="*/ 342982 h 721501"/>
                    <a:gd name="connsiteX11" fmla="*/ 576203 w 746079"/>
                    <a:gd name="connsiteY11" fmla="*/ 293430 h 721501"/>
                    <a:gd name="connsiteX12" fmla="*/ 573976 w 746079"/>
                    <a:gd name="connsiteY12" fmla="*/ 250965 h 721501"/>
                    <a:gd name="connsiteX13" fmla="*/ 557594 w 746079"/>
                    <a:gd name="connsiteY13" fmla="*/ 248261 h 721501"/>
                    <a:gd name="connsiteX14" fmla="*/ 440060 w 746079"/>
                    <a:gd name="connsiteY14" fmla="*/ 214542 h 721501"/>
                    <a:gd name="connsiteX15" fmla="*/ 396321 w 746079"/>
                    <a:gd name="connsiteY15" fmla="*/ 127226 h 721501"/>
                    <a:gd name="connsiteX16" fmla="*/ 367200 w 746079"/>
                    <a:gd name="connsiteY16" fmla="*/ 65764 h 721501"/>
                    <a:gd name="connsiteX17" fmla="*/ 314239 w 746079"/>
                    <a:gd name="connsiteY17" fmla="*/ 42545 h 721501"/>
                    <a:gd name="connsiteX18" fmla="*/ 302064 w 746079"/>
                    <a:gd name="connsiteY18" fmla="*/ 24747 h 721501"/>
                    <a:gd name="connsiteX19" fmla="*/ 231933 w 746079"/>
                    <a:gd name="connsiteY19" fmla="*/ 0 h 721501"/>
                    <a:gd name="connsiteX20" fmla="*/ 231536 w 746079"/>
                    <a:gd name="connsiteY20" fmla="*/ 17812 h 721501"/>
                    <a:gd name="connsiteX21" fmla="*/ 214995 w 746079"/>
                    <a:gd name="connsiteY21" fmla="*/ 45883 h 721501"/>
                    <a:gd name="connsiteX22" fmla="*/ 190422 w 746079"/>
                    <a:gd name="connsiteY22" fmla="*/ 59720 h 721501"/>
                    <a:gd name="connsiteX23" fmla="*/ 167203 w 746079"/>
                    <a:gd name="connsiteY23" fmla="*/ 83896 h 721501"/>
                    <a:gd name="connsiteX24" fmla="*/ 124101 w 746079"/>
                    <a:gd name="connsiteY24" fmla="*/ 78965 h 721501"/>
                    <a:gd name="connsiteX25" fmla="*/ 65255 w 746079"/>
                    <a:gd name="connsiteY25" fmla="*/ 58766 h 721501"/>
                    <a:gd name="connsiteX26" fmla="*/ 63665 w 746079"/>
                    <a:gd name="connsiteY26" fmla="*/ 73557 h 721501"/>
                    <a:gd name="connsiteX27" fmla="*/ 96427 w 746079"/>
                    <a:gd name="connsiteY27" fmla="*/ 77214 h 721501"/>
                    <a:gd name="connsiteX28" fmla="*/ 111209 w 746079"/>
                    <a:gd name="connsiteY28" fmla="*/ 101882 h 721501"/>
                    <a:gd name="connsiteX29" fmla="*/ 121237 w 746079"/>
                    <a:gd name="connsiteY29" fmla="*/ 259640 h 721501"/>
                    <a:gd name="connsiteX30" fmla="*/ 117103 w 746079"/>
                    <a:gd name="connsiteY30" fmla="*/ 268865 h 721501"/>
                    <a:gd name="connsiteX31" fmla="*/ 75911 w 746079"/>
                    <a:gd name="connsiteY31" fmla="*/ 271093 h 721501"/>
                    <a:gd name="connsiteX32" fmla="*/ 14362 w 746079"/>
                    <a:gd name="connsiteY32" fmla="*/ 360157 h 721501"/>
                    <a:gd name="connsiteX33" fmla="*/ 365 w 746079"/>
                    <a:gd name="connsiteY33" fmla="*/ 435544 h 721501"/>
                    <a:gd name="connsiteX34" fmla="*/ 4659 w 746079"/>
                    <a:gd name="connsiteY34" fmla="*/ 511250 h 721501"/>
                    <a:gd name="connsiteX35" fmla="*/ 90385 w 746079"/>
                    <a:gd name="connsiteY35" fmla="*/ 647394 h 721501"/>
                    <a:gd name="connsiteX36" fmla="*/ 130623 w 746079"/>
                    <a:gd name="connsiteY36" fmla="*/ 663775 h 721501"/>
                    <a:gd name="connsiteX37" fmla="*/ 196150 w 746079"/>
                    <a:gd name="connsiteY37" fmla="*/ 625445 h 721501"/>
                    <a:gd name="connsiteX38" fmla="*/ 234480 w 746079"/>
                    <a:gd name="connsiteY38" fmla="*/ 631806 h 721501"/>
                    <a:gd name="connsiteX39" fmla="*/ 241159 w 746079"/>
                    <a:gd name="connsiteY39" fmla="*/ 631170 h 721501"/>
                    <a:gd name="connsiteX40" fmla="*/ 224938 w 746079"/>
                    <a:gd name="connsiteY40" fmla="*/ 689062 h 721501"/>
                    <a:gd name="connsiteX41" fmla="*/ 260724 w 746079"/>
                    <a:gd name="connsiteY41" fmla="*/ 720234 h 721501"/>
                    <a:gd name="connsiteX42" fmla="*/ 314798 w 746079"/>
                    <a:gd name="connsiteY42" fmla="*/ 700352 h 721501"/>
                    <a:gd name="connsiteX43" fmla="*/ 301758 w 746079"/>
                    <a:gd name="connsiteY43" fmla="*/ 627669 h 721501"/>
                    <a:gd name="connsiteX44" fmla="*/ 310415 w 746079"/>
                    <a:gd name="connsiteY44" fmla="*/ 606848 h 721501"/>
                    <a:gd name="connsiteX45" fmla="*/ 315595 w 746079"/>
                    <a:gd name="connsiteY45" fmla="*/ 580590 h 721501"/>
                    <a:gd name="connsiteX46" fmla="*/ 377782 w 746079"/>
                    <a:gd name="connsiteY46" fmla="*/ 594587 h 721501"/>
                    <a:gd name="connsiteX47" fmla="*/ 384620 w 746079"/>
                    <a:gd name="connsiteY47" fmla="*/ 652796 h 721501"/>
                    <a:gd name="connsiteX48" fmla="*/ 400208 w 746079"/>
                    <a:gd name="connsiteY48" fmla="*/ 661545 h 721501"/>
                    <a:gd name="connsiteX49" fmla="*/ 403388 w 746079"/>
                    <a:gd name="connsiteY49" fmla="*/ 678880 h 721501"/>
                    <a:gd name="connsiteX50" fmla="*/ 407523 w 746079"/>
                    <a:gd name="connsiteY50" fmla="*/ 678880 h 721501"/>
                    <a:gd name="connsiteX51" fmla="*/ 411500 w 746079"/>
                    <a:gd name="connsiteY51" fmla="*/ 686195 h 721501"/>
                    <a:gd name="connsiteX52" fmla="*/ 415635 w 746079"/>
                    <a:gd name="connsiteY52" fmla="*/ 672835 h 721501"/>
                    <a:gd name="connsiteX53" fmla="*/ 454125 w 746079"/>
                    <a:gd name="connsiteY53" fmla="*/ 665359 h 721501"/>
                    <a:gd name="connsiteX54" fmla="*/ 457783 w 746079"/>
                    <a:gd name="connsiteY54" fmla="*/ 660748 h 721501"/>
                    <a:gd name="connsiteX55" fmla="*/ 471303 w 746079"/>
                    <a:gd name="connsiteY55" fmla="*/ 662498 h 721501"/>
                    <a:gd name="connsiteX56" fmla="*/ 501681 w 746079"/>
                    <a:gd name="connsiteY56" fmla="*/ 654546 h 721501"/>
                    <a:gd name="connsiteX57" fmla="*/ 496901 w 746079"/>
                    <a:gd name="connsiteY57" fmla="*/ 668477 h 721501"/>
                    <a:gd name="connsiteX58" fmla="*/ 509625 w 746079"/>
                    <a:gd name="connsiteY58" fmla="*/ 676033 h 721501"/>
                    <a:gd name="connsiteX59" fmla="*/ 561164 w 746079"/>
                    <a:gd name="connsiteY59" fmla="*/ 674111 h 721501"/>
                    <a:gd name="connsiteX60" fmla="*/ 582636 w 746079"/>
                    <a:gd name="connsiteY60" fmla="*/ 666476 h 721501"/>
                    <a:gd name="connsiteX61" fmla="*/ 581839 w 746079"/>
                    <a:gd name="connsiteY61" fmla="*/ 675542 h 721501"/>
                    <a:gd name="connsiteX62" fmla="*/ 662951 w 746079"/>
                    <a:gd name="connsiteY62" fmla="*/ 665839 h 721501"/>
                    <a:gd name="connsiteX63" fmla="*/ 724501 w 746079"/>
                    <a:gd name="connsiteY63" fmla="*/ 650729 h 721501"/>
                    <a:gd name="connsiteX64" fmla="*/ 737541 w 746079"/>
                    <a:gd name="connsiteY64" fmla="*/ 644684 h 721501"/>
                    <a:gd name="connsiteX65" fmla="*/ 725289 w 746079"/>
                    <a:gd name="connsiteY65" fmla="*/ 643256 h 721501"/>
                    <a:gd name="connsiteX66" fmla="*/ 305730 w 746079"/>
                    <a:gd name="connsiteY66" fmla="*/ 403415 h 721501"/>
                    <a:gd name="connsiteX67" fmla="*/ 306047 w 746079"/>
                    <a:gd name="connsiteY67" fmla="*/ 411051 h 721501"/>
                    <a:gd name="connsiteX68" fmla="*/ 285531 w 746079"/>
                    <a:gd name="connsiteY68" fmla="*/ 409143 h 721501"/>
                    <a:gd name="connsiteX69" fmla="*/ 282510 w 746079"/>
                    <a:gd name="connsiteY69" fmla="*/ 399917 h 721501"/>
                    <a:gd name="connsiteX70" fmla="*/ 305730 w 746079"/>
                    <a:gd name="connsiteY70" fmla="*/ 403415 h 721501"/>
                    <a:gd name="connsiteX71" fmla="*/ 191376 w 746079"/>
                    <a:gd name="connsiteY71" fmla="*/ 604132 h 721501"/>
                    <a:gd name="connsiteX72" fmla="*/ 107240 w 746079"/>
                    <a:gd name="connsiteY72" fmla="*/ 586478 h 721501"/>
                    <a:gd name="connsiteX73" fmla="*/ 98492 w 746079"/>
                    <a:gd name="connsiteY73" fmla="*/ 601268 h 721501"/>
                    <a:gd name="connsiteX74" fmla="*/ 150570 w 746079"/>
                    <a:gd name="connsiteY74" fmla="*/ 616393 h 721501"/>
                    <a:gd name="connsiteX75" fmla="*/ 180083 w 746079"/>
                    <a:gd name="connsiteY75" fmla="*/ 620833 h 721501"/>
                    <a:gd name="connsiteX76" fmla="*/ 147161 w 746079"/>
                    <a:gd name="connsiteY76" fmla="*/ 644053 h 721501"/>
                    <a:gd name="connsiteX77" fmla="*/ 100473 w 746079"/>
                    <a:gd name="connsiteY77" fmla="*/ 637468 h 721501"/>
                    <a:gd name="connsiteX78" fmla="*/ 28039 w 746079"/>
                    <a:gd name="connsiteY78" fmla="*/ 525884 h 721501"/>
                    <a:gd name="connsiteX79" fmla="*/ 15315 w 746079"/>
                    <a:gd name="connsiteY79" fmla="*/ 459720 h 721501"/>
                    <a:gd name="connsiteX80" fmla="*/ 14601 w 746079"/>
                    <a:gd name="connsiteY80" fmla="*/ 432206 h 721501"/>
                    <a:gd name="connsiteX81" fmla="*/ 35834 w 746079"/>
                    <a:gd name="connsiteY81" fmla="*/ 334236 h 721501"/>
                    <a:gd name="connsiteX82" fmla="*/ 51570 w 746079"/>
                    <a:gd name="connsiteY82" fmla="*/ 310634 h 721501"/>
                    <a:gd name="connsiteX83" fmla="*/ 54442 w 746079"/>
                    <a:gd name="connsiteY83" fmla="*/ 305237 h 721501"/>
                    <a:gd name="connsiteX84" fmla="*/ 117637 w 746079"/>
                    <a:gd name="connsiteY84" fmla="*/ 287000 h 721501"/>
                    <a:gd name="connsiteX85" fmla="*/ 121243 w 746079"/>
                    <a:gd name="connsiteY85" fmla="*/ 351254 h 721501"/>
                    <a:gd name="connsiteX86" fmla="*/ 123998 w 746079"/>
                    <a:gd name="connsiteY86" fmla="*/ 352950 h 721501"/>
                    <a:gd name="connsiteX87" fmla="*/ 125483 w 746079"/>
                    <a:gd name="connsiteY87" fmla="*/ 375005 h 721501"/>
                    <a:gd name="connsiteX88" fmla="*/ 124264 w 746079"/>
                    <a:gd name="connsiteY88" fmla="*/ 443978 h 721501"/>
                    <a:gd name="connsiteX89" fmla="*/ 115995 w 746079"/>
                    <a:gd name="connsiteY89" fmla="*/ 457498 h 721501"/>
                    <a:gd name="connsiteX90" fmla="*/ 103271 w 746079"/>
                    <a:gd name="connsiteY90" fmla="*/ 454158 h 721501"/>
                    <a:gd name="connsiteX91" fmla="*/ 86730 w 746079"/>
                    <a:gd name="connsiteY91" fmla="*/ 466564 h 721501"/>
                    <a:gd name="connsiteX92" fmla="*/ 101204 w 746079"/>
                    <a:gd name="connsiteY92" fmla="*/ 482785 h 721501"/>
                    <a:gd name="connsiteX93" fmla="*/ 106612 w 746079"/>
                    <a:gd name="connsiteY93" fmla="*/ 473560 h 721501"/>
                    <a:gd name="connsiteX94" fmla="*/ 117428 w 746079"/>
                    <a:gd name="connsiteY94" fmla="*/ 471016 h 721501"/>
                    <a:gd name="connsiteX95" fmla="*/ 127924 w 746079"/>
                    <a:gd name="connsiteY95" fmla="*/ 481512 h 721501"/>
                    <a:gd name="connsiteX96" fmla="*/ 138264 w 746079"/>
                    <a:gd name="connsiteY96" fmla="*/ 456065 h 721501"/>
                    <a:gd name="connsiteX97" fmla="*/ 142241 w 746079"/>
                    <a:gd name="connsiteY97" fmla="*/ 377177 h 721501"/>
                    <a:gd name="connsiteX98" fmla="*/ 199497 w 746079"/>
                    <a:gd name="connsiteY98" fmla="*/ 387674 h 721501"/>
                    <a:gd name="connsiteX99" fmla="*/ 214607 w 746079"/>
                    <a:gd name="connsiteY99" fmla="*/ 457972 h 721501"/>
                    <a:gd name="connsiteX100" fmla="*/ 191376 w 746079"/>
                    <a:gd name="connsiteY100" fmla="*/ 604132 h 721501"/>
                    <a:gd name="connsiteX101" fmla="*/ 240519 w 746079"/>
                    <a:gd name="connsiteY101" fmla="*/ 667589 h 721501"/>
                    <a:gd name="connsiteX102" fmla="*/ 261992 w 746079"/>
                    <a:gd name="connsiteY102" fmla="*/ 669657 h 721501"/>
                    <a:gd name="connsiteX103" fmla="*/ 257697 w 746079"/>
                    <a:gd name="connsiteY103" fmla="*/ 681107 h 721501"/>
                    <a:gd name="connsiteX104" fmla="*/ 264059 w 746079"/>
                    <a:gd name="connsiteY104" fmla="*/ 682857 h 721501"/>
                    <a:gd name="connsiteX105" fmla="*/ 255541 w 746079"/>
                    <a:gd name="connsiteY105" fmla="*/ 695118 h 721501"/>
                    <a:gd name="connsiteX106" fmla="*/ 240519 w 746079"/>
                    <a:gd name="connsiteY106" fmla="*/ 667589 h 721501"/>
                    <a:gd name="connsiteX107" fmla="*/ 266923 w 746079"/>
                    <a:gd name="connsiteY107" fmla="*/ 638645 h 721501"/>
                    <a:gd name="connsiteX108" fmla="*/ 268673 w 746079"/>
                    <a:gd name="connsiteY108" fmla="*/ 653435 h 721501"/>
                    <a:gd name="connsiteX109" fmla="*/ 263265 w 746079"/>
                    <a:gd name="connsiteY109" fmla="*/ 668066 h 721501"/>
                    <a:gd name="connsiteX110" fmla="*/ 241624 w 746079"/>
                    <a:gd name="connsiteY110" fmla="*/ 661322 h 721501"/>
                    <a:gd name="connsiteX111" fmla="*/ 266923 w 746079"/>
                    <a:gd name="connsiteY111" fmla="*/ 638645 h 721501"/>
                    <a:gd name="connsiteX112" fmla="*/ 250699 w 746079"/>
                    <a:gd name="connsiteY112" fmla="*/ 624968 h 721501"/>
                    <a:gd name="connsiteX113" fmla="*/ 263739 w 746079"/>
                    <a:gd name="connsiteY113" fmla="*/ 591092 h 721501"/>
                    <a:gd name="connsiteX114" fmla="*/ 290616 w 746079"/>
                    <a:gd name="connsiteY114" fmla="*/ 575187 h 721501"/>
                    <a:gd name="connsiteX115" fmla="*/ 291413 w 746079"/>
                    <a:gd name="connsiteY115" fmla="*/ 588228 h 721501"/>
                    <a:gd name="connsiteX116" fmla="*/ 295231 w 746079"/>
                    <a:gd name="connsiteY116" fmla="*/ 589978 h 721501"/>
                    <a:gd name="connsiteX117" fmla="*/ 282824 w 746079"/>
                    <a:gd name="connsiteY117" fmla="*/ 620196 h 721501"/>
                    <a:gd name="connsiteX118" fmla="*/ 250699 w 746079"/>
                    <a:gd name="connsiteY118" fmla="*/ 624968 h 721501"/>
                    <a:gd name="connsiteX119" fmla="*/ 261038 w 746079"/>
                    <a:gd name="connsiteY119" fmla="*/ 697174 h 721501"/>
                    <a:gd name="connsiteX120" fmla="*/ 271057 w 746079"/>
                    <a:gd name="connsiteY120" fmla="*/ 681746 h 721501"/>
                    <a:gd name="connsiteX121" fmla="*/ 282350 w 746079"/>
                    <a:gd name="connsiteY121" fmla="*/ 678565 h 721501"/>
                    <a:gd name="connsiteX122" fmla="*/ 292210 w 746079"/>
                    <a:gd name="connsiteY122" fmla="*/ 696060 h 721501"/>
                    <a:gd name="connsiteX123" fmla="*/ 261038 w 746079"/>
                    <a:gd name="connsiteY123" fmla="*/ 697174 h 721501"/>
                    <a:gd name="connsiteX124" fmla="*/ 305253 w 746079"/>
                    <a:gd name="connsiteY124" fmla="*/ 659003 h 721501"/>
                    <a:gd name="connsiteX125" fmla="*/ 302072 w 746079"/>
                    <a:gd name="connsiteY125" fmla="*/ 687471 h 721501"/>
                    <a:gd name="connsiteX126" fmla="*/ 296496 w 746079"/>
                    <a:gd name="connsiteY126" fmla="*/ 689950 h 721501"/>
                    <a:gd name="connsiteX127" fmla="*/ 283304 w 746079"/>
                    <a:gd name="connsiteY127" fmla="*/ 675542 h 721501"/>
                    <a:gd name="connsiteX128" fmla="*/ 286708 w 746079"/>
                    <a:gd name="connsiteY128" fmla="*/ 667264 h 721501"/>
                    <a:gd name="connsiteX129" fmla="*/ 305253 w 746079"/>
                    <a:gd name="connsiteY129" fmla="*/ 659003 h 721501"/>
                    <a:gd name="connsiteX130" fmla="*/ 288552 w 746079"/>
                    <a:gd name="connsiteY130" fmla="*/ 557053 h 721501"/>
                    <a:gd name="connsiteX131" fmla="*/ 271534 w 746079"/>
                    <a:gd name="connsiteY131" fmla="*/ 554189 h 721501"/>
                    <a:gd name="connsiteX132" fmla="*/ 250539 w 746079"/>
                    <a:gd name="connsiteY132" fmla="*/ 582817 h 721501"/>
                    <a:gd name="connsiteX133" fmla="*/ 241633 w 746079"/>
                    <a:gd name="connsiteY133" fmla="*/ 604129 h 721501"/>
                    <a:gd name="connsiteX134" fmla="*/ 220321 w 746079"/>
                    <a:gd name="connsiteY134" fmla="*/ 609537 h 721501"/>
                    <a:gd name="connsiteX135" fmla="*/ 207914 w 746079"/>
                    <a:gd name="connsiteY135" fmla="*/ 607150 h 721501"/>
                    <a:gd name="connsiteX136" fmla="*/ 219524 w 746079"/>
                    <a:gd name="connsiteY136" fmla="*/ 579316 h 721501"/>
                    <a:gd name="connsiteX137" fmla="*/ 229067 w 746079"/>
                    <a:gd name="connsiteY137" fmla="*/ 540032 h 721501"/>
                    <a:gd name="connsiteX138" fmla="*/ 232724 w 746079"/>
                    <a:gd name="connsiteY138" fmla="*/ 476572 h 721501"/>
                    <a:gd name="connsiteX139" fmla="*/ 224455 w 746079"/>
                    <a:gd name="connsiteY139" fmla="*/ 421861 h 721501"/>
                    <a:gd name="connsiteX140" fmla="*/ 223890 w 746079"/>
                    <a:gd name="connsiteY140" fmla="*/ 415619 h 721501"/>
                    <a:gd name="connsiteX141" fmla="*/ 288232 w 746079"/>
                    <a:gd name="connsiteY141" fmla="*/ 422498 h 721501"/>
                    <a:gd name="connsiteX142" fmla="*/ 306681 w 746079"/>
                    <a:gd name="connsiteY142" fmla="*/ 424088 h 721501"/>
                    <a:gd name="connsiteX143" fmla="*/ 309702 w 746079"/>
                    <a:gd name="connsiteY143" fmla="*/ 546394 h 721501"/>
                    <a:gd name="connsiteX144" fmla="*/ 288552 w 746079"/>
                    <a:gd name="connsiteY144" fmla="*/ 557053 h 721501"/>
                    <a:gd name="connsiteX145" fmla="*/ 323065 w 746079"/>
                    <a:gd name="connsiteY145" fmla="*/ 394352 h 721501"/>
                    <a:gd name="connsiteX146" fmla="*/ 340399 w 746079"/>
                    <a:gd name="connsiteY146" fmla="*/ 390535 h 721501"/>
                    <a:gd name="connsiteX147" fmla="*/ 341990 w 746079"/>
                    <a:gd name="connsiteY147" fmla="*/ 411210 h 721501"/>
                    <a:gd name="connsiteX148" fmla="*/ 341673 w 746079"/>
                    <a:gd name="connsiteY148" fmla="*/ 415028 h 721501"/>
                    <a:gd name="connsiteX149" fmla="*/ 323701 w 746079"/>
                    <a:gd name="connsiteY149" fmla="*/ 412324 h 721501"/>
                    <a:gd name="connsiteX150" fmla="*/ 323065 w 746079"/>
                    <a:gd name="connsiteY150" fmla="*/ 394352 h 721501"/>
                    <a:gd name="connsiteX151" fmla="*/ 328313 w 746079"/>
                    <a:gd name="connsiteY151" fmla="*/ 566756 h 721501"/>
                    <a:gd name="connsiteX152" fmla="*/ 324858 w 746079"/>
                    <a:gd name="connsiteY152" fmla="*/ 510668 h 721501"/>
                    <a:gd name="connsiteX153" fmla="*/ 324495 w 746079"/>
                    <a:gd name="connsiteY153" fmla="*/ 425841 h 721501"/>
                    <a:gd name="connsiteX154" fmla="*/ 334355 w 746079"/>
                    <a:gd name="connsiteY154" fmla="*/ 427272 h 721501"/>
                    <a:gd name="connsiteX155" fmla="*/ 343420 w 746079"/>
                    <a:gd name="connsiteY155" fmla="*/ 433157 h 721501"/>
                    <a:gd name="connsiteX156" fmla="*/ 353280 w 746079"/>
                    <a:gd name="connsiteY156" fmla="*/ 483893 h 721501"/>
                    <a:gd name="connsiteX157" fmla="*/ 366320 w 746079"/>
                    <a:gd name="connsiteY157" fmla="*/ 515065 h 721501"/>
                    <a:gd name="connsiteX158" fmla="*/ 363139 w 746079"/>
                    <a:gd name="connsiteY158" fmla="*/ 535741 h 721501"/>
                    <a:gd name="connsiteX159" fmla="*/ 371568 w 746079"/>
                    <a:gd name="connsiteY159" fmla="*/ 556257 h 721501"/>
                    <a:gd name="connsiteX160" fmla="*/ 381428 w 746079"/>
                    <a:gd name="connsiteY160" fmla="*/ 561188 h 721501"/>
                    <a:gd name="connsiteX161" fmla="*/ 384292 w 746079"/>
                    <a:gd name="connsiteY161" fmla="*/ 578046 h 721501"/>
                    <a:gd name="connsiteX162" fmla="*/ 328313 w 746079"/>
                    <a:gd name="connsiteY162" fmla="*/ 566756 h 721501"/>
                    <a:gd name="connsiteX163" fmla="*/ 517737 w 746079"/>
                    <a:gd name="connsiteY163" fmla="*/ 605723 h 721501"/>
                    <a:gd name="connsiteX164" fmla="*/ 503106 w 746079"/>
                    <a:gd name="connsiteY164" fmla="*/ 599521 h 721501"/>
                    <a:gd name="connsiteX165" fmla="*/ 506447 w 746079"/>
                    <a:gd name="connsiteY165" fmla="*/ 616539 h 721501"/>
                    <a:gd name="connsiteX166" fmla="*/ 506923 w 746079"/>
                    <a:gd name="connsiteY166" fmla="*/ 633240 h 721501"/>
                    <a:gd name="connsiteX167" fmla="*/ 487042 w 746079"/>
                    <a:gd name="connsiteY167" fmla="*/ 639441 h 721501"/>
                    <a:gd name="connsiteX168" fmla="*/ 468116 w 746079"/>
                    <a:gd name="connsiteY168" fmla="*/ 609860 h 721501"/>
                    <a:gd name="connsiteX169" fmla="*/ 437261 w 746079"/>
                    <a:gd name="connsiteY169" fmla="*/ 573280 h 721501"/>
                    <a:gd name="connsiteX170" fmla="*/ 433444 w 746079"/>
                    <a:gd name="connsiteY170" fmla="*/ 558966 h 721501"/>
                    <a:gd name="connsiteX171" fmla="*/ 431853 w 746079"/>
                    <a:gd name="connsiteY171" fmla="*/ 551651 h 721501"/>
                    <a:gd name="connsiteX172" fmla="*/ 442510 w 746079"/>
                    <a:gd name="connsiteY172" fmla="*/ 533679 h 721501"/>
                    <a:gd name="connsiteX173" fmla="*/ 432082 w 746079"/>
                    <a:gd name="connsiteY173" fmla="*/ 512221 h 721501"/>
                    <a:gd name="connsiteX174" fmla="*/ 434238 w 746079"/>
                    <a:gd name="connsiteY174" fmla="*/ 377337 h 721501"/>
                    <a:gd name="connsiteX175" fmla="*/ 488949 w 746079"/>
                    <a:gd name="connsiteY175" fmla="*/ 371136 h 721501"/>
                    <a:gd name="connsiteX176" fmla="*/ 512805 w 746079"/>
                    <a:gd name="connsiteY176" fmla="*/ 378294 h 721501"/>
                    <a:gd name="connsiteX177" fmla="*/ 517260 w 746079"/>
                    <a:gd name="connsiteY177" fmla="*/ 442071 h 721501"/>
                    <a:gd name="connsiteX178" fmla="*/ 511535 w 746079"/>
                    <a:gd name="connsiteY178" fmla="*/ 524297 h 721501"/>
                    <a:gd name="connsiteX179" fmla="*/ 518365 w 746079"/>
                    <a:gd name="connsiteY179" fmla="*/ 555166 h 721501"/>
                    <a:gd name="connsiteX180" fmla="*/ 519327 w 746079"/>
                    <a:gd name="connsiteY180" fmla="*/ 577101 h 721501"/>
                    <a:gd name="connsiteX181" fmla="*/ 522031 w 746079"/>
                    <a:gd name="connsiteY181" fmla="*/ 585370 h 721501"/>
                    <a:gd name="connsiteX182" fmla="*/ 517737 w 746079"/>
                    <a:gd name="connsiteY182" fmla="*/ 605723 h 721501"/>
                    <a:gd name="connsiteX183" fmla="*/ 596621 w 746079"/>
                    <a:gd name="connsiteY183" fmla="*/ 575981 h 721501"/>
                    <a:gd name="connsiteX184" fmla="*/ 587079 w 746079"/>
                    <a:gd name="connsiteY184" fmla="*/ 563258 h 721501"/>
                    <a:gd name="connsiteX185" fmla="*/ 588032 w 746079"/>
                    <a:gd name="connsiteY185" fmla="*/ 552919 h 721501"/>
                    <a:gd name="connsiteX186" fmla="*/ 597735 w 746079"/>
                    <a:gd name="connsiteY186" fmla="*/ 544650 h 721501"/>
                    <a:gd name="connsiteX187" fmla="*/ 596621 w 746079"/>
                    <a:gd name="connsiteY187" fmla="*/ 575981 h 721501"/>
                    <a:gd name="connsiteX188" fmla="*/ 604097 w 746079"/>
                    <a:gd name="connsiteY188" fmla="*/ 497254 h 721501"/>
                    <a:gd name="connsiteX189" fmla="*/ 593123 w 746079"/>
                    <a:gd name="connsiteY189" fmla="*/ 488665 h 721501"/>
                    <a:gd name="connsiteX190" fmla="*/ 601236 w 746079"/>
                    <a:gd name="connsiteY190" fmla="*/ 393239 h 721501"/>
                    <a:gd name="connsiteX191" fmla="*/ 621274 w 746079"/>
                    <a:gd name="connsiteY191" fmla="*/ 430296 h 721501"/>
                    <a:gd name="connsiteX192" fmla="*/ 645131 w 746079"/>
                    <a:gd name="connsiteY192" fmla="*/ 523974 h 721501"/>
                    <a:gd name="connsiteX193" fmla="*/ 605530 w 746079"/>
                    <a:gd name="connsiteY193" fmla="*/ 520316 h 721501"/>
                    <a:gd name="connsiteX194" fmla="*/ 607437 w 746079"/>
                    <a:gd name="connsiteY194" fmla="*/ 503775 h 721501"/>
                    <a:gd name="connsiteX195" fmla="*/ 604097 w 746079"/>
                    <a:gd name="connsiteY195" fmla="*/ 497254 h 721501"/>
                    <a:gd name="connsiteX196" fmla="*/ 639566 w 746079"/>
                    <a:gd name="connsiteY196" fmla="*/ 612721 h 721501"/>
                    <a:gd name="connsiteX197" fmla="*/ 614279 w 746079"/>
                    <a:gd name="connsiteY197" fmla="*/ 601588 h 721501"/>
                    <a:gd name="connsiteX198" fmla="*/ 612052 w 746079"/>
                    <a:gd name="connsiteY198" fmla="*/ 536697 h 721501"/>
                    <a:gd name="connsiteX199" fmla="*/ 648951 w 746079"/>
                    <a:gd name="connsiteY199" fmla="*/ 540832 h 721501"/>
                    <a:gd name="connsiteX200" fmla="*/ 666446 w 746079"/>
                    <a:gd name="connsiteY200" fmla="*/ 610177 h 721501"/>
                    <a:gd name="connsiteX201" fmla="*/ 639566 w 746079"/>
                    <a:gd name="connsiteY201" fmla="*/ 612721 h 72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746079" h="721501">
                      <a:moveTo>
                        <a:pt x="725289" y="643256"/>
                      </a:moveTo>
                      <a:lnTo>
                        <a:pt x="726086" y="638168"/>
                      </a:lnTo>
                      <a:cubicBezTo>
                        <a:pt x="726086" y="638168"/>
                        <a:pt x="740876" y="639441"/>
                        <a:pt x="744217" y="637691"/>
                      </a:cubicBezTo>
                      <a:cubicBezTo>
                        <a:pt x="746444" y="636526"/>
                        <a:pt x="746761" y="628308"/>
                        <a:pt x="744694" y="626398"/>
                      </a:cubicBezTo>
                      <a:cubicBezTo>
                        <a:pt x="742627" y="624491"/>
                        <a:pt x="726403" y="626238"/>
                        <a:pt x="726403" y="626238"/>
                      </a:cubicBezTo>
                      <a:lnTo>
                        <a:pt x="723222" y="622581"/>
                      </a:lnTo>
                      <a:lnTo>
                        <a:pt x="690936" y="624648"/>
                      </a:lnTo>
                      <a:cubicBezTo>
                        <a:pt x="689983" y="614309"/>
                        <a:pt x="682225" y="610608"/>
                        <a:pt x="679963" y="611764"/>
                      </a:cubicBezTo>
                      <a:cubicBezTo>
                        <a:pt x="672417" y="583953"/>
                        <a:pt x="631454" y="401665"/>
                        <a:pt x="622308" y="388228"/>
                      </a:cubicBezTo>
                      <a:cubicBezTo>
                        <a:pt x="617434" y="381064"/>
                        <a:pt x="602109" y="375187"/>
                        <a:pt x="602109" y="375187"/>
                      </a:cubicBezTo>
                      <a:lnTo>
                        <a:pt x="604893" y="342982"/>
                      </a:lnTo>
                      <a:cubicBezTo>
                        <a:pt x="601315" y="308786"/>
                        <a:pt x="576203" y="293430"/>
                        <a:pt x="576203" y="293430"/>
                      </a:cubicBezTo>
                      <a:cubicBezTo>
                        <a:pt x="576203" y="293430"/>
                        <a:pt x="575660" y="265002"/>
                        <a:pt x="573976" y="250965"/>
                      </a:cubicBezTo>
                      <a:cubicBezTo>
                        <a:pt x="573499" y="246988"/>
                        <a:pt x="557594" y="248261"/>
                        <a:pt x="557594" y="248261"/>
                      </a:cubicBezTo>
                      <a:cubicBezTo>
                        <a:pt x="560444" y="222200"/>
                        <a:pt x="440060" y="214542"/>
                        <a:pt x="440060" y="214542"/>
                      </a:cubicBezTo>
                      <a:lnTo>
                        <a:pt x="396321" y="127226"/>
                      </a:lnTo>
                      <a:cubicBezTo>
                        <a:pt x="396321" y="127226"/>
                        <a:pt x="387079" y="99163"/>
                        <a:pt x="367200" y="65764"/>
                      </a:cubicBezTo>
                      <a:cubicBezTo>
                        <a:pt x="347318" y="32365"/>
                        <a:pt x="314239" y="42545"/>
                        <a:pt x="314239" y="42545"/>
                      </a:cubicBezTo>
                      <a:lnTo>
                        <a:pt x="302064" y="24747"/>
                      </a:lnTo>
                      <a:cubicBezTo>
                        <a:pt x="288147" y="2481"/>
                        <a:pt x="231933" y="0"/>
                        <a:pt x="231933" y="0"/>
                      </a:cubicBezTo>
                      <a:lnTo>
                        <a:pt x="231536" y="17812"/>
                      </a:lnTo>
                      <a:cubicBezTo>
                        <a:pt x="231536" y="17812"/>
                        <a:pt x="218176" y="19642"/>
                        <a:pt x="214995" y="45883"/>
                      </a:cubicBezTo>
                      <a:cubicBezTo>
                        <a:pt x="214995" y="45883"/>
                        <a:pt x="202749" y="49223"/>
                        <a:pt x="190422" y="59720"/>
                      </a:cubicBezTo>
                      <a:lnTo>
                        <a:pt x="167203" y="83896"/>
                      </a:lnTo>
                      <a:lnTo>
                        <a:pt x="124101" y="78965"/>
                      </a:lnTo>
                      <a:cubicBezTo>
                        <a:pt x="124101" y="78965"/>
                        <a:pt x="114876" y="49383"/>
                        <a:pt x="65255" y="58766"/>
                      </a:cubicBezTo>
                      <a:cubicBezTo>
                        <a:pt x="65255" y="58766"/>
                        <a:pt x="54294" y="67506"/>
                        <a:pt x="63665" y="73557"/>
                      </a:cubicBezTo>
                      <a:cubicBezTo>
                        <a:pt x="68690" y="76803"/>
                        <a:pt x="79409" y="75464"/>
                        <a:pt x="96427" y="77214"/>
                      </a:cubicBezTo>
                      <a:cubicBezTo>
                        <a:pt x="96427" y="77214"/>
                        <a:pt x="109151" y="76738"/>
                        <a:pt x="111209" y="101882"/>
                      </a:cubicBezTo>
                      <a:cubicBezTo>
                        <a:pt x="113716" y="132488"/>
                        <a:pt x="121237" y="259640"/>
                        <a:pt x="121237" y="259640"/>
                      </a:cubicBezTo>
                      <a:lnTo>
                        <a:pt x="117103" y="268865"/>
                      </a:lnTo>
                      <a:cubicBezTo>
                        <a:pt x="100890" y="266201"/>
                        <a:pt x="87250" y="266473"/>
                        <a:pt x="75911" y="271093"/>
                      </a:cubicBezTo>
                      <a:cubicBezTo>
                        <a:pt x="36813" y="287017"/>
                        <a:pt x="21360" y="336460"/>
                        <a:pt x="14362" y="360157"/>
                      </a:cubicBezTo>
                      <a:cubicBezTo>
                        <a:pt x="7486" y="383439"/>
                        <a:pt x="2069" y="405009"/>
                        <a:pt x="365" y="435544"/>
                      </a:cubicBezTo>
                      <a:cubicBezTo>
                        <a:pt x="-1543" y="469739"/>
                        <a:pt x="4653" y="511213"/>
                        <a:pt x="4659" y="511250"/>
                      </a:cubicBezTo>
                      <a:cubicBezTo>
                        <a:pt x="20837" y="588628"/>
                        <a:pt x="59530" y="625921"/>
                        <a:pt x="90385" y="647394"/>
                      </a:cubicBezTo>
                      <a:cubicBezTo>
                        <a:pt x="111086" y="661799"/>
                        <a:pt x="130623" y="663775"/>
                        <a:pt x="130623" y="663775"/>
                      </a:cubicBezTo>
                      <a:cubicBezTo>
                        <a:pt x="162157" y="663058"/>
                        <a:pt x="181017" y="646882"/>
                        <a:pt x="196150" y="625445"/>
                      </a:cubicBezTo>
                      <a:lnTo>
                        <a:pt x="234480" y="631806"/>
                      </a:lnTo>
                      <a:lnTo>
                        <a:pt x="241159" y="631170"/>
                      </a:lnTo>
                      <a:cubicBezTo>
                        <a:pt x="215712" y="649061"/>
                        <a:pt x="221597" y="679996"/>
                        <a:pt x="224938" y="689062"/>
                      </a:cubicBezTo>
                      <a:cubicBezTo>
                        <a:pt x="226605" y="693587"/>
                        <a:pt x="236039" y="714840"/>
                        <a:pt x="260724" y="720234"/>
                      </a:cubicBezTo>
                      <a:cubicBezTo>
                        <a:pt x="284740" y="725482"/>
                        <a:pt x="305676" y="713583"/>
                        <a:pt x="314798" y="700352"/>
                      </a:cubicBezTo>
                      <a:cubicBezTo>
                        <a:pt x="328207" y="680913"/>
                        <a:pt x="328119" y="648818"/>
                        <a:pt x="301758" y="627669"/>
                      </a:cubicBezTo>
                      <a:lnTo>
                        <a:pt x="310415" y="606848"/>
                      </a:lnTo>
                      <a:cubicBezTo>
                        <a:pt x="314162" y="598244"/>
                        <a:pt x="315301" y="584307"/>
                        <a:pt x="315595" y="580590"/>
                      </a:cubicBezTo>
                      <a:lnTo>
                        <a:pt x="377782" y="594587"/>
                      </a:lnTo>
                      <a:cubicBezTo>
                        <a:pt x="374124" y="616376"/>
                        <a:pt x="382236" y="643653"/>
                        <a:pt x="384620" y="652796"/>
                      </a:cubicBezTo>
                      <a:cubicBezTo>
                        <a:pt x="387004" y="661939"/>
                        <a:pt x="400208" y="661545"/>
                        <a:pt x="400208" y="661545"/>
                      </a:cubicBezTo>
                      <a:lnTo>
                        <a:pt x="403388" y="678880"/>
                      </a:lnTo>
                      <a:lnTo>
                        <a:pt x="407523" y="678880"/>
                      </a:lnTo>
                      <a:cubicBezTo>
                        <a:pt x="407523" y="678880"/>
                        <a:pt x="406726" y="686355"/>
                        <a:pt x="411500" y="686195"/>
                      </a:cubicBezTo>
                      <a:cubicBezTo>
                        <a:pt x="417303" y="686001"/>
                        <a:pt x="415013" y="675567"/>
                        <a:pt x="415635" y="672835"/>
                      </a:cubicBezTo>
                      <a:cubicBezTo>
                        <a:pt x="415635" y="672835"/>
                        <a:pt x="450308" y="667267"/>
                        <a:pt x="454125" y="665359"/>
                      </a:cubicBezTo>
                      <a:cubicBezTo>
                        <a:pt x="457943" y="663452"/>
                        <a:pt x="457783" y="660748"/>
                        <a:pt x="457783" y="660748"/>
                      </a:cubicBezTo>
                      <a:cubicBezTo>
                        <a:pt x="457783" y="660748"/>
                        <a:pt x="461917" y="664089"/>
                        <a:pt x="471303" y="662498"/>
                      </a:cubicBezTo>
                      <a:cubicBezTo>
                        <a:pt x="480688" y="660908"/>
                        <a:pt x="501681" y="654546"/>
                        <a:pt x="501681" y="654546"/>
                      </a:cubicBezTo>
                      <a:lnTo>
                        <a:pt x="496901" y="668477"/>
                      </a:lnTo>
                      <a:cubicBezTo>
                        <a:pt x="496901" y="668477"/>
                        <a:pt x="495779" y="674774"/>
                        <a:pt x="509625" y="676033"/>
                      </a:cubicBezTo>
                      <a:cubicBezTo>
                        <a:pt x="523470" y="677292"/>
                        <a:pt x="561164" y="674111"/>
                        <a:pt x="561164" y="674111"/>
                      </a:cubicBezTo>
                      <a:lnTo>
                        <a:pt x="582636" y="666476"/>
                      </a:lnTo>
                      <a:cubicBezTo>
                        <a:pt x="582636" y="666476"/>
                        <a:pt x="580092" y="673474"/>
                        <a:pt x="581839" y="675542"/>
                      </a:cubicBezTo>
                      <a:cubicBezTo>
                        <a:pt x="583589" y="677609"/>
                        <a:pt x="662951" y="665839"/>
                        <a:pt x="662951" y="665839"/>
                      </a:cubicBezTo>
                      <a:cubicBezTo>
                        <a:pt x="662951" y="665839"/>
                        <a:pt x="711777" y="653909"/>
                        <a:pt x="724501" y="650729"/>
                      </a:cubicBezTo>
                      <a:cubicBezTo>
                        <a:pt x="737224" y="647548"/>
                        <a:pt x="737541" y="644684"/>
                        <a:pt x="737541" y="644684"/>
                      </a:cubicBezTo>
                      <a:lnTo>
                        <a:pt x="725289" y="643256"/>
                      </a:lnTo>
                      <a:close/>
                      <a:moveTo>
                        <a:pt x="305730" y="403415"/>
                      </a:moveTo>
                      <a:cubicBezTo>
                        <a:pt x="307480" y="404689"/>
                        <a:pt x="307480" y="410254"/>
                        <a:pt x="306047" y="411051"/>
                      </a:cubicBezTo>
                      <a:cubicBezTo>
                        <a:pt x="304613" y="411847"/>
                        <a:pt x="293163" y="408663"/>
                        <a:pt x="285531" y="409143"/>
                      </a:cubicBezTo>
                      <a:cubicBezTo>
                        <a:pt x="283461" y="409272"/>
                        <a:pt x="282510" y="399917"/>
                        <a:pt x="282510" y="399917"/>
                      </a:cubicBezTo>
                      <a:cubicBezTo>
                        <a:pt x="282510" y="399917"/>
                        <a:pt x="303980" y="402145"/>
                        <a:pt x="305730" y="403415"/>
                      </a:cubicBezTo>
                      <a:close/>
                      <a:moveTo>
                        <a:pt x="191376" y="604132"/>
                      </a:moveTo>
                      <a:cubicBezTo>
                        <a:pt x="160310" y="597488"/>
                        <a:pt x="117888" y="588211"/>
                        <a:pt x="107240" y="586478"/>
                      </a:cubicBezTo>
                      <a:cubicBezTo>
                        <a:pt x="90142" y="583694"/>
                        <a:pt x="98492" y="601268"/>
                        <a:pt x="98492" y="601268"/>
                      </a:cubicBezTo>
                      <a:lnTo>
                        <a:pt x="150570" y="616393"/>
                      </a:lnTo>
                      <a:lnTo>
                        <a:pt x="180083" y="620833"/>
                      </a:lnTo>
                      <a:cubicBezTo>
                        <a:pt x="169196" y="632483"/>
                        <a:pt x="158191" y="641406"/>
                        <a:pt x="147161" y="644053"/>
                      </a:cubicBezTo>
                      <a:cubicBezTo>
                        <a:pt x="122896" y="649881"/>
                        <a:pt x="100473" y="637468"/>
                        <a:pt x="100473" y="637468"/>
                      </a:cubicBezTo>
                      <a:cubicBezTo>
                        <a:pt x="46487" y="590932"/>
                        <a:pt x="41079" y="558487"/>
                        <a:pt x="28039" y="525884"/>
                      </a:cubicBezTo>
                      <a:cubicBezTo>
                        <a:pt x="21006" y="508304"/>
                        <a:pt x="17223" y="485170"/>
                        <a:pt x="15315" y="459720"/>
                      </a:cubicBezTo>
                      <a:cubicBezTo>
                        <a:pt x="14681" y="451271"/>
                        <a:pt x="14676" y="441331"/>
                        <a:pt x="14601" y="432206"/>
                      </a:cubicBezTo>
                      <a:cubicBezTo>
                        <a:pt x="14316" y="397756"/>
                        <a:pt x="23639" y="359757"/>
                        <a:pt x="35834" y="334236"/>
                      </a:cubicBezTo>
                      <a:lnTo>
                        <a:pt x="51570" y="310634"/>
                      </a:lnTo>
                      <a:lnTo>
                        <a:pt x="54442" y="305237"/>
                      </a:lnTo>
                      <a:cubicBezTo>
                        <a:pt x="81745" y="277009"/>
                        <a:pt x="109242" y="283853"/>
                        <a:pt x="117637" y="287000"/>
                      </a:cubicBezTo>
                      <a:lnTo>
                        <a:pt x="121243" y="351254"/>
                      </a:lnTo>
                      <a:lnTo>
                        <a:pt x="123998" y="352950"/>
                      </a:lnTo>
                      <a:cubicBezTo>
                        <a:pt x="123998" y="352950"/>
                        <a:pt x="121109" y="369437"/>
                        <a:pt x="125483" y="375005"/>
                      </a:cubicBezTo>
                      <a:lnTo>
                        <a:pt x="124264" y="443978"/>
                      </a:lnTo>
                      <a:cubicBezTo>
                        <a:pt x="121243" y="443342"/>
                        <a:pt x="115995" y="457498"/>
                        <a:pt x="115995" y="457498"/>
                      </a:cubicBezTo>
                      <a:cubicBezTo>
                        <a:pt x="115995" y="457498"/>
                        <a:pt x="111383" y="450183"/>
                        <a:pt x="103271" y="454158"/>
                      </a:cubicBezTo>
                      <a:cubicBezTo>
                        <a:pt x="103271" y="454158"/>
                        <a:pt x="92695" y="433165"/>
                        <a:pt x="86730" y="466564"/>
                      </a:cubicBezTo>
                      <a:cubicBezTo>
                        <a:pt x="86730" y="466564"/>
                        <a:pt x="93252" y="489547"/>
                        <a:pt x="101204" y="482785"/>
                      </a:cubicBezTo>
                      <a:lnTo>
                        <a:pt x="106612" y="473560"/>
                      </a:lnTo>
                      <a:cubicBezTo>
                        <a:pt x="106612" y="473560"/>
                        <a:pt x="112337" y="475310"/>
                        <a:pt x="117428" y="471016"/>
                      </a:cubicBezTo>
                      <a:lnTo>
                        <a:pt x="127924" y="481512"/>
                      </a:lnTo>
                      <a:cubicBezTo>
                        <a:pt x="137627" y="481672"/>
                        <a:pt x="141761" y="469425"/>
                        <a:pt x="138264" y="456065"/>
                      </a:cubicBezTo>
                      <a:lnTo>
                        <a:pt x="142241" y="377177"/>
                      </a:lnTo>
                      <a:lnTo>
                        <a:pt x="199497" y="387674"/>
                      </a:lnTo>
                      <a:cubicBezTo>
                        <a:pt x="206609" y="413223"/>
                        <a:pt x="212163" y="436626"/>
                        <a:pt x="214607" y="457972"/>
                      </a:cubicBezTo>
                      <a:cubicBezTo>
                        <a:pt x="222476" y="526795"/>
                        <a:pt x="207900" y="574311"/>
                        <a:pt x="191376" y="604132"/>
                      </a:cubicBezTo>
                      <a:close/>
                      <a:moveTo>
                        <a:pt x="240519" y="667589"/>
                      </a:moveTo>
                      <a:cubicBezTo>
                        <a:pt x="241642" y="663997"/>
                        <a:pt x="261992" y="669657"/>
                        <a:pt x="261992" y="669657"/>
                      </a:cubicBezTo>
                      <a:lnTo>
                        <a:pt x="257697" y="681107"/>
                      </a:lnTo>
                      <a:lnTo>
                        <a:pt x="264059" y="682857"/>
                      </a:lnTo>
                      <a:cubicBezTo>
                        <a:pt x="264059" y="682857"/>
                        <a:pt x="259747" y="695929"/>
                        <a:pt x="255541" y="695118"/>
                      </a:cubicBezTo>
                      <a:cubicBezTo>
                        <a:pt x="251335" y="694310"/>
                        <a:pt x="239397" y="671184"/>
                        <a:pt x="240519" y="667589"/>
                      </a:cubicBezTo>
                      <a:close/>
                      <a:moveTo>
                        <a:pt x="266923" y="638645"/>
                      </a:moveTo>
                      <a:cubicBezTo>
                        <a:pt x="269475" y="640381"/>
                        <a:pt x="268673" y="653435"/>
                        <a:pt x="268673" y="653435"/>
                      </a:cubicBezTo>
                      <a:lnTo>
                        <a:pt x="263265" y="668066"/>
                      </a:lnTo>
                      <a:cubicBezTo>
                        <a:pt x="263265" y="668066"/>
                        <a:pt x="243049" y="666028"/>
                        <a:pt x="241624" y="661322"/>
                      </a:cubicBezTo>
                      <a:cubicBezTo>
                        <a:pt x="240202" y="656616"/>
                        <a:pt x="264367" y="636909"/>
                        <a:pt x="266923" y="638645"/>
                      </a:cubicBezTo>
                      <a:close/>
                      <a:moveTo>
                        <a:pt x="250699" y="624968"/>
                      </a:moveTo>
                      <a:cubicBezTo>
                        <a:pt x="250699" y="624968"/>
                        <a:pt x="254197" y="617332"/>
                        <a:pt x="263739" y="591092"/>
                      </a:cubicBezTo>
                      <a:cubicBezTo>
                        <a:pt x="273282" y="564848"/>
                        <a:pt x="290616" y="575187"/>
                        <a:pt x="290616" y="575187"/>
                      </a:cubicBezTo>
                      <a:lnTo>
                        <a:pt x="291413" y="588228"/>
                      </a:lnTo>
                      <a:lnTo>
                        <a:pt x="295231" y="589978"/>
                      </a:lnTo>
                      <a:lnTo>
                        <a:pt x="282824" y="620196"/>
                      </a:lnTo>
                      <a:cubicBezTo>
                        <a:pt x="272808" y="615742"/>
                        <a:pt x="250699" y="624968"/>
                        <a:pt x="250699" y="624968"/>
                      </a:cubicBezTo>
                      <a:close/>
                      <a:moveTo>
                        <a:pt x="261038" y="697174"/>
                      </a:moveTo>
                      <a:cubicBezTo>
                        <a:pt x="259607" y="693356"/>
                        <a:pt x="271057" y="681746"/>
                        <a:pt x="271057" y="681746"/>
                      </a:cubicBezTo>
                      <a:cubicBezTo>
                        <a:pt x="278655" y="681746"/>
                        <a:pt x="282216" y="679796"/>
                        <a:pt x="282350" y="678565"/>
                      </a:cubicBezTo>
                      <a:cubicBezTo>
                        <a:pt x="282350" y="678565"/>
                        <a:pt x="295702" y="691223"/>
                        <a:pt x="292210" y="696060"/>
                      </a:cubicBezTo>
                      <a:cubicBezTo>
                        <a:pt x="288718" y="700897"/>
                        <a:pt x="262468" y="700991"/>
                        <a:pt x="261038" y="697174"/>
                      </a:cubicBezTo>
                      <a:close/>
                      <a:moveTo>
                        <a:pt x="305253" y="659003"/>
                      </a:moveTo>
                      <a:lnTo>
                        <a:pt x="302072" y="687471"/>
                      </a:lnTo>
                      <a:lnTo>
                        <a:pt x="296496" y="689950"/>
                      </a:lnTo>
                      <a:lnTo>
                        <a:pt x="283304" y="675542"/>
                      </a:lnTo>
                      <a:cubicBezTo>
                        <a:pt x="284043" y="672195"/>
                        <a:pt x="285251" y="669474"/>
                        <a:pt x="286708" y="667264"/>
                      </a:cubicBezTo>
                      <a:cubicBezTo>
                        <a:pt x="292452" y="658544"/>
                        <a:pt x="305253" y="659003"/>
                        <a:pt x="305253" y="659003"/>
                      </a:cubicBezTo>
                      <a:close/>
                      <a:moveTo>
                        <a:pt x="288552" y="557053"/>
                      </a:moveTo>
                      <a:cubicBezTo>
                        <a:pt x="288552" y="557056"/>
                        <a:pt x="281899" y="553867"/>
                        <a:pt x="271534" y="554189"/>
                      </a:cubicBezTo>
                      <a:cubicBezTo>
                        <a:pt x="261355" y="554506"/>
                        <a:pt x="254982" y="571081"/>
                        <a:pt x="250539" y="582817"/>
                      </a:cubicBezTo>
                      <a:cubicBezTo>
                        <a:pt x="248215" y="590681"/>
                        <a:pt x="245479" y="599546"/>
                        <a:pt x="241633" y="604129"/>
                      </a:cubicBezTo>
                      <a:cubicBezTo>
                        <a:pt x="234660" y="612433"/>
                        <a:pt x="226682" y="610651"/>
                        <a:pt x="220321" y="609537"/>
                      </a:cubicBezTo>
                      <a:cubicBezTo>
                        <a:pt x="217582" y="609058"/>
                        <a:pt x="211540" y="607930"/>
                        <a:pt x="207914" y="607150"/>
                      </a:cubicBezTo>
                      <a:cubicBezTo>
                        <a:pt x="210638" y="601554"/>
                        <a:pt x="219524" y="579316"/>
                        <a:pt x="219524" y="579316"/>
                      </a:cubicBezTo>
                      <a:cubicBezTo>
                        <a:pt x="223073" y="567704"/>
                        <a:pt x="227445" y="552445"/>
                        <a:pt x="229067" y="540032"/>
                      </a:cubicBezTo>
                      <a:cubicBezTo>
                        <a:pt x="229067" y="540032"/>
                        <a:pt x="233287" y="500018"/>
                        <a:pt x="232724" y="476572"/>
                      </a:cubicBezTo>
                      <a:cubicBezTo>
                        <a:pt x="231733" y="458275"/>
                        <a:pt x="227533" y="438025"/>
                        <a:pt x="224455" y="421861"/>
                      </a:cubicBezTo>
                      <a:lnTo>
                        <a:pt x="223890" y="415619"/>
                      </a:lnTo>
                      <a:cubicBezTo>
                        <a:pt x="223890" y="415619"/>
                        <a:pt x="253751" y="421133"/>
                        <a:pt x="288232" y="422498"/>
                      </a:cubicBezTo>
                      <a:cubicBezTo>
                        <a:pt x="288178" y="422560"/>
                        <a:pt x="306735" y="424022"/>
                        <a:pt x="306681" y="424088"/>
                      </a:cubicBezTo>
                      <a:lnTo>
                        <a:pt x="309702" y="546394"/>
                      </a:lnTo>
                      <a:cubicBezTo>
                        <a:pt x="295551" y="543696"/>
                        <a:pt x="288618" y="556870"/>
                        <a:pt x="288552" y="557053"/>
                      </a:cubicBezTo>
                      <a:close/>
                      <a:moveTo>
                        <a:pt x="323065" y="394352"/>
                      </a:moveTo>
                      <a:lnTo>
                        <a:pt x="340399" y="390535"/>
                      </a:lnTo>
                      <a:lnTo>
                        <a:pt x="341990" y="411210"/>
                      </a:lnTo>
                      <a:lnTo>
                        <a:pt x="341673" y="415028"/>
                      </a:lnTo>
                      <a:lnTo>
                        <a:pt x="323701" y="412324"/>
                      </a:lnTo>
                      <a:lnTo>
                        <a:pt x="323065" y="394352"/>
                      </a:lnTo>
                      <a:close/>
                      <a:moveTo>
                        <a:pt x="328313" y="566756"/>
                      </a:moveTo>
                      <a:cubicBezTo>
                        <a:pt x="328321" y="562370"/>
                        <a:pt x="323259" y="513218"/>
                        <a:pt x="324858" y="510668"/>
                      </a:cubicBezTo>
                      <a:cubicBezTo>
                        <a:pt x="323450" y="490064"/>
                        <a:pt x="323673" y="446762"/>
                        <a:pt x="324495" y="425841"/>
                      </a:cubicBezTo>
                      <a:cubicBezTo>
                        <a:pt x="329335" y="426369"/>
                        <a:pt x="333175" y="426649"/>
                        <a:pt x="334355" y="427272"/>
                      </a:cubicBezTo>
                      <a:lnTo>
                        <a:pt x="343420" y="433157"/>
                      </a:lnTo>
                      <a:cubicBezTo>
                        <a:pt x="347324" y="452265"/>
                        <a:pt x="348266" y="464942"/>
                        <a:pt x="353280" y="483893"/>
                      </a:cubicBezTo>
                      <a:lnTo>
                        <a:pt x="366320" y="515065"/>
                      </a:lnTo>
                      <a:cubicBezTo>
                        <a:pt x="366320" y="515065"/>
                        <a:pt x="363368" y="525736"/>
                        <a:pt x="363139" y="535741"/>
                      </a:cubicBezTo>
                      <a:cubicBezTo>
                        <a:pt x="362911" y="545746"/>
                        <a:pt x="371568" y="556257"/>
                        <a:pt x="371568" y="556257"/>
                      </a:cubicBezTo>
                      <a:lnTo>
                        <a:pt x="381428" y="561188"/>
                      </a:lnTo>
                      <a:lnTo>
                        <a:pt x="384292" y="578046"/>
                      </a:lnTo>
                      <a:lnTo>
                        <a:pt x="328313" y="566756"/>
                      </a:lnTo>
                      <a:close/>
                      <a:moveTo>
                        <a:pt x="517737" y="605723"/>
                      </a:moveTo>
                      <a:cubicBezTo>
                        <a:pt x="517737" y="605723"/>
                        <a:pt x="506921" y="594750"/>
                        <a:pt x="503106" y="599521"/>
                      </a:cubicBezTo>
                      <a:cubicBezTo>
                        <a:pt x="499291" y="604292"/>
                        <a:pt x="505173" y="609700"/>
                        <a:pt x="506447" y="616539"/>
                      </a:cubicBezTo>
                      <a:cubicBezTo>
                        <a:pt x="507720" y="623377"/>
                        <a:pt x="506923" y="633240"/>
                        <a:pt x="506923" y="633240"/>
                      </a:cubicBezTo>
                      <a:lnTo>
                        <a:pt x="487042" y="639441"/>
                      </a:lnTo>
                      <a:cubicBezTo>
                        <a:pt x="484632" y="628788"/>
                        <a:pt x="487610" y="615274"/>
                        <a:pt x="468116" y="609860"/>
                      </a:cubicBezTo>
                      <a:cubicBezTo>
                        <a:pt x="453802" y="605882"/>
                        <a:pt x="437261" y="573280"/>
                        <a:pt x="437261" y="573280"/>
                      </a:cubicBezTo>
                      <a:cubicBezTo>
                        <a:pt x="432173" y="567078"/>
                        <a:pt x="433444" y="558966"/>
                        <a:pt x="433444" y="558966"/>
                      </a:cubicBezTo>
                      <a:lnTo>
                        <a:pt x="431853" y="551651"/>
                      </a:lnTo>
                      <a:cubicBezTo>
                        <a:pt x="431853" y="551651"/>
                        <a:pt x="444100" y="548787"/>
                        <a:pt x="442510" y="533679"/>
                      </a:cubicBezTo>
                      <a:cubicBezTo>
                        <a:pt x="442510" y="533679"/>
                        <a:pt x="433584" y="520191"/>
                        <a:pt x="432082" y="512221"/>
                      </a:cubicBezTo>
                      <a:cubicBezTo>
                        <a:pt x="430580" y="504255"/>
                        <a:pt x="437102" y="416938"/>
                        <a:pt x="434238" y="377337"/>
                      </a:cubicBezTo>
                      <a:cubicBezTo>
                        <a:pt x="434238" y="377337"/>
                        <a:pt x="468670" y="369942"/>
                        <a:pt x="488949" y="371136"/>
                      </a:cubicBezTo>
                      <a:lnTo>
                        <a:pt x="512805" y="378294"/>
                      </a:lnTo>
                      <a:cubicBezTo>
                        <a:pt x="512805" y="378294"/>
                        <a:pt x="517188" y="409152"/>
                        <a:pt x="517260" y="442071"/>
                      </a:cubicBezTo>
                      <a:cubicBezTo>
                        <a:pt x="517337" y="477980"/>
                        <a:pt x="511124" y="516830"/>
                        <a:pt x="511535" y="524297"/>
                      </a:cubicBezTo>
                      <a:cubicBezTo>
                        <a:pt x="512320" y="538610"/>
                        <a:pt x="518365" y="555166"/>
                        <a:pt x="518365" y="555166"/>
                      </a:cubicBezTo>
                      <a:lnTo>
                        <a:pt x="519327" y="577101"/>
                      </a:lnTo>
                      <a:cubicBezTo>
                        <a:pt x="519327" y="577101"/>
                        <a:pt x="521714" y="580758"/>
                        <a:pt x="522031" y="585370"/>
                      </a:cubicBezTo>
                      <a:cubicBezTo>
                        <a:pt x="522348" y="589981"/>
                        <a:pt x="517737" y="605723"/>
                        <a:pt x="517737" y="605723"/>
                      </a:cubicBezTo>
                      <a:close/>
                      <a:moveTo>
                        <a:pt x="596621" y="575981"/>
                      </a:moveTo>
                      <a:lnTo>
                        <a:pt x="587079" y="563258"/>
                      </a:lnTo>
                      <a:lnTo>
                        <a:pt x="588032" y="552919"/>
                      </a:lnTo>
                      <a:lnTo>
                        <a:pt x="597735" y="544650"/>
                      </a:lnTo>
                      <a:lnTo>
                        <a:pt x="596621" y="575981"/>
                      </a:lnTo>
                      <a:close/>
                      <a:moveTo>
                        <a:pt x="604097" y="497254"/>
                      </a:moveTo>
                      <a:cubicBezTo>
                        <a:pt x="602823" y="485804"/>
                        <a:pt x="593123" y="488665"/>
                        <a:pt x="593123" y="488665"/>
                      </a:cubicBezTo>
                      <a:lnTo>
                        <a:pt x="601236" y="393239"/>
                      </a:lnTo>
                      <a:cubicBezTo>
                        <a:pt x="608728" y="396000"/>
                        <a:pt x="614813" y="411156"/>
                        <a:pt x="621274" y="430296"/>
                      </a:cubicBezTo>
                      <a:cubicBezTo>
                        <a:pt x="634366" y="469063"/>
                        <a:pt x="645131" y="523974"/>
                        <a:pt x="645131" y="523974"/>
                      </a:cubicBezTo>
                      <a:lnTo>
                        <a:pt x="605530" y="520316"/>
                      </a:lnTo>
                      <a:lnTo>
                        <a:pt x="607437" y="503775"/>
                      </a:lnTo>
                      <a:lnTo>
                        <a:pt x="604097" y="497254"/>
                      </a:lnTo>
                      <a:close/>
                      <a:moveTo>
                        <a:pt x="639566" y="612721"/>
                      </a:moveTo>
                      <a:cubicBezTo>
                        <a:pt x="625729" y="610814"/>
                        <a:pt x="614279" y="601588"/>
                        <a:pt x="614279" y="601588"/>
                      </a:cubicBezTo>
                      <a:cubicBezTo>
                        <a:pt x="608077" y="567392"/>
                        <a:pt x="614439" y="543696"/>
                        <a:pt x="612052" y="536697"/>
                      </a:cubicBezTo>
                      <a:lnTo>
                        <a:pt x="648951" y="540832"/>
                      </a:lnTo>
                      <a:lnTo>
                        <a:pt x="666446" y="610177"/>
                      </a:lnTo>
                      <a:cubicBezTo>
                        <a:pt x="666443" y="610174"/>
                        <a:pt x="653403" y="614628"/>
                        <a:pt x="639566" y="612721"/>
                      </a:cubicBezTo>
                      <a:close/>
                    </a:path>
                  </a:pathLst>
                </a:custGeom>
                <a:solidFill>
                  <a:srgbClr val="FFFFFF"/>
                </a:solidFill>
                <a:ln w="2826" cap="flat">
                  <a:noFill/>
                  <a:prstDash val="solid"/>
                  <a:miter/>
                </a:ln>
              </p:spPr>
              <p:txBody>
                <a:bodyPr rtlCol="0" anchor="ctr"/>
                <a:lstStyle/>
                <a:p>
                  <a:endParaRPr lang="fr-CA"/>
                </a:p>
              </p:txBody>
            </p:sp>
            <p:grpSp>
              <p:nvGrpSpPr>
                <p:cNvPr id="1445" name="Graphique 35" descr="Garçon dans un fauteuil roulant">
                  <a:extLst>
                    <a:ext uri="{FF2B5EF4-FFF2-40B4-BE49-F238E27FC236}">
                      <a16:creationId xmlns:a16="http://schemas.microsoft.com/office/drawing/2014/main" id="{8B864ADF-37B6-3BD0-3B4F-33308330DCD0}"/>
                    </a:ext>
                  </a:extLst>
                </p:cNvPr>
                <p:cNvGrpSpPr/>
                <p:nvPr/>
              </p:nvGrpSpPr>
              <p:grpSpPr>
                <a:xfrm>
                  <a:off x="9291701" y="4005701"/>
                  <a:ext cx="288140" cy="253089"/>
                  <a:chOff x="9291701" y="4005701"/>
                  <a:chExt cx="288140" cy="253089"/>
                </a:xfrm>
                <a:solidFill>
                  <a:srgbClr val="FFFFFF"/>
                </a:solidFill>
              </p:grpSpPr>
              <p:sp>
                <p:nvSpPr>
                  <p:cNvPr id="1492" name="Forme libre : forme 1491">
                    <a:extLst>
                      <a:ext uri="{FF2B5EF4-FFF2-40B4-BE49-F238E27FC236}">
                        <a16:creationId xmlns:a16="http://schemas.microsoft.com/office/drawing/2014/main" id="{F2891EBB-57B2-DFCA-21A3-BA17232C0A16}"/>
                      </a:ext>
                    </a:extLst>
                  </p:cNvPr>
                  <p:cNvSpPr/>
                  <p:nvPr/>
                </p:nvSpPr>
                <p:spPr>
                  <a:xfrm>
                    <a:off x="9291701" y="4005701"/>
                    <a:ext cx="288140" cy="238713"/>
                  </a:xfrm>
                  <a:custGeom>
                    <a:avLst/>
                    <a:gdLst>
                      <a:gd name="connsiteX0" fmla="*/ 259505 w 288140"/>
                      <a:gd name="connsiteY0" fmla="*/ 102633 h 238713"/>
                      <a:gd name="connsiteX1" fmla="*/ 179983 w 288140"/>
                      <a:gd name="connsiteY1" fmla="*/ 21838 h 238713"/>
                      <a:gd name="connsiteX2" fmla="*/ 167308 w 288140"/>
                      <a:gd name="connsiteY2" fmla="*/ 9334 h 238713"/>
                      <a:gd name="connsiteX3" fmla="*/ 165852 w 288140"/>
                      <a:gd name="connsiteY3" fmla="*/ 8926 h 238713"/>
                      <a:gd name="connsiteX4" fmla="*/ 163965 w 288140"/>
                      <a:gd name="connsiteY4" fmla="*/ 10788 h 238713"/>
                      <a:gd name="connsiteX5" fmla="*/ 162917 w 288140"/>
                      <a:gd name="connsiteY5" fmla="*/ 14922 h 238713"/>
                      <a:gd name="connsiteX6" fmla="*/ 165869 w 288140"/>
                      <a:gd name="connsiteY6" fmla="*/ 58344 h 238713"/>
                      <a:gd name="connsiteX7" fmla="*/ 163417 w 288140"/>
                      <a:gd name="connsiteY7" fmla="*/ 71067 h 238713"/>
                      <a:gd name="connsiteX8" fmla="*/ 93763 w 288140"/>
                      <a:gd name="connsiteY8" fmla="*/ 10711 h 238713"/>
                      <a:gd name="connsiteX9" fmla="*/ 96373 w 288140"/>
                      <a:gd name="connsiteY9" fmla="*/ 1833 h 238713"/>
                      <a:gd name="connsiteX10" fmla="*/ 93772 w 288140"/>
                      <a:gd name="connsiteY10" fmla="*/ 97 h 238713"/>
                      <a:gd name="connsiteX11" fmla="*/ 78193 w 288140"/>
                      <a:gd name="connsiteY11" fmla="*/ 25656 h 238713"/>
                      <a:gd name="connsiteX12" fmla="*/ 7577 w 288140"/>
                      <a:gd name="connsiteY12" fmla="*/ 110905 h 238713"/>
                      <a:gd name="connsiteX13" fmla="*/ 927 w 288140"/>
                      <a:gd name="connsiteY13" fmla="*/ 219408 h 238713"/>
                      <a:gd name="connsiteX14" fmla="*/ 5590 w 288140"/>
                      <a:gd name="connsiteY14" fmla="*/ 220422 h 238713"/>
                      <a:gd name="connsiteX15" fmla="*/ 73482 w 288140"/>
                      <a:gd name="connsiteY15" fmla="*/ 208407 h 238713"/>
                      <a:gd name="connsiteX16" fmla="*/ 165512 w 288140"/>
                      <a:gd name="connsiteY16" fmla="*/ 215082 h 238713"/>
                      <a:gd name="connsiteX17" fmla="*/ 221020 w 288140"/>
                      <a:gd name="connsiteY17" fmla="*/ 215322 h 238713"/>
                      <a:gd name="connsiteX18" fmla="*/ 238595 w 288140"/>
                      <a:gd name="connsiteY18" fmla="*/ 235361 h 238713"/>
                      <a:gd name="connsiteX19" fmla="*/ 240531 w 288140"/>
                      <a:gd name="connsiteY19" fmla="*/ 237083 h 238713"/>
                      <a:gd name="connsiteX20" fmla="*/ 286548 w 288140"/>
                      <a:gd name="connsiteY20" fmla="*/ 228705 h 238713"/>
                      <a:gd name="connsiteX21" fmla="*/ 263328 w 288140"/>
                      <a:gd name="connsiteY21" fmla="*/ 170707 h 238713"/>
                      <a:gd name="connsiteX22" fmla="*/ 288138 w 288140"/>
                      <a:gd name="connsiteY22" fmla="*/ 160848 h 238713"/>
                      <a:gd name="connsiteX23" fmla="*/ 259505 w 288140"/>
                      <a:gd name="connsiteY23" fmla="*/ 102633 h 23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140" h="238713">
                        <a:moveTo>
                          <a:pt x="259505" y="102633"/>
                        </a:moveTo>
                        <a:cubicBezTo>
                          <a:pt x="245131" y="68926"/>
                          <a:pt x="227453" y="13292"/>
                          <a:pt x="179983" y="21838"/>
                        </a:cubicBezTo>
                        <a:cubicBezTo>
                          <a:pt x="175458" y="16356"/>
                          <a:pt x="171312" y="12769"/>
                          <a:pt x="167308" y="9334"/>
                        </a:cubicBezTo>
                        <a:cubicBezTo>
                          <a:pt x="166909" y="8989"/>
                          <a:pt x="166375" y="8840"/>
                          <a:pt x="165852" y="8926"/>
                        </a:cubicBezTo>
                        <a:cubicBezTo>
                          <a:pt x="164841" y="9060"/>
                          <a:pt x="164484" y="10040"/>
                          <a:pt x="163965" y="10788"/>
                        </a:cubicBezTo>
                        <a:cubicBezTo>
                          <a:pt x="163297" y="11916"/>
                          <a:pt x="161815" y="13577"/>
                          <a:pt x="162917" y="14922"/>
                        </a:cubicBezTo>
                        <a:cubicBezTo>
                          <a:pt x="172371" y="26461"/>
                          <a:pt x="170646" y="44906"/>
                          <a:pt x="165869" y="58344"/>
                        </a:cubicBezTo>
                        <a:cubicBezTo>
                          <a:pt x="163891" y="62875"/>
                          <a:pt x="164213" y="63749"/>
                          <a:pt x="163417" y="71067"/>
                        </a:cubicBezTo>
                        <a:cubicBezTo>
                          <a:pt x="148323" y="47028"/>
                          <a:pt x="104157" y="37245"/>
                          <a:pt x="93763" y="10711"/>
                        </a:cubicBezTo>
                        <a:cubicBezTo>
                          <a:pt x="96661" y="10240"/>
                          <a:pt x="95739" y="4443"/>
                          <a:pt x="96373" y="1833"/>
                        </a:cubicBezTo>
                        <a:cubicBezTo>
                          <a:pt x="96524" y="508"/>
                          <a:pt x="95085" y="-288"/>
                          <a:pt x="93772" y="97"/>
                        </a:cubicBezTo>
                        <a:cubicBezTo>
                          <a:pt x="79900" y="4166"/>
                          <a:pt x="78781" y="26055"/>
                          <a:pt x="78193" y="25656"/>
                        </a:cubicBezTo>
                        <a:cubicBezTo>
                          <a:pt x="40522" y="42631"/>
                          <a:pt x="17857" y="75256"/>
                          <a:pt x="7577" y="110905"/>
                        </a:cubicBezTo>
                        <a:cubicBezTo>
                          <a:pt x="-2499" y="145846"/>
                          <a:pt x="82" y="185050"/>
                          <a:pt x="927" y="219408"/>
                        </a:cubicBezTo>
                        <a:cubicBezTo>
                          <a:pt x="1273" y="222212"/>
                          <a:pt x="3817" y="220973"/>
                          <a:pt x="5590" y="220422"/>
                        </a:cubicBezTo>
                        <a:cubicBezTo>
                          <a:pt x="36533" y="210822"/>
                          <a:pt x="55053" y="207133"/>
                          <a:pt x="73482" y="208407"/>
                        </a:cubicBezTo>
                        <a:cubicBezTo>
                          <a:pt x="119239" y="211565"/>
                          <a:pt x="131222" y="225601"/>
                          <a:pt x="165512" y="215082"/>
                        </a:cubicBezTo>
                        <a:cubicBezTo>
                          <a:pt x="186145" y="208752"/>
                          <a:pt x="202315" y="206445"/>
                          <a:pt x="221020" y="215322"/>
                        </a:cubicBezTo>
                        <a:cubicBezTo>
                          <a:pt x="230697" y="219914"/>
                          <a:pt x="236765" y="228046"/>
                          <a:pt x="238595" y="235361"/>
                        </a:cubicBezTo>
                        <a:cubicBezTo>
                          <a:pt x="238695" y="235758"/>
                          <a:pt x="240111" y="236954"/>
                          <a:pt x="240531" y="237083"/>
                        </a:cubicBezTo>
                        <a:cubicBezTo>
                          <a:pt x="260513" y="243336"/>
                          <a:pt x="287184" y="229662"/>
                          <a:pt x="286548" y="228705"/>
                        </a:cubicBezTo>
                        <a:cubicBezTo>
                          <a:pt x="284175" y="225145"/>
                          <a:pt x="262494" y="176075"/>
                          <a:pt x="263328" y="170707"/>
                        </a:cubicBezTo>
                        <a:cubicBezTo>
                          <a:pt x="263354" y="170196"/>
                          <a:pt x="287835" y="161353"/>
                          <a:pt x="288138" y="160848"/>
                        </a:cubicBezTo>
                        <a:cubicBezTo>
                          <a:pt x="288438" y="160334"/>
                          <a:pt x="259753" y="103170"/>
                          <a:pt x="259505" y="102633"/>
                        </a:cubicBezTo>
                        <a:close/>
                      </a:path>
                    </a:pathLst>
                  </a:custGeom>
                  <a:solidFill>
                    <a:srgbClr val="FFFFFF"/>
                  </a:solidFill>
                  <a:ln w="2826" cap="flat">
                    <a:noFill/>
                    <a:prstDash val="solid"/>
                    <a:miter/>
                  </a:ln>
                </p:spPr>
                <p:txBody>
                  <a:bodyPr rtlCol="0" anchor="ctr"/>
                  <a:lstStyle/>
                  <a:p>
                    <a:endParaRPr lang="fr-CA"/>
                  </a:p>
                </p:txBody>
              </p:sp>
              <p:sp>
                <p:nvSpPr>
                  <p:cNvPr id="1493" name="Forme libre : forme 1492">
                    <a:extLst>
                      <a:ext uri="{FF2B5EF4-FFF2-40B4-BE49-F238E27FC236}">
                        <a16:creationId xmlns:a16="http://schemas.microsoft.com/office/drawing/2014/main" id="{F4960062-1FA3-57B7-816D-C5E4F963699F}"/>
                      </a:ext>
                    </a:extLst>
                  </p:cNvPr>
                  <p:cNvSpPr/>
                  <p:nvPr/>
                </p:nvSpPr>
                <p:spPr>
                  <a:xfrm>
                    <a:off x="9435421" y="4249248"/>
                    <a:ext cx="26083" cy="9542"/>
                  </a:xfrm>
                  <a:custGeom>
                    <a:avLst/>
                    <a:gdLst>
                      <a:gd name="connsiteX0" fmla="*/ 26084 w 26083"/>
                      <a:gd name="connsiteY0" fmla="*/ 9543 h 9542"/>
                      <a:gd name="connsiteX1" fmla="*/ 26084 w 26083"/>
                      <a:gd name="connsiteY1" fmla="*/ 0 h 9542"/>
                      <a:gd name="connsiteX2" fmla="*/ 0 w 26083"/>
                      <a:gd name="connsiteY2" fmla="*/ 3181 h 9542"/>
                    </a:gdLst>
                    <a:ahLst/>
                    <a:cxnLst>
                      <a:cxn ang="0">
                        <a:pos x="connsiteX0" y="connsiteY0"/>
                      </a:cxn>
                      <a:cxn ang="0">
                        <a:pos x="connsiteX1" y="connsiteY1"/>
                      </a:cxn>
                      <a:cxn ang="0">
                        <a:pos x="connsiteX2" y="connsiteY2"/>
                      </a:cxn>
                    </a:cxnLst>
                    <a:rect l="l" t="t" r="r" b="b"/>
                    <a:pathLst>
                      <a:path w="26083" h="9542">
                        <a:moveTo>
                          <a:pt x="26084" y="9543"/>
                        </a:moveTo>
                        <a:lnTo>
                          <a:pt x="26084" y="0"/>
                        </a:lnTo>
                        <a:lnTo>
                          <a:pt x="0" y="3181"/>
                        </a:lnTo>
                        <a:close/>
                      </a:path>
                    </a:pathLst>
                  </a:custGeom>
                  <a:solidFill>
                    <a:srgbClr val="FFFFFF"/>
                  </a:solidFill>
                  <a:ln w="2826" cap="flat">
                    <a:noFill/>
                    <a:prstDash val="solid"/>
                    <a:miter/>
                  </a:ln>
                </p:spPr>
                <p:txBody>
                  <a:bodyPr rtlCol="0" anchor="ctr"/>
                  <a:lstStyle/>
                  <a:p>
                    <a:endParaRPr lang="fr-CA"/>
                  </a:p>
                </p:txBody>
              </p:sp>
            </p:grpSp>
            <p:grpSp>
              <p:nvGrpSpPr>
                <p:cNvPr id="1446" name="Graphique 35" descr="Garçon dans un fauteuil roulant">
                  <a:extLst>
                    <a:ext uri="{FF2B5EF4-FFF2-40B4-BE49-F238E27FC236}">
                      <a16:creationId xmlns:a16="http://schemas.microsoft.com/office/drawing/2014/main" id="{6D10E961-BFCE-3933-5113-84EFE15CAC72}"/>
                    </a:ext>
                  </a:extLst>
                </p:cNvPr>
                <p:cNvGrpSpPr/>
                <p:nvPr/>
              </p:nvGrpSpPr>
              <p:grpSpPr>
                <a:xfrm>
                  <a:off x="9539751" y="4603234"/>
                  <a:ext cx="304846" cy="57173"/>
                  <a:chOff x="9539751" y="4603234"/>
                  <a:chExt cx="304846" cy="57173"/>
                </a:xfrm>
                <a:solidFill>
                  <a:srgbClr val="FFFFFF"/>
                </a:solidFill>
              </p:grpSpPr>
              <p:sp>
                <p:nvSpPr>
                  <p:cNvPr id="1489" name="Forme libre : forme 1488">
                    <a:extLst>
                      <a:ext uri="{FF2B5EF4-FFF2-40B4-BE49-F238E27FC236}">
                        <a16:creationId xmlns:a16="http://schemas.microsoft.com/office/drawing/2014/main" id="{1FB5BD8F-C244-94D5-21AF-351099C1B2CD}"/>
                      </a:ext>
                    </a:extLst>
                  </p:cNvPr>
                  <p:cNvSpPr/>
                  <p:nvPr/>
                </p:nvSpPr>
                <p:spPr>
                  <a:xfrm>
                    <a:off x="9655750" y="4603234"/>
                    <a:ext cx="188847" cy="57173"/>
                  </a:xfrm>
                  <a:custGeom>
                    <a:avLst/>
                    <a:gdLst>
                      <a:gd name="connsiteX0" fmla="*/ 188620 w 188847"/>
                      <a:gd name="connsiteY0" fmla="*/ 2704 h 57173"/>
                      <a:gd name="connsiteX1" fmla="*/ 185065 w 188847"/>
                      <a:gd name="connsiteY1" fmla="*/ 140 h 57173"/>
                      <a:gd name="connsiteX2" fmla="*/ 121040 w 188847"/>
                      <a:gd name="connsiteY2" fmla="*/ 24873 h 57173"/>
                      <a:gd name="connsiteX3" fmla="*/ 26453 w 188847"/>
                      <a:gd name="connsiteY3" fmla="*/ 33865 h 57173"/>
                      <a:gd name="connsiteX4" fmla="*/ 24146 w 188847"/>
                      <a:gd name="connsiteY4" fmla="*/ 31803 h 57173"/>
                      <a:gd name="connsiteX5" fmla="*/ 7254 w 188847"/>
                      <a:gd name="connsiteY5" fmla="*/ 36295 h 57173"/>
                      <a:gd name="connsiteX6" fmla="*/ 1720 w 188847"/>
                      <a:gd name="connsiteY6" fmla="*/ 45209 h 57173"/>
                      <a:gd name="connsiteX7" fmla="*/ 5090 w 188847"/>
                      <a:gd name="connsiteY7" fmla="*/ 55594 h 57173"/>
                      <a:gd name="connsiteX8" fmla="*/ 71885 w 188847"/>
                      <a:gd name="connsiteY8" fmla="*/ 51282 h 57173"/>
                      <a:gd name="connsiteX9" fmla="*/ 169578 w 188847"/>
                      <a:gd name="connsiteY9" fmla="*/ 15782 h 57173"/>
                      <a:gd name="connsiteX10" fmla="*/ 187829 w 188847"/>
                      <a:gd name="connsiteY10" fmla="*/ 5186 h 57173"/>
                      <a:gd name="connsiteX11" fmla="*/ 188620 w 188847"/>
                      <a:gd name="connsiteY11" fmla="*/ 2704 h 5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847" h="57173">
                        <a:moveTo>
                          <a:pt x="188620" y="2704"/>
                        </a:moveTo>
                        <a:cubicBezTo>
                          <a:pt x="187818" y="1371"/>
                          <a:pt x="186815" y="-534"/>
                          <a:pt x="185065" y="140"/>
                        </a:cubicBezTo>
                        <a:cubicBezTo>
                          <a:pt x="163790" y="9220"/>
                          <a:pt x="142249" y="17541"/>
                          <a:pt x="121040" y="24873"/>
                        </a:cubicBezTo>
                        <a:cubicBezTo>
                          <a:pt x="88703" y="37285"/>
                          <a:pt x="62491" y="26189"/>
                          <a:pt x="26453" y="33865"/>
                        </a:cubicBezTo>
                        <a:cubicBezTo>
                          <a:pt x="26590" y="32608"/>
                          <a:pt x="25417" y="31420"/>
                          <a:pt x="24146" y="31803"/>
                        </a:cubicBezTo>
                        <a:cubicBezTo>
                          <a:pt x="17102" y="33753"/>
                          <a:pt x="10937" y="35344"/>
                          <a:pt x="7254" y="36295"/>
                        </a:cubicBezTo>
                        <a:cubicBezTo>
                          <a:pt x="-887" y="38005"/>
                          <a:pt x="5786" y="38747"/>
                          <a:pt x="1720" y="45209"/>
                        </a:cubicBezTo>
                        <a:cubicBezTo>
                          <a:pt x="-875" y="49669"/>
                          <a:pt x="-1107" y="54863"/>
                          <a:pt x="5090" y="55594"/>
                        </a:cubicBezTo>
                        <a:cubicBezTo>
                          <a:pt x="26519" y="57935"/>
                          <a:pt x="50010" y="58523"/>
                          <a:pt x="71885" y="51282"/>
                        </a:cubicBezTo>
                        <a:cubicBezTo>
                          <a:pt x="104590" y="40181"/>
                          <a:pt x="140379" y="35558"/>
                          <a:pt x="169578" y="15782"/>
                        </a:cubicBezTo>
                        <a:cubicBezTo>
                          <a:pt x="175443" y="12067"/>
                          <a:pt x="181510" y="8229"/>
                          <a:pt x="187829" y="5186"/>
                        </a:cubicBezTo>
                        <a:cubicBezTo>
                          <a:pt x="188737" y="4774"/>
                          <a:pt x="189134" y="3567"/>
                          <a:pt x="188620" y="2704"/>
                        </a:cubicBezTo>
                        <a:close/>
                      </a:path>
                    </a:pathLst>
                  </a:custGeom>
                  <a:solidFill>
                    <a:srgbClr val="FFFFFF"/>
                  </a:solidFill>
                  <a:ln w="2826" cap="flat">
                    <a:noFill/>
                    <a:prstDash val="solid"/>
                    <a:miter/>
                  </a:ln>
                </p:spPr>
                <p:txBody>
                  <a:bodyPr rtlCol="0" anchor="ctr"/>
                  <a:lstStyle/>
                  <a:p>
                    <a:endParaRPr lang="fr-CA"/>
                  </a:p>
                </p:txBody>
              </p:sp>
              <p:sp>
                <p:nvSpPr>
                  <p:cNvPr id="1490" name="Forme libre : forme 1489">
                    <a:extLst>
                      <a:ext uri="{FF2B5EF4-FFF2-40B4-BE49-F238E27FC236}">
                        <a16:creationId xmlns:a16="http://schemas.microsoft.com/office/drawing/2014/main" id="{86BCFA3F-0745-8531-66D2-5BC0A7F7018D}"/>
                      </a:ext>
                    </a:extLst>
                  </p:cNvPr>
                  <p:cNvSpPr/>
                  <p:nvPr/>
                </p:nvSpPr>
                <p:spPr>
                  <a:xfrm>
                    <a:off x="9585773" y="4608277"/>
                    <a:ext cx="56215" cy="21346"/>
                  </a:xfrm>
                  <a:custGeom>
                    <a:avLst/>
                    <a:gdLst>
                      <a:gd name="connsiteX0" fmla="*/ 55536 w 56215"/>
                      <a:gd name="connsiteY0" fmla="*/ 7652 h 21346"/>
                      <a:gd name="connsiteX1" fmla="*/ 13965 w 56215"/>
                      <a:gd name="connsiteY1" fmla="*/ 8563 h 21346"/>
                      <a:gd name="connsiteX2" fmla="*/ 1261 w 56215"/>
                      <a:gd name="connsiteY2" fmla="*/ 15290 h 21346"/>
                      <a:gd name="connsiteX3" fmla="*/ 16 w 56215"/>
                      <a:gd name="connsiteY3" fmla="*/ 17240 h 21346"/>
                      <a:gd name="connsiteX4" fmla="*/ 9519 w 56215"/>
                      <a:gd name="connsiteY4" fmla="*/ 17680 h 21346"/>
                      <a:gd name="connsiteX5" fmla="*/ 23136 w 56215"/>
                      <a:gd name="connsiteY5" fmla="*/ 17714 h 21346"/>
                      <a:gd name="connsiteX6" fmla="*/ 24826 w 56215"/>
                      <a:gd name="connsiteY6" fmla="*/ 18625 h 21346"/>
                      <a:gd name="connsiteX7" fmla="*/ 38935 w 56215"/>
                      <a:gd name="connsiteY7" fmla="*/ 18500 h 21346"/>
                      <a:gd name="connsiteX8" fmla="*/ 44768 w 56215"/>
                      <a:gd name="connsiteY8" fmla="*/ 21346 h 21346"/>
                      <a:gd name="connsiteX9" fmla="*/ 53680 w 56215"/>
                      <a:gd name="connsiteY9" fmla="*/ 17460 h 21346"/>
                      <a:gd name="connsiteX10" fmla="*/ 54739 w 56215"/>
                      <a:gd name="connsiteY10" fmla="*/ 16344 h 21346"/>
                      <a:gd name="connsiteX11" fmla="*/ 55536 w 56215"/>
                      <a:gd name="connsiteY11" fmla="*/ 7652 h 2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5" h="21346">
                        <a:moveTo>
                          <a:pt x="55536" y="7652"/>
                        </a:moveTo>
                        <a:cubicBezTo>
                          <a:pt x="45962" y="-4797"/>
                          <a:pt x="25015" y="-269"/>
                          <a:pt x="13965" y="8563"/>
                        </a:cubicBezTo>
                        <a:cubicBezTo>
                          <a:pt x="9750" y="11304"/>
                          <a:pt x="5773" y="13894"/>
                          <a:pt x="1261" y="15290"/>
                        </a:cubicBezTo>
                        <a:cubicBezTo>
                          <a:pt x="425" y="15547"/>
                          <a:pt x="-101" y="16372"/>
                          <a:pt x="16" y="17240"/>
                        </a:cubicBezTo>
                        <a:cubicBezTo>
                          <a:pt x="967" y="20441"/>
                          <a:pt x="6130" y="17989"/>
                          <a:pt x="9519" y="17680"/>
                        </a:cubicBezTo>
                        <a:cubicBezTo>
                          <a:pt x="14381" y="16695"/>
                          <a:pt x="21731" y="15207"/>
                          <a:pt x="23136" y="17714"/>
                        </a:cubicBezTo>
                        <a:cubicBezTo>
                          <a:pt x="23476" y="18320"/>
                          <a:pt x="24130" y="18671"/>
                          <a:pt x="24826" y="18625"/>
                        </a:cubicBezTo>
                        <a:cubicBezTo>
                          <a:pt x="29655" y="18640"/>
                          <a:pt x="34586" y="17380"/>
                          <a:pt x="38935" y="18500"/>
                        </a:cubicBezTo>
                        <a:cubicBezTo>
                          <a:pt x="43252" y="18580"/>
                          <a:pt x="42096" y="20667"/>
                          <a:pt x="44768" y="21346"/>
                        </a:cubicBezTo>
                        <a:cubicBezTo>
                          <a:pt x="47723" y="20353"/>
                          <a:pt x="50330" y="18568"/>
                          <a:pt x="53680" y="17460"/>
                        </a:cubicBezTo>
                        <a:cubicBezTo>
                          <a:pt x="54182" y="17266"/>
                          <a:pt x="54571" y="16855"/>
                          <a:pt x="54739" y="16344"/>
                        </a:cubicBezTo>
                        <a:cubicBezTo>
                          <a:pt x="55633" y="13668"/>
                          <a:pt x="57080" y="10916"/>
                          <a:pt x="55536" y="7652"/>
                        </a:cubicBezTo>
                        <a:close/>
                      </a:path>
                    </a:pathLst>
                  </a:custGeom>
                  <a:solidFill>
                    <a:srgbClr val="FFFFFF"/>
                  </a:solidFill>
                  <a:ln w="2826" cap="flat">
                    <a:noFill/>
                    <a:prstDash val="solid"/>
                    <a:miter/>
                  </a:ln>
                </p:spPr>
                <p:txBody>
                  <a:bodyPr rtlCol="0" anchor="ctr"/>
                  <a:lstStyle/>
                  <a:p>
                    <a:endParaRPr lang="fr-CA"/>
                  </a:p>
                </p:txBody>
              </p:sp>
              <p:sp>
                <p:nvSpPr>
                  <p:cNvPr id="1491" name="Forme libre : forme 1490">
                    <a:extLst>
                      <a:ext uri="{FF2B5EF4-FFF2-40B4-BE49-F238E27FC236}">
                        <a16:creationId xmlns:a16="http://schemas.microsoft.com/office/drawing/2014/main" id="{41ED63D0-4FEA-6BBC-FDFD-1D7272587893}"/>
                      </a:ext>
                    </a:extLst>
                  </p:cNvPr>
                  <p:cNvSpPr/>
                  <p:nvPr/>
                </p:nvSpPr>
                <p:spPr>
                  <a:xfrm>
                    <a:off x="9539751" y="4627716"/>
                    <a:ext cx="15875" cy="17897"/>
                  </a:xfrm>
                  <a:custGeom>
                    <a:avLst/>
                    <a:gdLst>
                      <a:gd name="connsiteX0" fmla="*/ 14019 w 15875"/>
                      <a:gd name="connsiteY0" fmla="*/ 4903 h 17897"/>
                      <a:gd name="connsiteX1" fmla="*/ 12286 w 15875"/>
                      <a:gd name="connsiteY1" fmla="*/ 3435 h 17897"/>
                      <a:gd name="connsiteX2" fmla="*/ 2697 w 15875"/>
                      <a:gd name="connsiteY2" fmla="*/ 248 h 17897"/>
                      <a:gd name="connsiteX3" fmla="*/ 19 w 15875"/>
                      <a:gd name="connsiteY3" fmla="*/ 2004 h 17897"/>
                      <a:gd name="connsiteX4" fmla="*/ 14027 w 15875"/>
                      <a:gd name="connsiteY4" fmla="*/ 17886 h 17897"/>
                      <a:gd name="connsiteX5" fmla="*/ 15538 w 15875"/>
                      <a:gd name="connsiteY5" fmla="*/ 17335 h 17897"/>
                      <a:gd name="connsiteX6" fmla="*/ 14019 w 15875"/>
                      <a:gd name="connsiteY6" fmla="*/ 4903 h 1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5" h="17897">
                        <a:moveTo>
                          <a:pt x="14019" y="4903"/>
                        </a:moveTo>
                        <a:cubicBezTo>
                          <a:pt x="13865" y="4063"/>
                          <a:pt x="13139" y="3449"/>
                          <a:pt x="12286" y="3435"/>
                        </a:cubicBezTo>
                        <a:cubicBezTo>
                          <a:pt x="9393" y="3389"/>
                          <a:pt x="6347" y="2376"/>
                          <a:pt x="2697" y="248"/>
                        </a:cubicBezTo>
                        <a:cubicBezTo>
                          <a:pt x="1487" y="-511"/>
                          <a:pt x="-198" y="585"/>
                          <a:pt x="19" y="2004"/>
                        </a:cubicBezTo>
                        <a:cubicBezTo>
                          <a:pt x="307" y="9799"/>
                          <a:pt x="5319" y="17206"/>
                          <a:pt x="14027" y="17886"/>
                        </a:cubicBezTo>
                        <a:cubicBezTo>
                          <a:pt x="14584" y="17951"/>
                          <a:pt x="15150" y="17749"/>
                          <a:pt x="15538" y="17335"/>
                        </a:cubicBezTo>
                        <a:cubicBezTo>
                          <a:pt x="16786" y="14708"/>
                          <a:pt x="14182" y="8186"/>
                          <a:pt x="14019" y="4903"/>
                        </a:cubicBezTo>
                        <a:close/>
                      </a:path>
                    </a:pathLst>
                  </a:custGeom>
                  <a:solidFill>
                    <a:srgbClr val="FFFFFF"/>
                  </a:solidFill>
                  <a:ln w="2826" cap="flat">
                    <a:noFill/>
                    <a:prstDash val="solid"/>
                    <a:miter/>
                  </a:ln>
                </p:spPr>
                <p:txBody>
                  <a:bodyPr rtlCol="0" anchor="ctr"/>
                  <a:lstStyle/>
                  <a:p>
                    <a:endParaRPr lang="fr-CA"/>
                  </a:p>
                </p:txBody>
              </p:sp>
            </p:grpSp>
            <p:grpSp>
              <p:nvGrpSpPr>
                <p:cNvPr id="1447" name="Graphique 35" descr="Garçon dans un fauteuil roulant">
                  <a:extLst>
                    <a:ext uri="{FF2B5EF4-FFF2-40B4-BE49-F238E27FC236}">
                      <a16:creationId xmlns:a16="http://schemas.microsoft.com/office/drawing/2014/main" id="{B3995F86-A9EB-CCF3-C750-742AC6C9D256}"/>
                    </a:ext>
                  </a:extLst>
                </p:cNvPr>
                <p:cNvGrpSpPr/>
                <p:nvPr/>
              </p:nvGrpSpPr>
              <p:grpSpPr>
                <a:xfrm>
                  <a:off x="9534091" y="4553221"/>
                  <a:ext cx="305352" cy="84981"/>
                  <a:chOff x="9534091" y="4553221"/>
                  <a:chExt cx="305352" cy="84981"/>
                </a:xfrm>
                <a:solidFill>
                  <a:srgbClr val="FFFFFF"/>
                </a:solidFill>
              </p:grpSpPr>
              <p:sp>
                <p:nvSpPr>
                  <p:cNvPr id="1486" name="Forme libre : forme 1485">
                    <a:extLst>
                      <a:ext uri="{FF2B5EF4-FFF2-40B4-BE49-F238E27FC236}">
                        <a16:creationId xmlns:a16="http://schemas.microsoft.com/office/drawing/2014/main" id="{961D7DEE-2EE2-751C-6A32-69D8497B85B6}"/>
                      </a:ext>
                    </a:extLst>
                  </p:cNvPr>
                  <p:cNvSpPr/>
                  <p:nvPr/>
                </p:nvSpPr>
                <p:spPr>
                  <a:xfrm>
                    <a:off x="9659469" y="4553221"/>
                    <a:ext cx="179974" cy="84981"/>
                  </a:xfrm>
                  <a:custGeom>
                    <a:avLst/>
                    <a:gdLst>
                      <a:gd name="connsiteX0" fmla="*/ 178782 w 179974"/>
                      <a:gd name="connsiteY0" fmla="*/ 47523 h 84981"/>
                      <a:gd name="connsiteX1" fmla="*/ 118200 w 179974"/>
                      <a:gd name="connsiteY1" fmla="*/ 40322 h 84981"/>
                      <a:gd name="connsiteX2" fmla="*/ 99003 w 179974"/>
                      <a:gd name="connsiteY2" fmla="*/ 26762 h 84981"/>
                      <a:gd name="connsiteX3" fmla="*/ 95705 w 179974"/>
                      <a:gd name="connsiteY3" fmla="*/ 22927 h 84981"/>
                      <a:gd name="connsiteX4" fmla="*/ 89218 w 179974"/>
                      <a:gd name="connsiteY4" fmla="*/ 10575 h 84981"/>
                      <a:gd name="connsiteX5" fmla="*/ 83410 w 179974"/>
                      <a:gd name="connsiteY5" fmla="*/ 19 h 84981"/>
                      <a:gd name="connsiteX6" fmla="*/ 77637 w 179974"/>
                      <a:gd name="connsiteY6" fmla="*/ 9279 h 84981"/>
                      <a:gd name="connsiteX7" fmla="*/ 59708 w 179974"/>
                      <a:gd name="connsiteY7" fmla="*/ 20809 h 84981"/>
                      <a:gd name="connsiteX8" fmla="*/ 44369 w 179974"/>
                      <a:gd name="connsiteY8" fmla="*/ 32156 h 84981"/>
                      <a:gd name="connsiteX9" fmla="*/ 10293 w 179974"/>
                      <a:gd name="connsiteY9" fmla="*/ 37638 h 84981"/>
                      <a:gd name="connsiteX10" fmla="*/ 5125 w 179974"/>
                      <a:gd name="connsiteY10" fmla="*/ 32678 h 84981"/>
                      <a:gd name="connsiteX11" fmla="*/ 91 w 179974"/>
                      <a:gd name="connsiteY11" fmla="*/ 38552 h 84981"/>
                      <a:gd name="connsiteX12" fmla="*/ 5353 w 179974"/>
                      <a:gd name="connsiteY12" fmla="*/ 48677 h 84981"/>
                      <a:gd name="connsiteX13" fmla="*/ 3572 w 179974"/>
                      <a:gd name="connsiteY13" fmla="*/ 61597 h 84981"/>
                      <a:gd name="connsiteX14" fmla="*/ 3677 w 179974"/>
                      <a:gd name="connsiteY14" fmla="*/ 63776 h 84981"/>
                      <a:gd name="connsiteX15" fmla="*/ 45688 w 179974"/>
                      <a:gd name="connsiteY15" fmla="*/ 59513 h 84981"/>
                      <a:gd name="connsiteX16" fmla="*/ 58574 w 179974"/>
                      <a:gd name="connsiteY16" fmla="*/ 59227 h 84981"/>
                      <a:gd name="connsiteX17" fmla="*/ 68848 w 179974"/>
                      <a:gd name="connsiteY17" fmla="*/ 62731 h 84981"/>
                      <a:gd name="connsiteX18" fmla="*/ 19342 w 179974"/>
                      <a:gd name="connsiteY18" fmla="*/ 82664 h 84981"/>
                      <a:gd name="connsiteX19" fmla="*/ 20675 w 179974"/>
                      <a:gd name="connsiteY19" fmla="*/ 84980 h 84981"/>
                      <a:gd name="connsiteX20" fmla="*/ 90760 w 179974"/>
                      <a:gd name="connsiteY20" fmla="*/ 80845 h 84981"/>
                      <a:gd name="connsiteX21" fmla="*/ 155139 w 179974"/>
                      <a:gd name="connsiteY21" fmla="*/ 60430 h 84981"/>
                      <a:gd name="connsiteX22" fmla="*/ 178830 w 179974"/>
                      <a:gd name="connsiteY22" fmla="*/ 50898 h 84981"/>
                      <a:gd name="connsiteX23" fmla="*/ 178782 w 179974"/>
                      <a:gd name="connsiteY23" fmla="*/ 47523 h 84981"/>
                      <a:gd name="connsiteX24" fmla="*/ 106161 w 179974"/>
                      <a:gd name="connsiteY24" fmla="*/ 46087 h 84981"/>
                      <a:gd name="connsiteX25" fmla="*/ 106161 w 179974"/>
                      <a:gd name="connsiteY25" fmla="*/ 46087 h 84981"/>
                      <a:gd name="connsiteX26" fmla="*/ 106161 w 179974"/>
                      <a:gd name="connsiteY26" fmla="*/ 46087 h 84981"/>
                      <a:gd name="connsiteX27" fmla="*/ 106161 w 179974"/>
                      <a:gd name="connsiteY27" fmla="*/ 46087 h 8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974" h="84981">
                        <a:moveTo>
                          <a:pt x="178782" y="47523"/>
                        </a:moveTo>
                        <a:cubicBezTo>
                          <a:pt x="153780" y="40468"/>
                          <a:pt x="146853" y="54987"/>
                          <a:pt x="118200" y="40322"/>
                        </a:cubicBezTo>
                        <a:cubicBezTo>
                          <a:pt x="115867" y="39803"/>
                          <a:pt x="100174" y="28507"/>
                          <a:pt x="99003" y="26762"/>
                        </a:cubicBezTo>
                        <a:cubicBezTo>
                          <a:pt x="98472" y="26203"/>
                          <a:pt x="96705" y="24001"/>
                          <a:pt x="95705" y="22927"/>
                        </a:cubicBezTo>
                        <a:cubicBezTo>
                          <a:pt x="92641" y="19381"/>
                          <a:pt x="90977" y="15104"/>
                          <a:pt x="89218" y="10575"/>
                        </a:cubicBezTo>
                        <a:cubicBezTo>
                          <a:pt x="87713" y="7674"/>
                          <a:pt x="86494" y="1421"/>
                          <a:pt x="83410" y="19"/>
                        </a:cubicBezTo>
                        <a:cubicBezTo>
                          <a:pt x="81431" y="-444"/>
                          <a:pt x="77128" y="7700"/>
                          <a:pt x="77637" y="9279"/>
                        </a:cubicBezTo>
                        <a:cubicBezTo>
                          <a:pt x="77839" y="9776"/>
                          <a:pt x="65030" y="16820"/>
                          <a:pt x="59708" y="20809"/>
                        </a:cubicBezTo>
                        <a:cubicBezTo>
                          <a:pt x="54394" y="24347"/>
                          <a:pt x="49740" y="27259"/>
                          <a:pt x="44369" y="32156"/>
                        </a:cubicBezTo>
                        <a:cubicBezTo>
                          <a:pt x="33093" y="42607"/>
                          <a:pt x="19984" y="50861"/>
                          <a:pt x="10293" y="37638"/>
                        </a:cubicBezTo>
                        <a:cubicBezTo>
                          <a:pt x="8751" y="35888"/>
                          <a:pt x="7155" y="34075"/>
                          <a:pt x="5125" y="32678"/>
                        </a:cubicBezTo>
                        <a:cubicBezTo>
                          <a:pt x="1833" y="30985"/>
                          <a:pt x="-497" y="36014"/>
                          <a:pt x="91" y="38552"/>
                        </a:cubicBezTo>
                        <a:cubicBezTo>
                          <a:pt x="876" y="42452"/>
                          <a:pt x="4608" y="44985"/>
                          <a:pt x="5353" y="48677"/>
                        </a:cubicBezTo>
                        <a:cubicBezTo>
                          <a:pt x="6301" y="51938"/>
                          <a:pt x="5442" y="58117"/>
                          <a:pt x="3572" y="61597"/>
                        </a:cubicBezTo>
                        <a:cubicBezTo>
                          <a:pt x="3186" y="62308"/>
                          <a:pt x="3229" y="63142"/>
                          <a:pt x="3677" y="63776"/>
                        </a:cubicBezTo>
                        <a:cubicBezTo>
                          <a:pt x="6427" y="67080"/>
                          <a:pt x="36402" y="59165"/>
                          <a:pt x="45688" y="59513"/>
                        </a:cubicBezTo>
                        <a:cubicBezTo>
                          <a:pt x="50531" y="58985"/>
                          <a:pt x="54745" y="58893"/>
                          <a:pt x="58574" y="59227"/>
                        </a:cubicBezTo>
                        <a:cubicBezTo>
                          <a:pt x="62523" y="58063"/>
                          <a:pt x="66572" y="59739"/>
                          <a:pt x="68848" y="62731"/>
                        </a:cubicBezTo>
                        <a:cubicBezTo>
                          <a:pt x="69633" y="64818"/>
                          <a:pt x="57438" y="70849"/>
                          <a:pt x="19342" y="82664"/>
                        </a:cubicBezTo>
                        <a:cubicBezTo>
                          <a:pt x="18674" y="83829"/>
                          <a:pt x="19288" y="85023"/>
                          <a:pt x="20675" y="84980"/>
                        </a:cubicBezTo>
                        <a:cubicBezTo>
                          <a:pt x="52615" y="77981"/>
                          <a:pt x="70278" y="82170"/>
                          <a:pt x="90760" y="80845"/>
                        </a:cubicBezTo>
                        <a:cubicBezTo>
                          <a:pt x="107344" y="79772"/>
                          <a:pt x="124370" y="72256"/>
                          <a:pt x="155139" y="60430"/>
                        </a:cubicBezTo>
                        <a:cubicBezTo>
                          <a:pt x="163020" y="57400"/>
                          <a:pt x="170989" y="53819"/>
                          <a:pt x="178830" y="50898"/>
                        </a:cubicBezTo>
                        <a:cubicBezTo>
                          <a:pt x="180355" y="50384"/>
                          <a:pt x="180372" y="47989"/>
                          <a:pt x="178782" y="47523"/>
                        </a:cubicBezTo>
                        <a:close/>
                        <a:moveTo>
                          <a:pt x="106161" y="46087"/>
                        </a:moveTo>
                        <a:cubicBezTo>
                          <a:pt x="106161" y="46087"/>
                          <a:pt x="106161" y="46087"/>
                          <a:pt x="106161" y="46087"/>
                        </a:cubicBezTo>
                        <a:lnTo>
                          <a:pt x="106161" y="46087"/>
                        </a:lnTo>
                        <a:cubicBezTo>
                          <a:pt x="106161" y="46087"/>
                          <a:pt x="106161" y="46087"/>
                          <a:pt x="106161" y="46087"/>
                        </a:cubicBezTo>
                        <a:close/>
                      </a:path>
                    </a:pathLst>
                  </a:custGeom>
                  <a:solidFill>
                    <a:srgbClr val="FFFFFF"/>
                  </a:solidFill>
                  <a:ln w="2826" cap="flat">
                    <a:noFill/>
                    <a:prstDash val="solid"/>
                    <a:miter/>
                  </a:ln>
                </p:spPr>
                <p:txBody>
                  <a:bodyPr rtlCol="0" anchor="ctr"/>
                  <a:lstStyle/>
                  <a:p>
                    <a:endParaRPr lang="fr-CA"/>
                  </a:p>
                </p:txBody>
              </p:sp>
              <p:sp>
                <p:nvSpPr>
                  <p:cNvPr id="1487" name="Forme libre : forme 1486">
                    <a:extLst>
                      <a:ext uri="{FF2B5EF4-FFF2-40B4-BE49-F238E27FC236}">
                        <a16:creationId xmlns:a16="http://schemas.microsoft.com/office/drawing/2014/main" id="{385AB90D-BB45-B27F-77A3-8C8AB9BED946}"/>
                      </a:ext>
                    </a:extLst>
                  </p:cNvPr>
                  <p:cNvSpPr/>
                  <p:nvPr/>
                </p:nvSpPr>
                <p:spPr>
                  <a:xfrm>
                    <a:off x="9555305" y="4555380"/>
                    <a:ext cx="83122" cy="73897"/>
                  </a:xfrm>
                  <a:custGeom>
                    <a:avLst/>
                    <a:gdLst>
                      <a:gd name="connsiteX0" fmla="*/ 69165 w 83122"/>
                      <a:gd name="connsiteY0" fmla="*/ 41321 h 73897"/>
                      <a:gd name="connsiteX1" fmla="*/ 49766 w 83122"/>
                      <a:gd name="connsiteY1" fmla="*/ 23286 h 73897"/>
                      <a:gd name="connsiteX2" fmla="*/ 36472 w 83122"/>
                      <a:gd name="connsiteY2" fmla="*/ 2023 h 73897"/>
                      <a:gd name="connsiteX3" fmla="*/ 30921 w 83122"/>
                      <a:gd name="connsiteY3" fmla="*/ 218 h 73897"/>
                      <a:gd name="connsiteX4" fmla="*/ 37 w 83122"/>
                      <a:gd name="connsiteY4" fmla="*/ 7742 h 73897"/>
                      <a:gd name="connsiteX5" fmla="*/ 11710 w 83122"/>
                      <a:gd name="connsiteY5" fmla="*/ 72427 h 73897"/>
                      <a:gd name="connsiteX6" fmla="*/ 13472 w 83122"/>
                      <a:gd name="connsiteY6" fmla="*/ 73897 h 73897"/>
                      <a:gd name="connsiteX7" fmla="*/ 26981 w 83122"/>
                      <a:gd name="connsiteY7" fmla="*/ 72427 h 73897"/>
                      <a:gd name="connsiteX8" fmla="*/ 32951 w 83122"/>
                      <a:gd name="connsiteY8" fmla="*/ 67216 h 73897"/>
                      <a:gd name="connsiteX9" fmla="*/ 74534 w 83122"/>
                      <a:gd name="connsiteY9" fmla="*/ 51683 h 73897"/>
                      <a:gd name="connsiteX10" fmla="*/ 83071 w 83122"/>
                      <a:gd name="connsiteY10" fmla="*/ 51300 h 73897"/>
                      <a:gd name="connsiteX11" fmla="*/ 69165 w 83122"/>
                      <a:gd name="connsiteY11" fmla="*/ 41321 h 7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122" h="73897">
                        <a:moveTo>
                          <a:pt x="69165" y="41321"/>
                        </a:moveTo>
                        <a:cubicBezTo>
                          <a:pt x="60203" y="38802"/>
                          <a:pt x="54852" y="30970"/>
                          <a:pt x="49766" y="23286"/>
                        </a:cubicBezTo>
                        <a:cubicBezTo>
                          <a:pt x="45075" y="16331"/>
                          <a:pt x="40218" y="9746"/>
                          <a:pt x="36472" y="2023"/>
                        </a:cubicBezTo>
                        <a:cubicBezTo>
                          <a:pt x="35812" y="503"/>
                          <a:pt x="31749" y="-453"/>
                          <a:pt x="30921" y="218"/>
                        </a:cubicBezTo>
                        <a:cubicBezTo>
                          <a:pt x="15910" y="12536"/>
                          <a:pt x="-899" y="2202"/>
                          <a:pt x="37" y="7742"/>
                        </a:cubicBezTo>
                        <a:cubicBezTo>
                          <a:pt x="3432" y="25611"/>
                          <a:pt x="7399" y="48593"/>
                          <a:pt x="11710" y="72427"/>
                        </a:cubicBezTo>
                        <a:cubicBezTo>
                          <a:pt x="11847" y="73261"/>
                          <a:pt x="12630" y="73912"/>
                          <a:pt x="13472" y="73897"/>
                        </a:cubicBezTo>
                        <a:cubicBezTo>
                          <a:pt x="16330" y="73166"/>
                          <a:pt x="23794" y="72712"/>
                          <a:pt x="26981" y="72427"/>
                        </a:cubicBezTo>
                        <a:cubicBezTo>
                          <a:pt x="29056" y="71999"/>
                          <a:pt x="31683" y="67993"/>
                          <a:pt x="32951" y="67216"/>
                        </a:cubicBezTo>
                        <a:cubicBezTo>
                          <a:pt x="46317" y="59047"/>
                          <a:pt x="56065" y="47597"/>
                          <a:pt x="74534" y="51683"/>
                        </a:cubicBezTo>
                        <a:cubicBezTo>
                          <a:pt x="77255" y="51671"/>
                          <a:pt x="83765" y="56537"/>
                          <a:pt x="83071" y="51300"/>
                        </a:cubicBezTo>
                        <a:cubicBezTo>
                          <a:pt x="80367" y="45315"/>
                          <a:pt x="74416" y="43194"/>
                          <a:pt x="69165" y="41321"/>
                        </a:cubicBezTo>
                        <a:close/>
                      </a:path>
                    </a:pathLst>
                  </a:custGeom>
                  <a:solidFill>
                    <a:srgbClr val="FFFFFF"/>
                  </a:solidFill>
                  <a:ln w="2826" cap="flat">
                    <a:noFill/>
                    <a:prstDash val="solid"/>
                    <a:miter/>
                  </a:ln>
                </p:spPr>
                <p:txBody>
                  <a:bodyPr rtlCol="0" anchor="ctr"/>
                  <a:lstStyle/>
                  <a:p>
                    <a:endParaRPr lang="fr-CA"/>
                  </a:p>
                </p:txBody>
              </p:sp>
              <p:sp>
                <p:nvSpPr>
                  <p:cNvPr id="1488" name="Forme libre : forme 1487">
                    <a:extLst>
                      <a:ext uri="{FF2B5EF4-FFF2-40B4-BE49-F238E27FC236}">
                        <a16:creationId xmlns:a16="http://schemas.microsoft.com/office/drawing/2014/main" id="{1C3ED2EA-AD87-59A5-920C-A56D68CAABF5}"/>
                      </a:ext>
                    </a:extLst>
                  </p:cNvPr>
                  <p:cNvSpPr/>
                  <p:nvPr/>
                </p:nvSpPr>
                <p:spPr>
                  <a:xfrm>
                    <a:off x="9534091" y="4580752"/>
                    <a:ext cx="18419" cy="49443"/>
                  </a:xfrm>
                  <a:custGeom>
                    <a:avLst/>
                    <a:gdLst>
                      <a:gd name="connsiteX0" fmla="*/ 10496 w 18419"/>
                      <a:gd name="connsiteY0" fmla="*/ 2632 h 49443"/>
                      <a:gd name="connsiteX1" fmla="*/ 5305 w 18419"/>
                      <a:gd name="connsiteY1" fmla="*/ 559 h 49443"/>
                      <a:gd name="connsiteX2" fmla="*/ 1404 w 18419"/>
                      <a:gd name="connsiteY2" fmla="*/ 339 h 49443"/>
                      <a:gd name="connsiteX3" fmla="*/ 3891 w 18419"/>
                      <a:gd name="connsiteY3" fmla="*/ 37407 h 49443"/>
                      <a:gd name="connsiteX4" fmla="*/ 6010 w 18419"/>
                      <a:gd name="connsiteY4" fmla="*/ 46079 h 49443"/>
                      <a:gd name="connsiteX5" fmla="*/ 18419 w 18419"/>
                      <a:gd name="connsiteY5" fmla="*/ 48954 h 49443"/>
                      <a:gd name="connsiteX6" fmla="*/ 10496 w 18419"/>
                      <a:gd name="connsiteY6" fmla="*/ 2632 h 4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19" h="49443">
                        <a:moveTo>
                          <a:pt x="10496" y="2632"/>
                        </a:moveTo>
                        <a:cubicBezTo>
                          <a:pt x="9876" y="407"/>
                          <a:pt x="7106" y="1381"/>
                          <a:pt x="5305" y="559"/>
                        </a:cubicBezTo>
                        <a:cubicBezTo>
                          <a:pt x="4080" y="376"/>
                          <a:pt x="2569" y="-458"/>
                          <a:pt x="1404" y="339"/>
                        </a:cubicBezTo>
                        <a:cubicBezTo>
                          <a:pt x="-2122" y="12257"/>
                          <a:pt x="1861" y="25617"/>
                          <a:pt x="3891" y="37407"/>
                        </a:cubicBezTo>
                        <a:cubicBezTo>
                          <a:pt x="4705" y="39477"/>
                          <a:pt x="4414" y="44931"/>
                          <a:pt x="6010" y="46079"/>
                        </a:cubicBezTo>
                        <a:cubicBezTo>
                          <a:pt x="9034" y="47589"/>
                          <a:pt x="15136" y="50630"/>
                          <a:pt x="18419" y="48954"/>
                        </a:cubicBezTo>
                        <a:cubicBezTo>
                          <a:pt x="17851" y="34794"/>
                          <a:pt x="13068" y="19715"/>
                          <a:pt x="10496" y="2632"/>
                        </a:cubicBezTo>
                        <a:close/>
                      </a:path>
                    </a:pathLst>
                  </a:custGeom>
                  <a:solidFill>
                    <a:srgbClr val="FFFFFF"/>
                  </a:solidFill>
                  <a:ln w="2826" cap="flat">
                    <a:noFill/>
                    <a:prstDash val="solid"/>
                    <a:miter/>
                  </a:ln>
                </p:spPr>
                <p:txBody>
                  <a:bodyPr rtlCol="0" anchor="ctr"/>
                  <a:lstStyle/>
                  <a:p>
                    <a:endParaRPr lang="fr-CA"/>
                  </a:p>
                </p:txBody>
              </p:sp>
            </p:grpSp>
            <p:grpSp>
              <p:nvGrpSpPr>
                <p:cNvPr id="1448" name="Graphique 35" descr="Garçon dans un fauteuil roulant">
                  <a:extLst>
                    <a:ext uri="{FF2B5EF4-FFF2-40B4-BE49-F238E27FC236}">
                      <a16:creationId xmlns:a16="http://schemas.microsoft.com/office/drawing/2014/main" id="{DF22E3E7-2D4F-BD50-D566-B9BB0AD0B84D}"/>
                    </a:ext>
                  </a:extLst>
                </p:cNvPr>
                <p:cNvGrpSpPr/>
                <p:nvPr/>
              </p:nvGrpSpPr>
              <p:grpSpPr>
                <a:xfrm>
                  <a:off x="9273740" y="4065232"/>
                  <a:ext cx="445587" cy="302515"/>
                  <a:chOff x="9273740" y="4065232"/>
                  <a:chExt cx="445587" cy="302515"/>
                </a:xfrm>
                <a:solidFill>
                  <a:srgbClr val="FFFFFF"/>
                </a:solidFill>
              </p:grpSpPr>
              <p:sp>
                <p:nvSpPr>
                  <p:cNvPr id="1482" name="Forme libre : forme 1481">
                    <a:extLst>
                      <a:ext uri="{FF2B5EF4-FFF2-40B4-BE49-F238E27FC236}">
                        <a16:creationId xmlns:a16="http://schemas.microsoft.com/office/drawing/2014/main" id="{2B95CFED-140A-0F89-D561-2E16166EA174}"/>
                      </a:ext>
                    </a:extLst>
                  </p:cNvPr>
                  <p:cNvSpPr/>
                  <p:nvPr/>
                </p:nvSpPr>
                <p:spPr>
                  <a:xfrm>
                    <a:off x="9576589" y="4227399"/>
                    <a:ext cx="142737" cy="40853"/>
                  </a:xfrm>
                  <a:custGeom>
                    <a:avLst/>
                    <a:gdLst>
                      <a:gd name="connsiteX0" fmla="*/ 139752 w 142737"/>
                      <a:gd name="connsiteY0" fmla="*/ 23231 h 40853"/>
                      <a:gd name="connsiteX1" fmla="*/ 122846 w 142737"/>
                      <a:gd name="connsiteY1" fmla="*/ 15062 h 40853"/>
                      <a:gd name="connsiteX2" fmla="*/ 100155 w 142737"/>
                      <a:gd name="connsiteY2" fmla="*/ 13577 h 40853"/>
                      <a:gd name="connsiteX3" fmla="*/ 911 w 142737"/>
                      <a:gd name="connsiteY3" fmla="*/ 6 h 40853"/>
                      <a:gd name="connsiteX4" fmla="*/ 3455 w 142737"/>
                      <a:gd name="connsiteY4" fmla="*/ 7641 h 40853"/>
                      <a:gd name="connsiteX5" fmla="*/ 95920 w 142737"/>
                      <a:gd name="connsiteY5" fmla="*/ 28905 h 40853"/>
                      <a:gd name="connsiteX6" fmla="*/ 139752 w 142737"/>
                      <a:gd name="connsiteY6" fmla="*/ 23231 h 4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37" h="40853">
                        <a:moveTo>
                          <a:pt x="139752" y="23231"/>
                        </a:moveTo>
                        <a:cubicBezTo>
                          <a:pt x="136629" y="9123"/>
                          <a:pt x="141294" y="13577"/>
                          <a:pt x="122846" y="15062"/>
                        </a:cubicBezTo>
                        <a:cubicBezTo>
                          <a:pt x="121447" y="15173"/>
                          <a:pt x="100803" y="13392"/>
                          <a:pt x="100155" y="13577"/>
                        </a:cubicBezTo>
                        <a:cubicBezTo>
                          <a:pt x="96474" y="14605"/>
                          <a:pt x="4874" y="-337"/>
                          <a:pt x="911" y="6"/>
                        </a:cubicBezTo>
                        <a:cubicBezTo>
                          <a:pt x="-1473" y="668"/>
                          <a:pt x="1337" y="3823"/>
                          <a:pt x="3455" y="7641"/>
                        </a:cubicBezTo>
                        <a:cubicBezTo>
                          <a:pt x="3884" y="8412"/>
                          <a:pt x="95049" y="28768"/>
                          <a:pt x="95920" y="28905"/>
                        </a:cubicBezTo>
                        <a:cubicBezTo>
                          <a:pt x="144264" y="36480"/>
                          <a:pt x="146948" y="54206"/>
                          <a:pt x="139752" y="23231"/>
                        </a:cubicBezTo>
                        <a:close/>
                      </a:path>
                    </a:pathLst>
                  </a:custGeom>
                  <a:solidFill>
                    <a:srgbClr val="FFFFFF"/>
                  </a:solidFill>
                  <a:ln w="2826" cap="flat">
                    <a:noFill/>
                    <a:prstDash val="solid"/>
                    <a:miter/>
                  </a:ln>
                </p:spPr>
                <p:txBody>
                  <a:bodyPr rtlCol="0" anchor="ctr"/>
                  <a:lstStyle/>
                  <a:p>
                    <a:endParaRPr lang="fr-CA"/>
                  </a:p>
                </p:txBody>
              </p:sp>
              <p:sp>
                <p:nvSpPr>
                  <p:cNvPr id="1483" name="Forme libre : forme 1482">
                    <a:extLst>
                      <a:ext uri="{FF2B5EF4-FFF2-40B4-BE49-F238E27FC236}">
                        <a16:creationId xmlns:a16="http://schemas.microsoft.com/office/drawing/2014/main" id="{C75D32D6-B053-4B44-0B58-468984C05646}"/>
                      </a:ext>
                    </a:extLst>
                  </p:cNvPr>
                  <p:cNvSpPr/>
                  <p:nvPr/>
                </p:nvSpPr>
                <p:spPr>
                  <a:xfrm>
                    <a:off x="9301435" y="4261725"/>
                    <a:ext cx="160284" cy="106022"/>
                  </a:xfrm>
                  <a:custGeom>
                    <a:avLst/>
                    <a:gdLst>
                      <a:gd name="connsiteX0" fmla="*/ 158654 w 160284"/>
                      <a:gd name="connsiteY0" fmla="*/ 3150 h 106022"/>
                      <a:gd name="connsiteX1" fmla="*/ 142473 w 160284"/>
                      <a:gd name="connsiteY1" fmla="*/ 860 h 106022"/>
                      <a:gd name="connsiteX2" fmla="*/ 135457 w 160284"/>
                      <a:gd name="connsiteY2" fmla="*/ 1111 h 106022"/>
                      <a:gd name="connsiteX3" fmla="*/ 92493 w 160284"/>
                      <a:gd name="connsiteY3" fmla="*/ 11833 h 106022"/>
                      <a:gd name="connsiteX4" fmla="*/ 2175 w 160284"/>
                      <a:gd name="connsiteY4" fmla="*/ 3413 h 106022"/>
                      <a:gd name="connsiteX5" fmla="*/ 759 w 160284"/>
                      <a:gd name="connsiteY5" fmla="*/ 6625 h 106022"/>
                      <a:gd name="connsiteX6" fmla="*/ 62768 w 160284"/>
                      <a:gd name="connsiteY6" fmla="*/ 90238 h 106022"/>
                      <a:gd name="connsiteX7" fmla="*/ 155373 w 160284"/>
                      <a:gd name="connsiteY7" fmla="*/ 106022 h 106022"/>
                      <a:gd name="connsiteX8" fmla="*/ 159145 w 160284"/>
                      <a:gd name="connsiteY8" fmla="*/ 90806 h 106022"/>
                      <a:gd name="connsiteX9" fmla="*/ 160284 w 160284"/>
                      <a:gd name="connsiteY9" fmla="*/ 4960 h 106022"/>
                      <a:gd name="connsiteX10" fmla="*/ 158654 w 160284"/>
                      <a:gd name="connsiteY10" fmla="*/ 3150 h 10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284" h="106022">
                        <a:moveTo>
                          <a:pt x="158654" y="3150"/>
                        </a:moveTo>
                        <a:cubicBezTo>
                          <a:pt x="153203" y="2670"/>
                          <a:pt x="147992" y="1791"/>
                          <a:pt x="142473" y="860"/>
                        </a:cubicBezTo>
                        <a:cubicBezTo>
                          <a:pt x="140328" y="891"/>
                          <a:pt x="136833" y="-1250"/>
                          <a:pt x="135457" y="1111"/>
                        </a:cubicBezTo>
                        <a:cubicBezTo>
                          <a:pt x="128721" y="17704"/>
                          <a:pt x="107663" y="14143"/>
                          <a:pt x="92493" y="11833"/>
                        </a:cubicBezTo>
                        <a:cubicBezTo>
                          <a:pt x="62320" y="9449"/>
                          <a:pt x="31999" y="10068"/>
                          <a:pt x="2175" y="3413"/>
                        </a:cubicBezTo>
                        <a:cubicBezTo>
                          <a:pt x="370" y="2953"/>
                          <a:pt x="-872" y="5568"/>
                          <a:pt x="759" y="6625"/>
                        </a:cubicBezTo>
                        <a:cubicBezTo>
                          <a:pt x="32025" y="28471"/>
                          <a:pt x="51738" y="64152"/>
                          <a:pt x="62768" y="90238"/>
                        </a:cubicBezTo>
                        <a:cubicBezTo>
                          <a:pt x="92935" y="96583"/>
                          <a:pt x="124658" y="100280"/>
                          <a:pt x="155373" y="106022"/>
                        </a:cubicBezTo>
                        <a:cubicBezTo>
                          <a:pt x="159522" y="106011"/>
                          <a:pt x="158934" y="93850"/>
                          <a:pt x="159145" y="90806"/>
                        </a:cubicBezTo>
                        <a:cubicBezTo>
                          <a:pt x="159042" y="61944"/>
                          <a:pt x="159827" y="33594"/>
                          <a:pt x="160284" y="4960"/>
                        </a:cubicBezTo>
                        <a:cubicBezTo>
                          <a:pt x="160301" y="4021"/>
                          <a:pt x="159587" y="3230"/>
                          <a:pt x="158654" y="3150"/>
                        </a:cubicBezTo>
                        <a:close/>
                      </a:path>
                    </a:pathLst>
                  </a:custGeom>
                  <a:solidFill>
                    <a:srgbClr val="FFFFFF"/>
                  </a:solidFill>
                  <a:ln w="2826" cap="flat">
                    <a:noFill/>
                    <a:prstDash val="solid"/>
                    <a:miter/>
                  </a:ln>
                </p:spPr>
                <p:txBody>
                  <a:bodyPr rtlCol="0" anchor="ctr"/>
                  <a:lstStyle/>
                  <a:p>
                    <a:endParaRPr lang="fr-CA"/>
                  </a:p>
                </p:txBody>
              </p:sp>
              <p:sp>
                <p:nvSpPr>
                  <p:cNvPr id="1484" name="Forme libre : forme 1483">
                    <a:extLst>
                      <a:ext uri="{FF2B5EF4-FFF2-40B4-BE49-F238E27FC236}">
                        <a16:creationId xmlns:a16="http://schemas.microsoft.com/office/drawing/2014/main" id="{51141568-8DD5-2CC8-D149-F82D89610BC3}"/>
                      </a:ext>
                    </a:extLst>
                  </p:cNvPr>
                  <p:cNvSpPr/>
                  <p:nvPr/>
                </p:nvSpPr>
                <p:spPr>
                  <a:xfrm>
                    <a:off x="9282459" y="4065232"/>
                    <a:ext cx="37648" cy="64890"/>
                  </a:xfrm>
                  <a:custGeom>
                    <a:avLst/>
                    <a:gdLst>
                      <a:gd name="connsiteX0" fmla="*/ 37648 w 37648"/>
                      <a:gd name="connsiteY0" fmla="*/ 5336 h 64890"/>
                      <a:gd name="connsiteX1" fmla="*/ 22492 w 37648"/>
                      <a:gd name="connsiteY1" fmla="*/ 2649 h 64890"/>
                      <a:gd name="connsiteX2" fmla="*/ 2091 w 37648"/>
                      <a:gd name="connsiteY2" fmla="*/ 31 h 64890"/>
                      <a:gd name="connsiteX3" fmla="*/ 126 w 37648"/>
                      <a:gd name="connsiteY3" fmla="*/ 2438 h 64890"/>
                      <a:gd name="connsiteX4" fmla="*/ 7316 w 37648"/>
                      <a:gd name="connsiteY4" fmla="*/ 63257 h 64890"/>
                      <a:gd name="connsiteX5" fmla="*/ 10857 w 37648"/>
                      <a:gd name="connsiteY5" fmla="*/ 63488 h 64890"/>
                      <a:gd name="connsiteX6" fmla="*/ 37648 w 37648"/>
                      <a:gd name="connsiteY6" fmla="*/ 5336 h 6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48" h="64890">
                        <a:moveTo>
                          <a:pt x="37648" y="5336"/>
                        </a:moveTo>
                        <a:cubicBezTo>
                          <a:pt x="36266" y="3118"/>
                          <a:pt x="25510" y="3437"/>
                          <a:pt x="22492" y="2649"/>
                        </a:cubicBezTo>
                        <a:cubicBezTo>
                          <a:pt x="15813" y="1918"/>
                          <a:pt x="8903" y="1164"/>
                          <a:pt x="2091" y="31"/>
                        </a:cubicBezTo>
                        <a:cubicBezTo>
                          <a:pt x="777" y="-229"/>
                          <a:pt x="-394" y="1199"/>
                          <a:pt x="126" y="2438"/>
                        </a:cubicBezTo>
                        <a:cubicBezTo>
                          <a:pt x="6782" y="21911"/>
                          <a:pt x="5711" y="43013"/>
                          <a:pt x="7316" y="63257"/>
                        </a:cubicBezTo>
                        <a:cubicBezTo>
                          <a:pt x="7402" y="65270"/>
                          <a:pt x="10505" y="65510"/>
                          <a:pt x="10857" y="63488"/>
                        </a:cubicBezTo>
                        <a:cubicBezTo>
                          <a:pt x="13621" y="44863"/>
                          <a:pt x="25582" y="25975"/>
                          <a:pt x="37648" y="5336"/>
                        </a:cubicBezTo>
                        <a:close/>
                      </a:path>
                    </a:pathLst>
                  </a:custGeom>
                  <a:solidFill>
                    <a:srgbClr val="FFFFFF"/>
                  </a:solidFill>
                  <a:ln w="2826" cap="flat">
                    <a:noFill/>
                    <a:prstDash val="solid"/>
                    <a:miter/>
                  </a:ln>
                </p:spPr>
                <p:txBody>
                  <a:bodyPr rtlCol="0" anchor="ctr"/>
                  <a:lstStyle/>
                  <a:p>
                    <a:endParaRPr lang="fr-CA"/>
                  </a:p>
                </p:txBody>
              </p:sp>
              <p:sp>
                <p:nvSpPr>
                  <p:cNvPr id="1485" name="Forme libre : forme 1484">
                    <a:extLst>
                      <a:ext uri="{FF2B5EF4-FFF2-40B4-BE49-F238E27FC236}">
                        <a16:creationId xmlns:a16="http://schemas.microsoft.com/office/drawing/2014/main" id="{9288A870-31FF-A9AA-19C9-5D047F2235A3}"/>
                      </a:ext>
                    </a:extLst>
                  </p:cNvPr>
                  <p:cNvSpPr/>
                  <p:nvPr/>
                </p:nvSpPr>
                <p:spPr>
                  <a:xfrm>
                    <a:off x="9273740" y="4273588"/>
                    <a:ext cx="70301" cy="75161"/>
                  </a:xfrm>
                  <a:custGeom>
                    <a:avLst/>
                    <a:gdLst>
                      <a:gd name="connsiteX0" fmla="*/ 70162 w 70301"/>
                      <a:gd name="connsiteY0" fmla="*/ 72713 h 75161"/>
                      <a:gd name="connsiteX1" fmla="*/ 2390 w 70301"/>
                      <a:gd name="connsiteY1" fmla="*/ 107 h 75161"/>
                      <a:gd name="connsiteX2" fmla="*/ 3 w 70301"/>
                      <a:gd name="connsiteY2" fmla="*/ 1843 h 75161"/>
                      <a:gd name="connsiteX3" fmla="*/ 3855 w 70301"/>
                      <a:gd name="connsiteY3" fmla="*/ 62822 h 75161"/>
                      <a:gd name="connsiteX4" fmla="*/ 5494 w 70301"/>
                      <a:gd name="connsiteY4" fmla="*/ 64898 h 75161"/>
                      <a:gd name="connsiteX5" fmla="*/ 39864 w 70301"/>
                      <a:gd name="connsiteY5" fmla="*/ 69955 h 75161"/>
                      <a:gd name="connsiteX6" fmla="*/ 48133 w 70301"/>
                      <a:gd name="connsiteY6" fmla="*/ 72022 h 75161"/>
                      <a:gd name="connsiteX7" fmla="*/ 58315 w 70301"/>
                      <a:gd name="connsiteY7" fmla="*/ 73090 h 75161"/>
                      <a:gd name="connsiteX8" fmla="*/ 70162 w 70301"/>
                      <a:gd name="connsiteY8" fmla="*/ 72713 h 7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01" h="75161">
                        <a:moveTo>
                          <a:pt x="70162" y="72713"/>
                        </a:moveTo>
                        <a:cubicBezTo>
                          <a:pt x="54837" y="41173"/>
                          <a:pt x="32934" y="11468"/>
                          <a:pt x="2390" y="107"/>
                        </a:cubicBezTo>
                        <a:cubicBezTo>
                          <a:pt x="1256" y="-327"/>
                          <a:pt x="-71" y="621"/>
                          <a:pt x="3" y="1843"/>
                        </a:cubicBezTo>
                        <a:cubicBezTo>
                          <a:pt x="100" y="5272"/>
                          <a:pt x="4143" y="57865"/>
                          <a:pt x="3855" y="62822"/>
                        </a:cubicBezTo>
                        <a:cubicBezTo>
                          <a:pt x="3666" y="63827"/>
                          <a:pt x="4469" y="64849"/>
                          <a:pt x="5494" y="64898"/>
                        </a:cubicBezTo>
                        <a:cubicBezTo>
                          <a:pt x="16684" y="65692"/>
                          <a:pt x="28728" y="68638"/>
                          <a:pt x="39864" y="69955"/>
                        </a:cubicBezTo>
                        <a:cubicBezTo>
                          <a:pt x="40143" y="69889"/>
                          <a:pt x="47944" y="72162"/>
                          <a:pt x="48133" y="72022"/>
                        </a:cubicBezTo>
                        <a:cubicBezTo>
                          <a:pt x="53364" y="73207"/>
                          <a:pt x="53926" y="71357"/>
                          <a:pt x="58315" y="73090"/>
                        </a:cubicBezTo>
                        <a:cubicBezTo>
                          <a:pt x="60853" y="73207"/>
                          <a:pt x="71649" y="77930"/>
                          <a:pt x="70162" y="72713"/>
                        </a:cubicBezTo>
                        <a:close/>
                      </a:path>
                    </a:pathLst>
                  </a:custGeom>
                  <a:solidFill>
                    <a:srgbClr val="FFFFFF"/>
                  </a:solidFill>
                  <a:ln w="2826" cap="flat">
                    <a:noFill/>
                    <a:prstDash val="solid"/>
                    <a:miter/>
                  </a:ln>
                </p:spPr>
                <p:txBody>
                  <a:bodyPr rtlCol="0" anchor="ctr"/>
                  <a:lstStyle/>
                  <a:p>
                    <a:endParaRPr lang="fr-CA"/>
                  </a:p>
                </p:txBody>
              </p:sp>
            </p:grpSp>
            <p:grpSp>
              <p:nvGrpSpPr>
                <p:cNvPr id="1449" name="Graphique 35" descr="Garçon dans un fauteuil roulant">
                  <a:extLst>
                    <a:ext uri="{FF2B5EF4-FFF2-40B4-BE49-F238E27FC236}">
                      <a16:creationId xmlns:a16="http://schemas.microsoft.com/office/drawing/2014/main" id="{D42B8634-29C3-E1DB-E399-0C5A80D6A349}"/>
                    </a:ext>
                  </a:extLst>
                </p:cNvPr>
                <p:cNvGrpSpPr/>
                <p:nvPr/>
              </p:nvGrpSpPr>
              <p:grpSpPr>
                <a:xfrm>
                  <a:off x="9244017" y="4047030"/>
                  <a:ext cx="658452" cy="624853"/>
                  <a:chOff x="9244017" y="4047030"/>
                  <a:chExt cx="658452" cy="624853"/>
                </a:xfrm>
                <a:solidFill>
                  <a:srgbClr val="FFFFFF"/>
                </a:solidFill>
              </p:grpSpPr>
              <p:sp>
                <p:nvSpPr>
                  <p:cNvPr id="1472" name="Forme libre : forme 1471">
                    <a:extLst>
                      <a:ext uri="{FF2B5EF4-FFF2-40B4-BE49-F238E27FC236}">
                        <a16:creationId xmlns:a16="http://schemas.microsoft.com/office/drawing/2014/main" id="{688797D0-29D9-3199-395A-7B1C8120C151}"/>
                      </a:ext>
                    </a:extLst>
                  </p:cNvPr>
                  <p:cNvSpPr/>
                  <p:nvPr/>
                </p:nvSpPr>
                <p:spPr>
                  <a:xfrm>
                    <a:off x="9803164" y="4607910"/>
                    <a:ext cx="99305" cy="30576"/>
                  </a:xfrm>
                  <a:custGeom>
                    <a:avLst/>
                    <a:gdLst>
                      <a:gd name="connsiteX0" fmla="*/ 98276 w 99305"/>
                      <a:gd name="connsiteY0" fmla="*/ 5227 h 30576"/>
                      <a:gd name="connsiteX1" fmla="*/ 78894 w 99305"/>
                      <a:gd name="connsiteY1" fmla="*/ 3359 h 30576"/>
                      <a:gd name="connsiteX2" fmla="*/ 72969 w 99305"/>
                      <a:gd name="connsiteY2" fmla="*/ 1281 h 30576"/>
                      <a:gd name="connsiteX3" fmla="*/ 61328 w 99305"/>
                      <a:gd name="connsiteY3" fmla="*/ 1915 h 30576"/>
                      <a:gd name="connsiteX4" fmla="*/ 1194 w 99305"/>
                      <a:gd name="connsiteY4" fmla="*/ 27073 h 30576"/>
                      <a:gd name="connsiteX5" fmla="*/ 2139 w 99305"/>
                      <a:gd name="connsiteY5" fmla="*/ 30519 h 30576"/>
                      <a:gd name="connsiteX6" fmla="*/ 35918 w 99305"/>
                      <a:gd name="connsiteY6" fmla="*/ 26736 h 30576"/>
                      <a:gd name="connsiteX7" fmla="*/ 70331 w 99305"/>
                      <a:gd name="connsiteY7" fmla="*/ 21285 h 30576"/>
                      <a:gd name="connsiteX8" fmla="*/ 78251 w 99305"/>
                      <a:gd name="connsiteY8" fmla="*/ 19261 h 30576"/>
                      <a:gd name="connsiteX9" fmla="*/ 79650 w 99305"/>
                      <a:gd name="connsiteY9" fmla="*/ 16186 h 30576"/>
                      <a:gd name="connsiteX10" fmla="*/ 87962 w 99305"/>
                      <a:gd name="connsiteY10" fmla="*/ 16186 h 30576"/>
                      <a:gd name="connsiteX11" fmla="*/ 98442 w 99305"/>
                      <a:gd name="connsiteY11" fmla="*/ 14424 h 30576"/>
                      <a:gd name="connsiteX12" fmla="*/ 98276 w 99305"/>
                      <a:gd name="connsiteY12" fmla="*/ 5227 h 3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305" h="30576">
                        <a:moveTo>
                          <a:pt x="98276" y="5227"/>
                        </a:moveTo>
                        <a:cubicBezTo>
                          <a:pt x="96680" y="1769"/>
                          <a:pt x="81803" y="3693"/>
                          <a:pt x="78894" y="3359"/>
                        </a:cubicBezTo>
                        <a:cubicBezTo>
                          <a:pt x="77497" y="-641"/>
                          <a:pt x="75102" y="-709"/>
                          <a:pt x="72969" y="1281"/>
                        </a:cubicBezTo>
                        <a:cubicBezTo>
                          <a:pt x="72332" y="1875"/>
                          <a:pt x="63689" y="2317"/>
                          <a:pt x="61328" y="1915"/>
                        </a:cubicBezTo>
                        <a:cubicBezTo>
                          <a:pt x="35875" y="-7"/>
                          <a:pt x="22800" y="18775"/>
                          <a:pt x="1194" y="27073"/>
                        </a:cubicBezTo>
                        <a:cubicBezTo>
                          <a:pt x="-899" y="27713"/>
                          <a:pt x="-22" y="31053"/>
                          <a:pt x="2139" y="30519"/>
                        </a:cubicBezTo>
                        <a:cubicBezTo>
                          <a:pt x="13272" y="28052"/>
                          <a:pt x="24634" y="28024"/>
                          <a:pt x="35918" y="26736"/>
                        </a:cubicBezTo>
                        <a:cubicBezTo>
                          <a:pt x="47613" y="25814"/>
                          <a:pt x="58684" y="22110"/>
                          <a:pt x="70331" y="21285"/>
                        </a:cubicBezTo>
                        <a:cubicBezTo>
                          <a:pt x="72772" y="20560"/>
                          <a:pt x="78040" y="22659"/>
                          <a:pt x="78251" y="19261"/>
                        </a:cubicBezTo>
                        <a:cubicBezTo>
                          <a:pt x="78254" y="18327"/>
                          <a:pt x="78565" y="16129"/>
                          <a:pt x="79650" y="16186"/>
                        </a:cubicBezTo>
                        <a:cubicBezTo>
                          <a:pt x="82417" y="16583"/>
                          <a:pt x="85264" y="16026"/>
                          <a:pt x="87962" y="16186"/>
                        </a:cubicBezTo>
                        <a:cubicBezTo>
                          <a:pt x="89598" y="15934"/>
                          <a:pt x="97316" y="16288"/>
                          <a:pt x="98442" y="14424"/>
                        </a:cubicBezTo>
                        <a:cubicBezTo>
                          <a:pt x="100229" y="11697"/>
                          <a:pt x="98767" y="6694"/>
                          <a:pt x="98276" y="5227"/>
                        </a:cubicBezTo>
                        <a:close/>
                      </a:path>
                    </a:pathLst>
                  </a:custGeom>
                  <a:solidFill>
                    <a:srgbClr val="FFFFFF"/>
                  </a:solidFill>
                  <a:ln w="2826" cap="flat">
                    <a:noFill/>
                    <a:prstDash val="solid"/>
                    <a:miter/>
                  </a:ln>
                </p:spPr>
                <p:txBody>
                  <a:bodyPr rtlCol="0" anchor="ctr"/>
                  <a:lstStyle/>
                  <a:p>
                    <a:endParaRPr lang="fr-CA"/>
                  </a:p>
                </p:txBody>
              </p:sp>
              <p:sp>
                <p:nvSpPr>
                  <p:cNvPr id="1473" name="Forme libre : forme 1472">
                    <a:extLst>
                      <a:ext uri="{FF2B5EF4-FFF2-40B4-BE49-F238E27FC236}">
                        <a16:creationId xmlns:a16="http://schemas.microsoft.com/office/drawing/2014/main" id="{25905659-BAFD-78CB-E943-B595FCCB8564}"/>
                      </a:ext>
                    </a:extLst>
                  </p:cNvPr>
                  <p:cNvSpPr/>
                  <p:nvPr/>
                </p:nvSpPr>
                <p:spPr>
                  <a:xfrm>
                    <a:off x="9749693" y="4363125"/>
                    <a:ext cx="84061" cy="231562"/>
                  </a:xfrm>
                  <a:custGeom>
                    <a:avLst/>
                    <a:gdLst>
                      <a:gd name="connsiteX0" fmla="*/ 84029 w 84061"/>
                      <a:gd name="connsiteY0" fmla="*/ 229370 h 231562"/>
                      <a:gd name="connsiteX1" fmla="*/ 36299 w 84061"/>
                      <a:gd name="connsiteY1" fmla="*/ 32528 h 231562"/>
                      <a:gd name="connsiteX2" fmla="*/ 11320 w 84061"/>
                      <a:gd name="connsiteY2" fmla="*/ 0 h 231562"/>
                      <a:gd name="connsiteX3" fmla="*/ 9224 w 84061"/>
                      <a:gd name="connsiteY3" fmla="*/ 10271 h 231562"/>
                      <a:gd name="connsiteX4" fmla="*/ 9650 w 84061"/>
                      <a:gd name="connsiteY4" fmla="*/ 16504 h 231562"/>
                      <a:gd name="connsiteX5" fmla="*/ 19349 w 84061"/>
                      <a:gd name="connsiteY5" fmla="*/ 28839 h 231562"/>
                      <a:gd name="connsiteX6" fmla="*/ 51581 w 84061"/>
                      <a:gd name="connsiteY6" fmla="*/ 145680 h 231562"/>
                      <a:gd name="connsiteX7" fmla="*/ 48306 w 84061"/>
                      <a:gd name="connsiteY7" fmla="*/ 146225 h 231562"/>
                      <a:gd name="connsiteX8" fmla="*/ 12876 w 84061"/>
                      <a:gd name="connsiteY8" fmla="*/ 142165 h 231562"/>
                      <a:gd name="connsiteX9" fmla="*/ 12702 w 84061"/>
                      <a:gd name="connsiteY9" fmla="*/ 132862 h 231562"/>
                      <a:gd name="connsiteX10" fmla="*/ 14290 w 84061"/>
                      <a:gd name="connsiteY10" fmla="*/ 128839 h 231562"/>
                      <a:gd name="connsiteX11" fmla="*/ 12868 w 84061"/>
                      <a:gd name="connsiteY11" fmla="*/ 124048 h 231562"/>
                      <a:gd name="connsiteX12" fmla="*/ 9890 w 84061"/>
                      <a:gd name="connsiteY12" fmla="*/ 117021 h 231562"/>
                      <a:gd name="connsiteX13" fmla="*/ 2788 w 84061"/>
                      <a:gd name="connsiteY13" fmla="*/ 110465 h 231562"/>
                      <a:gd name="connsiteX14" fmla="*/ 781 w 84061"/>
                      <a:gd name="connsiteY14" fmla="*/ 112141 h 231562"/>
                      <a:gd name="connsiteX15" fmla="*/ 7 w 84061"/>
                      <a:gd name="connsiteY15" fmla="*/ 130878 h 231562"/>
                      <a:gd name="connsiteX16" fmla="*/ 11212 w 84061"/>
                      <a:gd name="connsiteY16" fmla="*/ 155834 h 231562"/>
                      <a:gd name="connsiteX17" fmla="*/ 4367 w 84061"/>
                      <a:gd name="connsiteY17" fmla="*/ 168266 h 231562"/>
                      <a:gd name="connsiteX18" fmla="*/ 4270 w 84061"/>
                      <a:gd name="connsiteY18" fmla="*/ 199603 h 231562"/>
                      <a:gd name="connsiteX19" fmla="*/ 16837 w 84061"/>
                      <a:gd name="connsiteY19" fmla="*/ 218648 h 231562"/>
                      <a:gd name="connsiteX20" fmla="*/ 19744 w 84061"/>
                      <a:gd name="connsiteY20" fmla="*/ 216958 h 231562"/>
                      <a:gd name="connsiteX21" fmla="*/ 17282 w 84061"/>
                      <a:gd name="connsiteY21" fmla="*/ 190475 h 231562"/>
                      <a:gd name="connsiteX22" fmla="*/ 19409 w 84061"/>
                      <a:gd name="connsiteY22" fmla="*/ 159029 h 231562"/>
                      <a:gd name="connsiteX23" fmla="*/ 19361 w 84061"/>
                      <a:gd name="connsiteY23" fmla="*/ 158823 h 231562"/>
                      <a:gd name="connsiteX24" fmla="*/ 33386 w 84061"/>
                      <a:gd name="connsiteY24" fmla="*/ 160608 h 231562"/>
                      <a:gd name="connsiteX25" fmla="*/ 53380 w 84061"/>
                      <a:gd name="connsiteY25" fmla="*/ 163118 h 231562"/>
                      <a:gd name="connsiteX26" fmla="*/ 55510 w 84061"/>
                      <a:gd name="connsiteY26" fmla="*/ 163440 h 231562"/>
                      <a:gd name="connsiteX27" fmla="*/ 74469 w 84061"/>
                      <a:gd name="connsiteY27" fmla="*/ 231398 h 231562"/>
                      <a:gd name="connsiteX28" fmla="*/ 84029 w 84061"/>
                      <a:gd name="connsiteY28" fmla="*/ 229370 h 23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4061" h="231562">
                        <a:moveTo>
                          <a:pt x="84029" y="229370"/>
                        </a:moveTo>
                        <a:cubicBezTo>
                          <a:pt x="68013" y="163475"/>
                          <a:pt x="52828" y="98632"/>
                          <a:pt x="36299" y="32528"/>
                        </a:cubicBezTo>
                        <a:cubicBezTo>
                          <a:pt x="31862" y="14183"/>
                          <a:pt x="27639" y="7984"/>
                          <a:pt x="11320" y="0"/>
                        </a:cubicBezTo>
                        <a:cubicBezTo>
                          <a:pt x="9233" y="1436"/>
                          <a:pt x="9953" y="7627"/>
                          <a:pt x="9224" y="10271"/>
                        </a:cubicBezTo>
                        <a:cubicBezTo>
                          <a:pt x="9333" y="11867"/>
                          <a:pt x="7880" y="15610"/>
                          <a:pt x="9650" y="16504"/>
                        </a:cubicBezTo>
                        <a:cubicBezTo>
                          <a:pt x="13416" y="18631"/>
                          <a:pt x="16680" y="22783"/>
                          <a:pt x="19349" y="28839"/>
                        </a:cubicBezTo>
                        <a:cubicBezTo>
                          <a:pt x="34820" y="66261"/>
                          <a:pt x="42995" y="106210"/>
                          <a:pt x="51581" y="145680"/>
                        </a:cubicBezTo>
                        <a:cubicBezTo>
                          <a:pt x="50456" y="145806"/>
                          <a:pt x="48046" y="145249"/>
                          <a:pt x="48306" y="146225"/>
                        </a:cubicBezTo>
                        <a:cubicBezTo>
                          <a:pt x="40959" y="145092"/>
                          <a:pt x="19838" y="144769"/>
                          <a:pt x="12876" y="142165"/>
                        </a:cubicBezTo>
                        <a:cubicBezTo>
                          <a:pt x="12816" y="139116"/>
                          <a:pt x="12388" y="135809"/>
                          <a:pt x="12702" y="132862"/>
                        </a:cubicBezTo>
                        <a:cubicBezTo>
                          <a:pt x="12814" y="131986"/>
                          <a:pt x="14550" y="130592"/>
                          <a:pt x="14290" y="128839"/>
                        </a:cubicBezTo>
                        <a:cubicBezTo>
                          <a:pt x="13833" y="127263"/>
                          <a:pt x="14681" y="124850"/>
                          <a:pt x="12868" y="124048"/>
                        </a:cubicBezTo>
                        <a:cubicBezTo>
                          <a:pt x="11055" y="123243"/>
                          <a:pt x="10681" y="119065"/>
                          <a:pt x="9890" y="117021"/>
                        </a:cubicBezTo>
                        <a:cubicBezTo>
                          <a:pt x="9236" y="111944"/>
                          <a:pt x="5938" y="110856"/>
                          <a:pt x="2788" y="110465"/>
                        </a:cubicBezTo>
                        <a:cubicBezTo>
                          <a:pt x="1792" y="110322"/>
                          <a:pt x="818" y="111133"/>
                          <a:pt x="781" y="112141"/>
                        </a:cubicBezTo>
                        <a:cubicBezTo>
                          <a:pt x="861" y="116573"/>
                          <a:pt x="-93" y="122283"/>
                          <a:pt x="7" y="130878"/>
                        </a:cubicBezTo>
                        <a:cubicBezTo>
                          <a:pt x="167" y="144398"/>
                          <a:pt x="14047" y="145412"/>
                          <a:pt x="11212" y="155834"/>
                        </a:cubicBezTo>
                        <a:cubicBezTo>
                          <a:pt x="11155" y="156053"/>
                          <a:pt x="6906" y="165373"/>
                          <a:pt x="4367" y="168266"/>
                        </a:cubicBezTo>
                        <a:cubicBezTo>
                          <a:pt x="2583" y="178519"/>
                          <a:pt x="4019" y="189236"/>
                          <a:pt x="4270" y="199603"/>
                        </a:cubicBezTo>
                        <a:cubicBezTo>
                          <a:pt x="4330" y="207227"/>
                          <a:pt x="10632" y="212826"/>
                          <a:pt x="16837" y="218648"/>
                        </a:cubicBezTo>
                        <a:cubicBezTo>
                          <a:pt x="18050" y="219722"/>
                          <a:pt x="20086" y="218549"/>
                          <a:pt x="19744" y="216958"/>
                        </a:cubicBezTo>
                        <a:cubicBezTo>
                          <a:pt x="17899" y="206736"/>
                          <a:pt x="17117" y="198321"/>
                          <a:pt x="17282" y="190475"/>
                        </a:cubicBezTo>
                        <a:cubicBezTo>
                          <a:pt x="17485" y="180478"/>
                          <a:pt x="19535" y="169097"/>
                          <a:pt x="19409" y="159029"/>
                        </a:cubicBezTo>
                        <a:cubicBezTo>
                          <a:pt x="19398" y="158957"/>
                          <a:pt x="19375" y="158892"/>
                          <a:pt x="19361" y="158823"/>
                        </a:cubicBezTo>
                        <a:cubicBezTo>
                          <a:pt x="24058" y="159406"/>
                          <a:pt x="28775" y="160011"/>
                          <a:pt x="33386" y="160608"/>
                        </a:cubicBezTo>
                        <a:cubicBezTo>
                          <a:pt x="39937" y="161456"/>
                          <a:pt x="46709" y="162330"/>
                          <a:pt x="53380" y="163118"/>
                        </a:cubicBezTo>
                        <a:cubicBezTo>
                          <a:pt x="53577" y="163140"/>
                          <a:pt x="54445" y="163283"/>
                          <a:pt x="55510" y="163440"/>
                        </a:cubicBezTo>
                        <a:cubicBezTo>
                          <a:pt x="60755" y="186626"/>
                          <a:pt x="66546" y="209483"/>
                          <a:pt x="74469" y="231398"/>
                        </a:cubicBezTo>
                        <a:cubicBezTo>
                          <a:pt x="77296" y="230515"/>
                          <a:pt x="84614" y="233348"/>
                          <a:pt x="84029" y="229370"/>
                        </a:cubicBezTo>
                        <a:close/>
                      </a:path>
                    </a:pathLst>
                  </a:custGeom>
                  <a:solidFill>
                    <a:srgbClr val="FFFFFF"/>
                  </a:solidFill>
                  <a:ln w="2826" cap="flat">
                    <a:noFill/>
                    <a:prstDash val="solid"/>
                    <a:miter/>
                  </a:ln>
                </p:spPr>
                <p:txBody>
                  <a:bodyPr rtlCol="0" anchor="ctr"/>
                  <a:lstStyle/>
                  <a:p>
                    <a:endParaRPr lang="fr-CA"/>
                  </a:p>
                </p:txBody>
              </p:sp>
              <p:sp>
                <p:nvSpPr>
                  <p:cNvPr id="1474" name="Forme libre : forme 1473">
                    <a:extLst>
                      <a:ext uri="{FF2B5EF4-FFF2-40B4-BE49-F238E27FC236}">
                        <a16:creationId xmlns:a16="http://schemas.microsoft.com/office/drawing/2014/main" id="{05C47287-1CAE-B2C6-7767-AF520EBDBA45}"/>
                      </a:ext>
                    </a:extLst>
                  </p:cNvPr>
                  <p:cNvSpPr/>
                  <p:nvPr/>
                </p:nvSpPr>
                <p:spPr>
                  <a:xfrm>
                    <a:off x="9713775" y="4233475"/>
                    <a:ext cx="18362" cy="41447"/>
                  </a:xfrm>
                  <a:custGeom>
                    <a:avLst/>
                    <a:gdLst>
                      <a:gd name="connsiteX0" fmla="*/ 16512 w 18362"/>
                      <a:gd name="connsiteY0" fmla="*/ 11873 h 41447"/>
                      <a:gd name="connsiteX1" fmla="*/ 2024 w 18362"/>
                      <a:gd name="connsiteY1" fmla="*/ 0 h 41447"/>
                      <a:gd name="connsiteX2" fmla="*/ 727 w 18362"/>
                      <a:gd name="connsiteY2" fmla="*/ 7201 h 41447"/>
                      <a:gd name="connsiteX3" fmla="*/ 2855 w 18362"/>
                      <a:gd name="connsiteY3" fmla="*/ 17772 h 41447"/>
                      <a:gd name="connsiteX4" fmla="*/ 5316 w 18362"/>
                      <a:gd name="connsiteY4" fmla="*/ 30749 h 41447"/>
                      <a:gd name="connsiteX5" fmla="*/ 6752 w 18362"/>
                      <a:gd name="connsiteY5" fmla="*/ 36035 h 41447"/>
                      <a:gd name="connsiteX6" fmla="*/ 15578 w 18362"/>
                      <a:gd name="connsiteY6" fmla="*/ 41146 h 41447"/>
                      <a:gd name="connsiteX7" fmla="*/ 18359 w 18362"/>
                      <a:gd name="connsiteY7" fmla="*/ 39598 h 41447"/>
                      <a:gd name="connsiteX8" fmla="*/ 16512 w 18362"/>
                      <a:gd name="connsiteY8" fmla="*/ 11873 h 4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2" h="41447">
                        <a:moveTo>
                          <a:pt x="16512" y="11873"/>
                        </a:moveTo>
                        <a:cubicBezTo>
                          <a:pt x="15335" y="-2296"/>
                          <a:pt x="15832" y="2927"/>
                          <a:pt x="2024" y="0"/>
                        </a:cubicBezTo>
                        <a:cubicBezTo>
                          <a:pt x="-1697" y="69"/>
                          <a:pt x="882" y="4977"/>
                          <a:pt x="727" y="7201"/>
                        </a:cubicBezTo>
                        <a:cubicBezTo>
                          <a:pt x="1159" y="10699"/>
                          <a:pt x="1601" y="14314"/>
                          <a:pt x="2855" y="17772"/>
                        </a:cubicBezTo>
                        <a:cubicBezTo>
                          <a:pt x="4308" y="21789"/>
                          <a:pt x="4819" y="26343"/>
                          <a:pt x="5316" y="30749"/>
                        </a:cubicBezTo>
                        <a:cubicBezTo>
                          <a:pt x="5759" y="32437"/>
                          <a:pt x="5102" y="34964"/>
                          <a:pt x="6752" y="36035"/>
                        </a:cubicBezTo>
                        <a:cubicBezTo>
                          <a:pt x="9856" y="37591"/>
                          <a:pt x="12826" y="39312"/>
                          <a:pt x="15578" y="41146"/>
                        </a:cubicBezTo>
                        <a:cubicBezTo>
                          <a:pt x="16726" y="41962"/>
                          <a:pt x="18451" y="41011"/>
                          <a:pt x="18359" y="39598"/>
                        </a:cubicBezTo>
                        <a:cubicBezTo>
                          <a:pt x="18065" y="30458"/>
                          <a:pt x="17460" y="21389"/>
                          <a:pt x="16512" y="11873"/>
                        </a:cubicBezTo>
                        <a:close/>
                      </a:path>
                    </a:pathLst>
                  </a:custGeom>
                  <a:solidFill>
                    <a:srgbClr val="FFFFFF"/>
                  </a:solidFill>
                  <a:ln w="2826" cap="flat">
                    <a:noFill/>
                    <a:prstDash val="solid"/>
                    <a:miter/>
                  </a:ln>
                </p:spPr>
                <p:txBody>
                  <a:bodyPr rtlCol="0" anchor="ctr"/>
                  <a:lstStyle/>
                  <a:p>
                    <a:endParaRPr lang="fr-CA"/>
                  </a:p>
                </p:txBody>
              </p:sp>
              <p:sp>
                <p:nvSpPr>
                  <p:cNvPr id="1475" name="Forme libre : forme 1474">
                    <a:extLst>
                      <a:ext uri="{FF2B5EF4-FFF2-40B4-BE49-F238E27FC236}">
                        <a16:creationId xmlns:a16="http://schemas.microsoft.com/office/drawing/2014/main" id="{D5AD9A57-ED18-662F-E2D5-7018F6F71DE6}"/>
                      </a:ext>
                    </a:extLst>
                  </p:cNvPr>
                  <p:cNvSpPr/>
                  <p:nvPr/>
                </p:nvSpPr>
                <p:spPr>
                  <a:xfrm>
                    <a:off x="9589387" y="4334887"/>
                    <a:ext cx="49997" cy="28265"/>
                  </a:xfrm>
                  <a:custGeom>
                    <a:avLst/>
                    <a:gdLst>
                      <a:gd name="connsiteX0" fmla="*/ 49053 w 49997"/>
                      <a:gd name="connsiteY0" fmla="*/ 18810 h 28265"/>
                      <a:gd name="connsiteX1" fmla="*/ 23537 w 49997"/>
                      <a:gd name="connsiteY1" fmla="*/ 4944 h 28265"/>
                      <a:gd name="connsiteX2" fmla="*/ 6359 w 49997"/>
                      <a:gd name="connsiteY2" fmla="*/ 279 h 28265"/>
                      <a:gd name="connsiteX3" fmla="*/ 0 w 49997"/>
                      <a:gd name="connsiteY3" fmla="*/ 2480 h 28265"/>
                      <a:gd name="connsiteX4" fmla="*/ 2008 w 49997"/>
                      <a:gd name="connsiteY4" fmla="*/ 26562 h 28265"/>
                      <a:gd name="connsiteX5" fmla="*/ 4406 w 49997"/>
                      <a:gd name="connsiteY5" fmla="*/ 28153 h 28265"/>
                      <a:gd name="connsiteX6" fmla="*/ 48153 w 49997"/>
                      <a:gd name="connsiteY6" fmla="*/ 22188 h 28265"/>
                      <a:gd name="connsiteX7" fmla="*/ 49053 w 49997"/>
                      <a:gd name="connsiteY7" fmla="*/ 18810 h 2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7" h="28265">
                        <a:moveTo>
                          <a:pt x="49053" y="18810"/>
                        </a:moveTo>
                        <a:cubicBezTo>
                          <a:pt x="41720" y="15612"/>
                          <a:pt x="32317" y="6855"/>
                          <a:pt x="23537" y="4944"/>
                        </a:cubicBezTo>
                        <a:cubicBezTo>
                          <a:pt x="21478" y="4496"/>
                          <a:pt x="8589" y="1232"/>
                          <a:pt x="6359" y="279"/>
                        </a:cubicBezTo>
                        <a:cubicBezTo>
                          <a:pt x="4483" y="7"/>
                          <a:pt x="-54" y="-766"/>
                          <a:pt x="0" y="2480"/>
                        </a:cubicBezTo>
                        <a:cubicBezTo>
                          <a:pt x="509" y="4508"/>
                          <a:pt x="1982" y="19467"/>
                          <a:pt x="2008" y="26562"/>
                        </a:cubicBezTo>
                        <a:cubicBezTo>
                          <a:pt x="2039" y="27727"/>
                          <a:pt x="3324" y="28581"/>
                          <a:pt x="4406" y="28153"/>
                        </a:cubicBezTo>
                        <a:cubicBezTo>
                          <a:pt x="17138" y="23518"/>
                          <a:pt x="31855" y="21511"/>
                          <a:pt x="48153" y="22188"/>
                        </a:cubicBezTo>
                        <a:cubicBezTo>
                          <a:pt x="49992" y="22325"/>
                          <a:pt x="50746" y="19615"/>
                          <a:pt x="49053" y="18810"/>
                        </a:cubicBezTo>
                        <a:close/>
                      </a:path>
                    </a:pathLst>
                  </a:custGeom>
                  <a:solidFill>
                    <a:srgbClr val="FFFFFF"/>
                  </a:solidFill>
                  <a:ln w="2826" cap="flat">
                    <a:noFill/>
                    <a:prstDash val="solid"/>
                    <a:miter/>
                  </a:ln>
                </p:spPr>
                <p:txBody>
                  <a:bodyPr rtlCol="0" anchor="ctr"/>
                  <a:lstStyle/>
                  <a:p>
                    <a:endParaRPr lang="fr-CA"/>
                  </a:p>
                </p:txBody>
              </p:sp>
              <p:sp>
                <p:nvSpPr>
                  <p:cNvPr id="1476" name="Forme libre : forme 1475">
                    <a:extLst>
                      <a:ext uri="{FF2B5EF4-FFF2-40B4-BE49-F238E27FC236}">
                        <a16:creationId xmlns:a16="http://schemas.microsoft.com/office/drawing/2014/main" id="{9254992D-CB94-2BE4-0BEA-F9B5F97CFD8A}"/>
                      </a:ext>
                    </a:extLst>
                  </p:cNvPr>
                  <p:cNvSpPr/>
                  <p:nvPr/>
                </p:nvSpPr>
                <p:spPr>
                  <a:xfrm>
                    <a:off x="9353480" y="4249836"/>
                    <a:ext cx="277241" cy="422047"/>
                  </a:xfrm>
                  <a:custGeom>
                    <a:avLst/>
                    <a:gdLst>
                      <a:gd name="connsiteX0" fmla="*/ 276781 w 277241"/>
                      <a:gd name="connsiteY0" fmla="*/ 380062 h 422047"/>
                      <a:gd name="connsiteX1" fmla="*/ 270220 w 277241"/>
                      <a:gd name="connsiteY1" fmla="*/ 376233 h 422047"/>
                      <a:gd name="connsiteX2" fmla="*/ 252916 w 277241"/>
                      <a:gd name="connsiteY2" fmla="*/ 375939 h 422047"/>
                      <a:gd name="connsiteX3" fmla="*/ 248945 w 277241"/>
                      <a:gd name="connsiteY3" fmla="*/ 374482 h 422047"/>
                      <a:gd name="connsiteX4" fmla="*/ 216291 w 277241"/>
                      <a:gd name="connsiteY4" fmla="*/ 379245 h 422047"/>
                      <a:gd name="connsiteX5" fmla="*/ 212713 w 277241"/>
                      <a:gd name="connsiteY5" fmla="*/ 378817 h 422047"/>
                      <a:gd name="connsiteX6" fmla="*/ 175822 w 277241"/>
                      <a:gd name="connsiteY6" fmla="*/ 189350 h 422047"/>
                      <a:gd name="connsiteX7" fmla="*/ 126304 w 277241"/>
                      <a:gd name="connsiteY7" fmla="*/ 148199 h 422047"/>
                      <a:gd name="connsiteX8" fmla="*/ 125542 w 277241"/>
                      <a:gd name="connsiteY8" fmla="*/ 130373 h 422047"/>
                      <a:gd name="connsiteX9" fmla="*/ 141629 w 277241"/>
                      <a:gd name="connsiteY9" fmla="*/ 126672 h 422047"/>
                      <a:gd name="connsiteX10" fmla="*/ 141860 w 277241"/>
                      <a:gd name="connsiteY10" fmla="*/ 123800 h 422047"/>
                      <a:gd name="connsiteX11" fmla="*/ 140650 w 277241"/>
                      <a:gd name="connsiteY11" fmla="*/ 119220 h 422047"/>
                      <a:gd name="connsiteX12" fmla="*/ 130619 w 277241"/>
                      <a:gd name="connsiteY12" fmla="*/ 112076 h 422047"/>
                      <a:gd name="connsiteX13" fmla="*/ 124840 w 277241"/>
                      <a:gd name="connsiteY13" fmla="*/ 110742 h 422047"/>
                      <a:gd name="connsiteX14" fmla="*/ 123960 w 277241"/>
                      <a:gd name="connsiteY14" fmla="*/ 2479 h 422047"/>
                      <a:gd name="connsiteX15" fmla="*/ 122173 w 277241"/>
                      <a:gd name="connsiteY15" fmla="*/ 440 h 422047"/>
                      <a:gd name="connsiteX16" fmla="*/ 110334 w 277241"/>
                      <a:gd name="connsiteY16" fmla="*/ 12 h 422047"/>
                      <a:gd name="connsiteX17" fmla="*/ 108364 w 277241"/>
                      <a:gd name="connsiteY17" fmla="*/ 1833 h 422047"/>
                      <a:gd name="connsiteX18" fmla="*/ 108250 w 277241"/>
                      <a:gd name="connsiteY18" fmla="*/ 83676 h 422047"/>
                      <a:gd name="connsiteX19" fmla="*/ 106031 w 277241"/>
                      <a:gd name="connsiteY19" fmla="*/ 118120 h 422047"/>
                      <a:gd name="connsiteX20" fmla="*/ 12268 w 277241"/>
                      <a:gd name="connsiteY20" fmla="*/ 103370 h 422047"/>
                      <a:gd name="connsiteX21" fmla="*/ 11991 w 277241"/>
                      <a:gd name="connsiteY21" fmla="*/ 105183 h 422047"/>
                      <a:gd name="connsiteX22" fmla="*/ 20879 w 277241"/>
                      <a:gd name="connsiteY22" fmla="*/ 128377 h 422047"/>
                      <a:gd name="connsiteX23" fmla="*/ 26447 w 277241"/>
                      <a:gd name="connsiteY23" fmla="*/ 150849 h 422047"/>
                      <a:gd name="connsiteX24" fmla="*/ 27981 w 277241"/>
                      <a:gd name="connsiteY24" fmla="*/ 152216 h 422047"/>
                      <a:gd name="connsiteX25" fmla="*/ 83417 w 277241"/>
                      <a:gd name="connsiteY25" fmla="*/ 157807 h 422047"/>
                      <a:gd name="connsiteX26" fmla="*/ 88742 w 277241"/>
                      <a:gd name="connsiteY26" fmla="*/ 158841 h 422047"/>
                      <a:gd name="connsiteX27" fmla="*/ 109158 w 277241"/>
                      <a:gd name="connsiteY27" fmla="*/ 159871 h 422047"/>
                      <a:gd name="connsiteX28" fmla="*/ 113007 w 277241"/>
                      <a:gd name="connsiteY28" fmla="*/ 282286 h 422047"/>
                      <a:gd name="connsiteX29" fmla="*/ 97523 w 277241"/>
                      <a:gd name="connsiteY29" fmla="*/ 286086 h 422047"/>
                      <a:gd name="connsiteX30" fmla="*/ 92429 w 277241"/>
                      <a:gd name="connsiteY30" fmla="*/ 294370 h 422047"/>
                      <a:gd name="connsiteX31" fmla="*/ 52588 w 277241"/>
                      <a:gd name="connsiteY31" fmla="*/ 321199 h 422047"/>
                      <a:gd name="connsiteX32" fmla="*/ 41692 w 277241"/>
                      <a:gd name="connsiteY32" fmla="*/ 343962 h 422047"/>
                      <a:gd name="connsiteX33" fmla="*/ 25591 w 277241"/>
                      <a:gd name="connsiteY33" fmla="*/ 345883 h 422047"/>
                      <a:gd name="connsiteX34" fmla="*/ 244 w 277241"/>
                      <a:gd name="connsiteY34" fmla="*/ 359734 h 422047"/>
                      <a:gd name="connsiteX35" fmla="*/ 1546 w 277241"/>
                      <a:gd name="connsiteY35" fmla="*/ 362410 h 422047"/>
                      <a:gd name="connsiteX36" fmla="*/ 16391 w 277241"/>
                      <a:gd name="connsiteY36" fmla="*/ 364908 h 422047"/>
                      <a:gd name="connsiteX37" fmla="*/ 44627 w 277241"/>
                      <a:gd name="connsiteY37" fmla="*/ 366310 h 422047"/>
                      <a:gd name="connsiteX38" fmla="*/ 54472 w 277241"/>
                      <a:gd name="connsiteY38" fmla="*/ 358838 h 422047"/>
                      <a:gd name="connsiteX39" fmla="*/ 64775 w 277241"/>
                      <a:gd name="connsiteY39" fmla="*/ 332118 h 422047"/>
                      <a:gd name="connsiteX40" fmla="*/ 91501 w 277241"/>
                      <a:gd name="connsiteY40" fmla="*/ 310557 h 422047"/>
                      <a:gd name="connsiteX41" fmla="*/ 93448 w 277241"/>
                      <a:gd name="connsiteY41" fmla="*/ 309812 h 422047"/>
                      <a:gd name="connsiteX42" fmla="*/ 94010 w 277241"/>
                      <a:gd name="connsiteY42" fmla="*/ 318900 h 422047"/>
                      <a:gd name="connsiteX43" fmla="*/ 98174 w 277241"/>
                      <a:gd name="connsiteY43" fmla="*/ 325596 h 422047"/>
                      <a:gd name="connsiteX44" fmla="*/ 93614 w 277241"/>
                      <a:gd name="connsiteY44" fmla="*/ 337154 h 422047"/>
                      <a:gd name="connsiteX45" fmla="*/ 61140 w 277241"/>
                      <a:gd name="connsiteY45" fmla="*/ 415939 h 422047"/>
                      <a:gd name="connsiteX46" fmla="*/ 72207 w 277241"/>
                      <a:gd name="connsiteY46" fmla="*/ 417687 h 422047"/>
                      <a:gd name="connsiteX47" fmla="*/ 83863 w 277241"/>
                      <a:gd name="connsiteY47" fmla="*/ 415865 h 422047"/>
                      <a:gd name="connsiteX48" fmla="*/ 113889 w 277241"/>
                      <a:gd name="connsiteY48" fmla="*/ 342474 h 422047"/>
                      <a:gd name="connsiteX49" fmla="*/ 118389 w 277241"/>
                      <a:gd name="connsiteY49" fmla="*/ 316482 h 422047"/>
                      <a:gd name="connsiteX50" fmla="*/ 188317 w 277241"/>
                      <a:gd name="connsiteY50" fmla="*/ 332306 h 422047"/>
                      <a:gd name="connsiteX51" fmla="*/ 192223 w 277241"/>
                      <a:gd name="connsiteY51" fmla="*/ 332751 h 422047"/>
                      <a:gd name="connsiteX52" fmla="*/ 206648 w 277241"/>
                      <a:gd name="connsiteY52" fmla="*/ 413486 h 422047"/>
                      <a:gd name="connsiteX53" fmla="*/ 209718 w 277241"/>
                      <a:gd name="connsiteY53" fmla="*/ 414554 h 422047"/>
                      <a:gd name="connsiteX54" fmla="*/ 215548 w 277241"/>
                      <a:gd name="connsiteY54" fmla="*/ 421764 h 422047"/>
                      <a:gd name="connsiteX55" fmla="*/ 216788 w 277241"/>
                      <a:gd name="connsiteY55" fmla="*/ 414003 h 422047"/>
                      <a:gd name="connsiteX56" fmla="*/ 218198 w 277241"/>
                      <a:gd name="connsiteY56" fmla="*/ 409872 h 422047"/>
                      <a:gd name="connsiteX57" fmla="*/ 220851 w 277241"/>
                      <a:gd name="connsiteY57" fmla="*/ 408407 h 422047"/>
                      <a:gd name="connsiteX58" fmla="*/ 231016 w 277241"/>
                      <a:gd name="connsiteY58" fmla="*/ 407262 h 422047"/>
                      <a:gd name="connsiteX59" fmla="*/ 249427 w 277241"/>
                      <a:gd name="connsiteY59" fmla="*/ 403221 h 422047"/>
                      <a:gd name="connsiteX60" fmla="*/ 259130 w 277241"/>
                      <a:gd name="connsiteY60" fmla="*/ 400175 h 422047"/>
                      <a:gd name="connsiteX61" fmla="*/ 260366 w 277241"/>
                      <a:gd name="connsiteY61" fmla="*/ 398050 h 422047"/>
                      <a:gd name="connsiteX62" fmla="*/ 259032 w 277241"/>
                      <a:gd name="connsiteY62" fmla="*/ 391723 h 422047"/>
                      <a:gd name="connsiteX63" fmla="*/ 271396 w 277241"/>
                      <a:gd name="connsiteY63" fmla="*/ 388913 h 422047"/>
                      <a:gd name="connsiteX64" fmla="*/ 276781 w 277241"/>
                      <a:gd name="connsiteY64" fmla="*/ 380062 h 422047"/>
                      <a:gd name="connsiteX65" fmla="*/ 109803 w 277241"/>
                      <a:gd name="connsiteY65" fmla="*/ 145566 h 422047"/>
                      <a:gd name="connsiteX66" fmla="*/ 106657 w 277241"/>
                      <a:gd name="connsiteY66" fmla="*/ 146137 h 422047"/>
                      <a:gd name="connsiteX67" fmla="*/ 90735 w 277241"/>
                      <a:gd name="connsiteY67" fmla="*/ 144521 h 422047"/>
                      <a:gd name="connsiteX68" fmla="*/ 87831 w 277241"/>
                      <a:gd name="connsiteY68" fmla="*/ 145475 h 422047"/>
                      <a:gd name="connsiteX69" fmla="*/ 84611 w 277241"/>
                      <a:gd name="connsiteY69" fmla="*/ 136260 h 422047"/>
                      <a:gd name="connsiteX70" fmla="*/ 97577 w 277241"/>
                      <a:gd name="connsiteY70" fmla="*/ 137431 h 422047"/>
                      <a:gd name="connsiteX71" fmla="*/ 109484 w 277241"/>
                      <a:gd name="connsiteY71" fmla="*/ 139487 h 422047"/>
                      <a:gd name="connsiteX72" fmla="*/ 109803 w 277241"/>
                      <a:gd name="connsiteY72" fmla="*/ 145566 h 422047"/>
                      <a:gd name="connsiteX73" fmla="*/ 185856 w 277241"/>
                      <a:gd name="connsiteY73" fmla="*/ 312813 h 422047"/>
                      <a:gd name="connsiteX74" fmla="*/ 134328 w 277241"/>
                      <a:gd name="connsiteY74" fmla="*/ 303116 h 422047"/>
                      <a:gd name="connsiteX75" fmla="*/ 131030 w 277241"/>
                      <a:gd name="connsiteY75" fmla="*/ 302927 h 422047"/>
                      <a:gd name="connsiteX76" fmla="*/ 127115 w 277241"/>
                      <a:gd name="connsiteY76" fmla="*/ 162164 h 422047"/>
                      <a:gd name="connsiteX77" fmla="*/ 127107 w 277241"/>
                      <a:gd name="connsiteY77" fmla="*/ 162147 h 422047"/>
                      <a:gd name="connsiteX78" fmla="*/ 127584 w 277241"/>
                      <a:gd name="connsiteY78" fmla="*/ 161950 h 422047"/>
                      <a:gd name="connsiteX79" fmla="*/ 175051 w 277241"/>
                      <a:gd name="connsiteY79" fmla="*/ 244750 h 422047"/>
                      <a:gd name="connsiteX80" fmla="*/ 186038 w 277241"/>
                      <a:gd name="connsiteY80" fmla="*/ 300923 h 422047"/>
                      <a:gd name="connsiteX81" fmla="*/ 188448 w 277241"/>
                      <a:gd name="connsiteY81" fmla="*/ 313278 h 422047"/>
                      <a:gd name="connsiteX82" fmla="*/ 185856 w 277241"/>
                      <a:gd name="connsiteY82" fmla="*/ 312813 h 42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77241" h="422047">
                        <a:moveTo>
                          <a:pt x="276781" y="380062"/>
                        </a:moveTo>
                        <a:cubicBezTo>
                          <a:pt x="275768" y="375976"/>
                          <a:pt x="272024" y="376150"/>
                          <a:pt x="270220" y="376233"/>
                        </a:cubicBezTo>
                        <a:cubicBezTo>
                          <a:pt x="269963" y="376244"/>
                          <a:pt x="258453" y="376541"/>
                          <a:pt x="252916" y="375939"/>
                        </a:cubicBezTo>
                        <a:cubicBezTo>
                          <a:pt x="252282" y="375927"/>
                          <a:pt x="250081" y="374231"/>
                          <a:pt x="248945" y="374482"/>
                        </a:cubicBezTo>
                        <a:cubicBezTo>
                          <a:pt x="228346" y="379194"/>
                          <a:pt x="219517" y="378012"/>
                          <a:pt x="216291" y="379245"/>
                        </a:cubicBezTo>
                        <a:cubicBezTo>
                          <a:pt x="213176" y="380436"/>
                          <a:pt x="212773" y="379165"/>
                          <a:pt x="212713" y="378817"/>
                        </a:cubicBezTo>
                        <a:cubicBezTo>
                          <a:pt x="201340" y="314103"/>
                          <a:pt x="188965" y="250517"/>
                          <a:pt x="175822" y="189350"/>
                        </a:cubicBezTo>
                        <a:cubicBezTo>
                          <a:pt x="170771" y="165753"/>
                          <a:pt x="152422" y="148144"/>
                          <a:pt x="126304" y="148199"/>
                        </a:cubicBezTo>
                        <a:cubicBezTo>
                          <a:pt x="126030" y="142245"/>
                          <a:pt x="125776" y="136303"/>
                          <a:pt x="125542" y="130373"/>
                        </a:cubicBezTo>
                        <a:cubicBezTo>
                          <a:pt x="128409" y="130004"/>
                          <a:pt x="141306" y="127049"/>
                          <a:pt x="141629" y="126672"/>
                        </a:cubicBezTo>
                        <a:cubicBezTo>
                          <a:pt x="142354" y="125867"/>
                          <a:pt x="141943" y="124756"/>
                          <a:pt x="141860" y="123800"/>
                        </a:cubicBezTo>
                        <a:cubicBezTo>
                          <a:pt x="141409" y="122232"/>
                          <a:pt x="142132" y="120205"/>
                          <a:pt x="140650" y="119220"/>
                        </a:cubicBezTo>
                        <a:cubicBezTo>
                          <a:pt x="136921" y="117227"/>
                          <a:pt x="134368" y="113940"/>
                          <a:pt x="130619" y="112076"/>
                        </a:cubicBezTo>
                        <a:cubicBezTo>
                          <a:pt x="128711" y="111042"/>
                          <a:pt x="126324" y="111122"/>
                          <a:pt x="124840" y="110742"/>
                        </a:cubicBezTo>
                        <a:cubicBezTo>
                          <a:pt x="123689" y="74702"/>
                          <a:pt x="123332" y="38882"/>
                          <a:pt x="123960" y="2479"/>
                        </a:cubicBezTo>
                        <a:cubicBezTo>
                          <a:pt x="124134" y="1437"/>
                          <a:pt x="123235" y="403"/>
                          <a:pt x="122173" y="440"/>
                        </a:cubicBezTo>
                        <a:cubicBezTo>
                          <a:pt x="118701" y="471"/>
                          <a:pt x="114578" y="443"/>
                          <a:pt x="110334" y="12"/>
                        </a:cubicBezTo>
                        <a:cubicBezTo>
                          <a:pt x="109295" y="-114"/>
                          <a:pt x="108316" y="786"/>
                          <a:pt x="108364" y="1833"/>
                        </a:cubicBezTo>
                        <a:cubicBezTo>
                          <a:pt x="109110" y="29813"/>
                          <a:pt x="108170" y="56656"/>
                          <a:pt x="108250" y="83676"/>
                        </a:cubicBezTo>
                        <a:cubicBezTo>
                          <a:pt x="107725" y="94995"/>
                          <a:pt x="110229" y="107536"/>
                          <a:pt x="106031" y="118120"/>
                        </a:cubicBezTo>
                        <a:cubicBezTo>
                          <a:pt x="74823" y="112744"/>
                          <a:pt x="43137" y="106822"/>
                          <a:pt x="12268" y="103370"/>
                        </a:cubicBezTo>
                        <a:cubicBezTo>
                          <a:pt x="11848" y="103878"/>
                          <a:pt x="11742" y="104575"/>
                          <a:pt x="11991" y="105183"/>
                        </a:cubicBezTo>
                        <a:cubicBezTo>
                          <a:pt x="15488" y="112507"/>
                          <a:pt x="17105" y="121298"/>
                          <a:pt x="20879" y="128377"/>
                        </a:cubicBezTo>
                        <a:cubicBezTo>
                          <a:pt x="21619" y="135678"/>
                          <a:pt x="25122" y="143159"/>
                          <a:pt x="26447" y="150849"/>
                        </a:cubicBezTo>
                        <a:cubicBezTo>
                          <a:pt x="26621" y="151582"/>
                          <a:pt x="27232" y="152128"/>
                          <a:pt x="27981" y="152216"/>
                        </a:cubicBezTo>
                        <a:cubicBezTo>
                          <a:pt x="46549" y="154398"/>
                          <a:pt x="64863" y="155523"/>
                          <a:pt x="83417" y="157807"/>
                        </a:cubicBezTo>
                        <a:cubicBezTo>
                          <a:pt x="84337" y="157941"/>
                          <a:pt x="87223" y="159012"/>
                          <a:pt x="88742" y="158841"/>
                        </a:cubicBezTo>
                        <a:cubicBezTo>
                          <a:pt x="95267" y="157798"/>
                          <a:pt x="102402" y="158715"/>
                          <a:pt x="109158" y="159871"/>
                        </a:cubicBezTo>
                        <a:cubicBezTo>
                          <a:pt x="112130" y="200563"/>
                          <a:pt x="112239" y="241243"/>
                          <a:pt x="113007" y="282286"/>
                        </a:cubicBezTo>
                        <a:cubicBezTo>
                          <a:pt x="113007" y="282849"/>
                          <a:pt x="107559" y="279396"/>
                          <a:pt x="97523" y="286086"/>
                        </a:cubicBezTo>
                        <a:cubicBezTo>
                          <a:pt x="92040" y="289390"/>
                          <a:pt x="92797" y="287925"/>
                          <a:pt x="92429" y="294370"/>
                        </a:cubicBezTo>
                        <a:cubicBezTo>
                          <a:pt x="70008" y="281823"/>
                          <a:pt x="58284" y="300540"/>
                          <a:pt x="52588" y="321199"/>
                        </a:cubicBezTo>
                        <a:cubicBezTo>
                          <a:pt x="49855" y="329648"/>
                          <a:pt x="47274" y="337628"/>
                          <a:pt x="41692" y="343962"/>
                        </a:cubicBezTo>
                        <a:cubicBezTo>
                          <a:pt x="37629" y="348233"/>
                          <a:pt x="30987" y="346600"/>
                          <a:pt x="25591" y="345883"/>
                        </a:cubicBezTo>
                        <a:cubicBezTo>
                          <a:pt x="3322" y="343342"/>
                          <a:pt x="14560" y="337437"/>
                          <a:pt x="244" y="359734"/>
                        </a:cubicBezTo>
                        <a:cubicBezTo>
                          <a:pt x="-404" y="360782"/>
                          <a:pt x="312" y="362281"/>
                          <a:pt x="1546" y="362410"/>
                        </a:cubicBezTo>
                        <a:cubicBezTo>
                          <a:pt x="6503" y="363084"/>
                          <a:pt x="11528" y="364012"/>
                          <a:pt x="16391" y="364908"/>
                        </a:cubicBezTo>
                        <a:cubicBezTo>
                          <a:pt x="25048" y="365916"/>
                          <a:pt x="35913" y="369114"/>
                          <a:pt x="44627" y="366310"/>
                        </a:cubicBezTo>
                        <a:cubicBezTo>
                          <a:pt x="47968" y="363252"/>
                          <a:pt x="51306" y="362247"/>
                          <a:pt x="54472" y="358838"/>
                        </a:cubicBezTo>
                        <a:cubicBezTo>
                          <a:pt x="58450" y="350112"/>
                          <a:pt x="61565" y="341095"/>
                          <a:pt x="64775" y="332118"/>
                        </a:cubicBezTo>
                        <a:cubicBezTo>
                          <a:pt x="69086" y="317984"/>
                          <a:pt x="74197" y="305517"/>
                          <a:pt x="91501" y="310557"/>
                        </a:cubicBezTo>
                        <a:cubicBezTo>
                          <a:pt x="92226" y="310757"/>
                          <a:pt x="93043" y="310443"/>
                          <a:pt x="93448" y="309812"/>
                        </a:cubicBezTo>
                        <a:cubicBezTo>
                          <a:pt x="93645" y="312850"/>
                          <a:pt x="93771" y="315851"/>
                          <a:pt x="94010" y="318900"/>
                        </a:cubicBezTo>
                        <a:cubicBezTo>
                          <a:pt x="93882" y="321990"/>
                          <a:pt x="94567" y="324959"/>
                          <a:pt x="98174" y="325596"/>
                        </a:cubicBezTo>
                        <a:cubicBezTo>
                          <a:pt x="98719" y="325693"/>
                          <a:pt x="93733" y="336823"/>
                          <a:pt x="93614" y="337154"/>
                        </a:cubicBezTo>
                        <a:cubicBezTo>
                          <a:pt x="83945" y="363832"/>
                          <a:pt x="71279" y="389484"/>
                          <a:pt x="61140" y="415939"/>
                        </a:cubicBezTo>
                        <a:cubicBezTo>
                          <a:pt x="60060" y="420505"/>
                          <a:pt x="69780" y="417355"/>
                          <a:pt x="72207" y="417687"/>
                        </a:cubicBezTo>
                        <a:cubicBezTo>
                          <a:pt x="74677" y="416956"/>
                          <a:pt x="83200" y="417932"/>
                          <a:pt x="83863" y="415865"/>
                        </a:cubicBezTo>
                        <a:cubicBezTo>
                          <a:pt x="93568" y="391318"/>
                          <a:pt x="102562" y="366582"/>
                          <a:pt x="113889" y="342474"/>
                        </a:cubicBezTo>
                        <a:cubicBezTo>
                          <a:pt x="116411" y="335670"/>
                          <a:pt x="118110" y="322946"/>
                          <a:pt x="118389" y="316482"/>
                        </a:cubicBezTo>
                        <a:cubicBezTo>
                          <a:pt x="142603" y="322509"/>
                          <a:pt x="166042" y="326807"/>
                          <a:pt x="188317" y="332306"/>
                        </a:cubicBezTo>
                        <a:cubicBezTo>
                          <a:pt x="188879" y="332455"/>
                          <a:pt x="190590" y="332677"/>
                          <a:pt x="192223" y="332751"/>
                        </a:cubicBezTo>
                        <a:cubicBezTo>
                          <a:pt x="197363" y="359469"/>
                          <a:pt x="202377" y="386583"/>
                          <a:pt x="206648" y="413486"/>
                        </a:cubicBezTo>
                        <a:cubicBezTo>
                          <a:pt x="206782" y="414469"/>
                          <a:pt x="209124" y="414660"/>
                          <a:pt x="209718" y="414554"/>
                        </a:cubicBezTo>
                        <a:cubicBezTo>
                          <a:pt x="210923" y="414340"/>
                          <a:pt x="209615" y="423786"/>
                          <a:pt x="215548" y="421764"/>
                        </a:cubicBezTo>
                        <a:cubicBezTo>
                          <a:pt x="220531" y="420068"/>
                          <a:pt x="216048" y="414197"/>
                          <a:pt x="216788" y="414003"/>
                        </a:cubicBezTo>
                        <a:cubicBezTo>
                          <a:pt x="218095" y="413658"/>
                          <a:pt x="218692" y="412693"/>
                          <a:pt x="218198" y="409872"/>
                        </a:cubicBezTo>
                        <a:cubicBezTo>
                          <a:pt x="218090" y="409258"/>
                          <a:pt x="218835" y="408724"/>
                          <a:pt x="220851" y="408407"/>
                        </a:cubicBezTo>
                        <a:cubicBezTo>
                          <a:pt x="223012" y="408067"/>
                          <a:pt x="228780" y="407973"/>
                          <a:pt x="231016" y="407262"/>
                        </a:cubicBezTo>
                        <a:cubicBezTo>
                          <a:pt x="237123" y="405720"/>
                          <a:pt x="243477" y="404983"/>
                          <a:pt x="249427" y="403221"/>
                        </a:cubicBezTo>
                        <a:cubicBezTo>
                          <a:pt x="252819" y="403339"/>
                          <a:pt x="255957" y="400977"/>
                          <a:pt x="259130" y="400175"/>
                        </a:cubicBezTo>
                        <a:cubicBezTo>
                          <a:pt x="260040" y="399906"/>
                          <a:pt x="260583" y="398976"/>
                          <a:pt x="260366" y="398050"/>
                        </a:cubicBezTo>
                        <a:cubicBezTo>
                          <a:pt x="259692" y="396075"/>
                          <a:pt x="260086" y="393550"/>
                          <a:pt x="259032" y="391723"/>
                        </a:cubicBezTo>
                        <a:cubicBezTo>
                          <a:pt x="261674" y="390735"/>
                          <a:pt x="270899" y="391455"/>
                          <a:pt x="271396" y="388913"/>
                        </a:cubicBezTo>
                        <a:cubicBezTo>
                          <a:pt x="277261" y="391926"/>
                          <a:pt x="277912" y="382837"/>
                          <a:pt x="276781" y="380062"/>
                        </a:cubicBezTo>
                        <a:close/>
                        <a:moveTo>
                          <a:pt x="109803" y="145566"/>
                        </a:moveTo>
                        <a:cubicBezTo>
                          <a:pt x="109407" y="146506"/>
                          <a:pt x="109138" y="146631"/>
                          <a:pt x="106657" y="146137"/>
                        </a:cubicBezTo>
                        <a:cubicBezTo>
                          <a:pt x="101140" y="144835"/>
                          <a:pt x="96238" y="145558"/>
                          <a:pt x="90735" y="144521"/>
                        </a:cubicBezTo>
                        <a:cubicBezTo>
                          <a:pt x="89942" y="144335"/>
                          <a:pt x="88460" y="145124"/>
                          <a:pt x="87831" y="145475"/>
                        </a:cubicBezTo>
                        <a:cubicBezTo>
                          <a:pt x="86712" y="142976"/>
                          <a:pt x="85367" y="138516"/>
                          <a:pt x="84611" y="136260"/>
                        </a:cubicBezTo>
                        <a:cubicBezTo>
                          <a:pt x="84731" y="135375"/>
                          <a:pt x="91886" y="136766"/>
                          <a:pt x="97577" y="137431"/>
                        </a:cubicBezTo>
                        <a:cubicBezTo>
                          <a:pt x="100172" y="137734"/>
                          <a:pt x="107882" y="138351"/>
                          <a:pt x="109484" y="139487"/>
                        </a:cubicBezTo>
                        <a:cubicBezTo>
                          <a:pt x="110123" y="141531"/>
                          <a:pt x="111017" y="142802"/>
                          <a:pt x="109803" y="145566"/>
                        </a:cubicBezTo>
                        <a:close/>
                        <a:moveTo>
                          <a:pt x="185856" y="312813"/>
                        </a:moveTo>
                        <a:cubicBezTo>
                          <a:pt x="166128" y="310231"/>
                          <a:pt x="152077" y="308858"/>
                          <a:pt x="134328" y="303116"/>
                        </a:cubicBezTo>
                        <a:cubicBezTo>
                          <a:pt x="133668" y="302845"/>
                          <a:pt x="131527" y="302413"/>
                          <a:pt x="131030" y="302927"/>
                        </a:cubicBezTo>
                        <a:cubicBezTo>
                          <a:pt x="126781" y="256842"/>
                          <a:pt x="127292" y="208161"/>
                          <a:pt x="127115" y="162164"/>
                        </a:cubicBezTo>
                        <a:cubicBezTo>
                          <a:pt x="127113" y="162159"/>
                          <a:pt x="127110" y="162153"/>
                          <a:pt x="127107" y="162147"/>
                        </a:cubicBezTo>
                        <a:cubicBezTo>
                          <a:pt x="127275" y="162104"/>
                          <a:pt x="127435" y="162039"/>
                          <a:pt x="127584" y="161950"/>
                        </a:cubicBezTo>
                        <a:cubicBezTo>
                          <a:pt x="168975" y="166687"/>
                          <a:pt x="167156" y="216582"/>
                          <a:pt x="175051" y="244750"/>
                        </a:cubicBezTo>
                        <a:cubicBezTo>
                          <a:pt x="178780" y="263315"/>
                          <a:pt x="182418" y="282474"/>
                          <a:pt x="186038" y="300923"/>
                        </a:cubicBezTo>
                        <a:cubicBezTo>
                          <a:pt x="186841" y="305026"/>
                          <a:pt x="187643" y="309146"/>
                          <a:pt x="188448" y="313278"/>
                        </a:cubicBezTo>
                        <a:cubicBezTo>
                          <a:pt x="187280" y="313024"/>
                          <a:pt x="186187" y="312847"/>
                          <a:pt x="185856" y="312813"/>
                        </a:cubicBezTo>
                        <a:close/>
                      </a:path>
                    </a:pathLst>
                  </a:custGeom>
                  <a:solidFill>
                    <a:srgbClr val="FFFFFF"/>
                  </a:solidFill>
                  <a:ln w="2826" cap="flat">
                    <a:noFill/>
                    <a:prstDash val="solid"/>
                    <a:miter/>
                  </a:ln>
                </p:spPr>
                <p:txBody>
                  <a:bodyPr rtlCol="0" anchor="ctr"/>
                  <a:lstStyle/>
                  <a:p>
                    <a:endParaRPr lang="fr-CA"/>
                  </a:p>
                </p:txBody>
              </p:sp>
              <p:sp>
                <p:nvSpPr>
                  <p:cNvPr id="1477" name="Forme libre : forme 1476">
                    <a:extLst>
                      <a:ext uri="{FF2B5EF4-FFF2-40B4-BE49-F238E27FC236}">
                        <a16:creationId xmlns:a16="http://schemas.microsoft.com/office/drawing/2014/main" id="{EA60D1A0-1658-8982-CDF1-ED9AB6896450}"/>
                      </a:ext>
                    </a:extLst>
                  </p:cNvPr>
                  <p:cNvSpPr/>
                  <p:nvPr/>
                </p:nvSpPr>
                <p:spPr>
                  <a:xfrm>
                    <a:off x="9279160" y="4338486"/>
                    <a:ext cx="74751" cy="98673"/>
                  </a:xfrm>
                  <a:custGeom>
                    <a:avLst/>
                    <a:gdLst>
                      <a:gd name="connsiteX0" fmla="*/ 74672 w 74751"/>
                      <a:gd name="connsiteY0" fmla="*/ 31495 h 98673"/>
                      <a:gd name="connsiteX1" fmla="*/ 66434 w 74751"/>
                      <a:gd name="connsiteY1" fmla="*/ 11413 h 98673"/>
                      <a:gd name="connsiteX2" fmla="*/ 2163 w 74751"/>
                      <a:gd name="connsiteY2" fmla="*/ 23 h 98673"/>
                      <a:gd name="connsiteX3" fmla="*/ 733 w 74751"/>
                      <a:gd name="connsiteY3" fmla="*/ 414 h 98673"/>
                      <a:gd name="connsiteX4" fmla="*/ 1835 w 74751"/>
                      <a:gd name="connsiteY4" fmla="*/ 20239 h 98673"/>
                      <a:gd name="connsiteX5" fmla="*/ 3936 w 74751"/>
                      <a:gd name="connsiteY5" fmla="*/ 22172 h 98673"/>
                      <a:gd name="connsiteX6" fmla="*/ 1972 w 74751"/>
                      <a:gd name="connsiteY6" fmla="*/ 88887 h 98673"/>
                      <a:gd name="connsiteX7" fmla="*/ 3322 w 74751"/>
                      <a:gd name="connsiteY7" fmla="*/ 90660 h 98673"/>
                      <a:gd name="connsiteX8" fmla="*/ 12851 w 74751"/>
                      <a:gd name="connsiteY8" fmla="*/ 97833 h 98673"/>
                      <a:gd name="connsiteX9" fmla="*/ 16166 w 74751"/>
                      <a:gd name="connsiteY9" fmla="*/ 96968 h 98673"/>
                      <a:gd name="connsiteX10" fmla="*/ 18596 w 74751"/>
                      <a:gd name="connsiteY10" fmla="*/ 24850 h 98673"/>
                      <a:gd name="connsiteX11" fmla="*/ 48228 w 74751"/>
                      <a:gd name="connsiteY11" fmla="*/ 29230 h 98673"/>
                      <a:gd name="connsiteX12" fmla="*/ 54273 w 74751"/>
                      <a:gd name="connsiteY12" fmla="*/ 31458 h 98673"/>
                      <a:gd name="connsiteX13" fmla="*/ 74672 w 74751"/>
                      <a:gd name="connsiteY13" fmla="*/ 31495 h 9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51" h="98673">
                        <a:moveTo>
                          <a:pt x="74672" y="31495"/>
                        </a:moveTo>
                        <a:cubicBezTo>
                          <a:pt x="72153" y="24588"/>
                          <a:pt x="69381" y="17829"/>
                          <a:pt x="66434" y="11413"/>
                        </a:cubicBezTo>
                        <a:cubicBezTo>
                          <a:pt x="64401" y="9243"/>
                          <a:pt x="6206" y="685"/>
                          <a:pt x="2163" y="23"/>
                        </a:cubicBezTo>
                        <a:cubicBezTo>
                          <a:pt x="1652" y="-60"/>
                          <a:pt x="1130" y="83"/>
                          <a:pt x="733" y="414"/>
                        </a:cubicBezTo>
                        <a:cubicBezTo>
                          <a:pt x="-1186" y="5911"/>
                          <a:pt x="1198" y="13486"/>
                          <a:pt x="1835" y="20239"/>
                        </a:cubicBezTo>
                        <a:cubicBezTo>
                          <a:pt x="1955" y="21407"/>
                          <a:pt x="3160" y="21598"/>
                          <a:pt x="3936" y="22172"/>
                        </a:cubicBezTo>
                        <a:cubicBezTo>
                          <a:pt x="2780" y="23143"/>
                          <a:pt x="2383" y="87677"/>
                          <a:pt x="1972" y="88887"/>
                        </a:cubicBezTo>
                        <a:cubicBezTo>
                          <a:pt x="1952" y="89718"/>
                          <a:pt x="2511" y="90455"/>
                          <a:pt x="3322" y="90660"/>
                        </a:cubicBezTo>
                        <a:cubicBezTo>
                          <a:pt x="7468" y="91694"/>
                          <a:pt x="10761" y="94255"/>
                          <a:pt x="12851" y="97833"/>
                        </a:cubicBezTo>
                        <a:cubicBezTo>
                          <a:pt x="13707" y="99329"/>
                          <a:pt x="16157" y="98695"/>
                          <a:pt x="16166" y="96968"/>
                        </a:cubicBezTo>
                        <a:cubicBezTo>
                          <a:pt x="15926" y="95746"/>
                          <a:pt x="19344" y="25990"/>
                          <a:pt x="18596" y="24850"/>
                        </a:cubicBezTo>
                        <a:cubicBezTo>
                          <a:pt x="26979" y="26415"/>
                          <a:pt x="38694" y="28362"/>
                          <a:pt x="48228" y="29230"/>
                        </a:cubicBezTo>
                        <a:cubicBezTo>
                          <a:pt x="49722" y="30464"/>
                          <a:pt x="53488" y="32003"/>
                          <a:pt x="54273" y="31458"/>
                        </a:cubicBezTo>
                        <a:cubicBezTo>
                          <a:pt x="56560" y="29382"/>
                          <a:pt x="76151" y="37331"/>
                          <a:pt x="74672" y="31495"/>
                        </a:cubicBezTo>
                        <a:close/>
                      </a:path>
                    </a:pathLst>
                  </a:custGeom>
                  <a:solidFill>
                    <a:srgbClr val="FFFFFF"/>
                  </a:solidFill>
                  <a:ln w="2826" cap="flat">
                    <a:noFill/>
                    <a:prstDash val="solid"/>
                    <a:miter/>
                  </a:ln>
                </p:spPr>
                <p:txBody>
                  <a:bodyPr rtlCol="0" anchor="ctr"/>
                  <a:lstStyle/>
                  <a:p>
                    <a:endParaRPr lang="fr-CA"/>
                  </a:p>
                </p:txBody>
              </p:sp>
              <p:sp>
                <p:nvSpPr>
                  <p:cNvPr id="1478" name="Forme libre : forme 1477">
                    <a:extLst>
                      <a:ext uri="{FF2B5EF4-FFF2-40B4-BE49-F238E27FC236}">
                        <a16:creationId xmlns:a16="http://schemas.microsoft.com/office/drawing/2014/main" id="{36AF8DDE-6757-FECB-10B1-9FBA4D043C9F}"/>
                      </a:ext>
                    </a:extLst>
                  </p:cNvPr>
                  <p:cNvSpPr/>
                  <p:nvPr/>
                </p:nvSpPr>
                <p:spPr>
                  <a:xfrm>
                    <a:off x="9252901" y="4572260"/>
                    <a:ext cx="92973" cy="33700"/>
                  </a:xfrm>
                  <a:custGeom>
                    <a:avLst/>
                    <a:gdLst>
                      <a:gd name="connsiteX0" fmla="*/ 91626 w 92973"/>
                      <a:gd name="connsiteY0" fmla="*/ 17057 h 33700"/>
                      <a:gd name="connsiteX1" fmla="*/ 63775 w 92973"/>
                      <a:gd name="connsiteY1" fmla="*/ 11529 h 33700"/>
                      <a:gd name="connsiteX2" fmla="*/ 22129 w 92973"/>
                      <a:gd name="connsiteY2" fmla="*/ 2852 h 33700"/>
                      <a:gd name="connsiteX3" fmla="*/ 4478 w 92973"/>
                      <a:gd name="connsiteY3" fmla="*/ 490 h 33700"/>
                      <a:gd name="connsiteX4" fmla="*/ 2299 w 92973"/>
                      <a:gd name="connsiteY4" fmla="*/ 14227 h 33700"/>
                      <a:gd name="connsiteX5" fmla="*/ 13147 w 92973"/>
                      <a:gd name="connsiteY5" fmla="*/ 17962 h 33700"/>
                      <a:gd name="connsiteX6" fmla="*/ 56725 w 92973"/>
                      <a:gd name="connsiteY6" fmla="*/ 29892 h 33700"/>
                      <a:gd name="connsiteX7" fmla="*/ 83511 w 92973"/>
                      <a:gd name="connsiteY7" fmla="*/ 33541 h 33700"/>
                      <a:gd name="connsiteX8" fmla="*/ 92677 w 92973"/>
                      <a:gd name="connsiteY8" fmla="*/ 19787 h 33700"/>
                      <a:gd name="connsiteX9" fmla="*/ 91626 w 92973"/>
                      <a:gd name="connsiteY9" fmla="*/ 17057 h 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73" h="33700">
                        <a:moveTo>
                          <a:pt x="91626" y="17057"/>
                        </a:moveTo>
                        <a:cubicBezTo>
                          <a:pt x="85313" y="15435"/>
                          <a:pt x="64183" y="11586"/>
                          <a:pt x="63775" y="11529"/>
                        </a:cubicBezTo>
                        <a:cubicBezTo>
                          <a:pt x="49624" y="9547"/>
                          <a:pt x="36258" y="5124"/>
                          <a:pt x="22129" y="2852"/>
                        </a:cubicBezTo>
                        <a:cubicBezTo>
                          <a:pt x="16353" y="1941"/>
                          <a:pt x="10562" y="-1197"/>
                          <a:pt x="4478" y="490"/>
                        </a:cubicBezTo>
                        <a:cubicBezTo>
                          <a:pt x="-1433" y="2489"/>
                          <a:pt x="-762" y="10019"/>
                          <a:pt x="2299" y="14227"/>
                        </a:cubicBezTo>
                        <a:cubicBezTo>
                          <a:pt x="2913" y="16592"/>
                          <a:pt x="10831" y="16780"/>
                          <a:pt x="13147" y="17962"/>
                        </a:cubicBezTo>
                        <a:cubicBezTo>
                          <a:pt x="19183" y="19772"/>
                          <a:pt x="48933" y="28458"/>
                          <a:pt x="56725" y="29892"/>
                        </a:cubicBezTo>
                        <a:cubicBezTo>
                          <a:pt x="60066" y="30845"/>
                          <a:pt x="81378" y="34503"/>
                          <a:pt x="83511" y="33541"/>
                        </a:cubicBezTo>
                        <a:cubicBezTo>
                          <a:pt x="83511" y="33541"/>
                          <a:pt x="92677" y="19787"/>
                          <a:pt x="92677" y="19787"/>
                        </a:cubicBezTo>
                        <a:cubicBezTo>
                          <a:pt x="93365" y="18807"/>
                          <a:pt x="92794" y="17320"/>
                          <a:pt x="91626" y="17057"/>
                        </a:cubicBezTo>
                        <a:close/>
                      </a:path>
                    </a:pathLst>
                  </a:custGeom>
                  <a:solidFill>
                    <a:srgbClr val="FFFFFF"/>
                  </a:solidFill>
                  <a:ln w="2826" cap="flat">
                    <a:noFill/>
                    <a:prstDash val="solid"/>
                    <a:miter/>
                  </a:ln>
                </p:spPr>
                <p:txBody>
                  <a:bodyPr rtlCol="0" anchor="ctr"/>
                  <a:lstStyle/>
                  <a:p>
                    <a:endParaRPr lang="fr-CA"/>
                  </a:p>
                </p:txBody>
              </p:sp>
              <p:sp>
                <p:nvSpPr>
                  <p:cNvPr id="1479" name="Forme libre : forme 1478">
                    <a:extLst>
                      <a:ext uri="{FF2B5EF4-FFF2-40B4-BE49-F238E27FC236}">
                        <a16:creationId xmlns:a16="http://schemas.microsoft.com/office/drawing/2014/main" id="{F9421263-FE65-06C2-8D5C-E75FEDFD9CDA}"/>
                      </a:ext>
                    </a:extLst>
                  </p:cNvPr>
                  <p:cNvSpPr/>
                  <p:nvPr/>
                </p:nvSpPr>
                <p:spPr>
                  <a:xfrm>
                    <a:off x="9253800" y="4047030"/>
                    <a:ext cx="34716" cy="211841"/>
                  </a:xfrm>
                  <a:custGeom>
                    <a:avLst/>
                    <a:gdLst>
                      <a:gd name="connsiteX0" fmla="*/ 3673 w 34716"/>
                      <a:gd name="connsiteY0" fmla="*/ 16611 h 211841"/>
                      <a:gd name="connsiteX1" fmla="*/ 13921 w 34716"/>
                      <a:gd name="connsiteY1" fmla="*/ 34617 h 211841"/>
                      <a:gd name="connsiteX2" fmla="*/ 18406 w 34716"/>
                      <a:gd name="connsiteY2" fmla="*/ 87618 h 211841"/>
                      <a:gd name="connsiteX3" fmla="*/ 23460 w 34716"/>
                      <a:gd name="connsiteY3" fmla="*/ 192178 h 211841"/>
                      <a:gd name="connsiteX4" fmla="*/ 22903 w 34716"/>
                      <a:gd name="connsiteY4" fmla="*/ 200767 h 211841"/>
                      <a:gd name="connsiteX5" fmla="*/ 21830 w 34716"/>
                      <a:gd name="connsiteY5" fmla="*/ 208260 h 211841"/>
                      <a:gd name="connsiteX6" fmla="*/ 31213 w 34716"/>
                      <a:gd name="connsiteY6" fmla="*/ 211689 h 211841"/>
                      <a:gd name="connsiteX7" fmla="*/ 33642 w 34716"/>
                      <a:gd name="connsiteY7" fmla="*/ 209550 h 211841"/>
                      <a:gd name="connsiteX8" fmla="*/ 32980 w 34716"/>
                      <a:gd name="connsiteY8" fmla="*/ 67996 h 211841"/>
                      <a:gd name="connsiteX9" fmla="*/ 6551 w 34716"/>
                      <a:gd name="connsiteY9" fmla="*/ 73 h 211841"/>
                      <a:gd name="connsiteX10" fmla="*/ 4743 w 34716"/>
                      <a:gd name="connsiteY10" fmla="*/ 561 h 211841"/>
                      <a:gd name="connsiteX11" fmla="*/ 3673 w 34716"/>
                      <a:gd name="connsiteY11" fmla="*/ 16611 h 21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716" h="211841">
                        <a:moveTo>
                          <a:pt x="3673" y="16611"/>
                        </a:moveTo>
                        <a:cubicBezTo>
                          <a:pt x="9109" y="19315"/>
                          <a:pt x="12938" y="26043"/>
                          <a:pt x="13921" y="34617"/>
                        </a:cubicBezTo>
                        <a:cubicBezTo>
                          <a:pt x="15991" y="52323"/>
                          <a:pt x="17084" y="70026"/>
                          <a:pt x="18406" y="87618"/>
                        </a:cubicBezTo>
                        <a:cubicBezTo>
                          <a:pt x="20548" y="128458"/>
                          <a:pt x="23497" y="154425"/>
                          <a:pt x="23460" y="192178"/>
                        </a:cubicBezTo>
                        <a:cubicBezTo>
                          <a:pt x="23452" y="192307"/>
                          <a:pt x="23300" y="200721"/>
                          <a:pt x="22903" y="200767"/>
                        </a:cubicBezTo>
                        <a:cubicBezTo>
                          <a:pt x="21407" y="200887"/>
                          <a:pt x="19771" y="207440"/>
                          <a:pt x="21830" y="208260"/>
                        </a:cubicBezTo>
                        <a:cubicBezTo>
                          <a:pt x="24942" y="209182"/>
                          <a:pt x="28097" y="210335"/>
                          <a:pt x="31213" y="211689"/>
                        </a:cubicBezTo>
                        <a:cubicBezTo>
                          <a:pt x="32532" y="212303"/>
                          <a:pt x="34102" y="210958"/>
                          <a:pt x="33642" y="209550"/>
                        </a:cubicBezTo>
                        <a:cubicBezTo>
                          <a:pt x="33026" y="166060"/>
                          <a:pt x="36806" y="114367"/>
                          <a:pt x="32980" y="67996"/>
                        </a:cubicBezTo>
                        <a:cubicBezTo>
                          <a:pt x="31115" y="44894"/>
                          <a:pt x="34479" y="9410"/>
                          <a:pt x="6551" y="73"/>
                        </a:cubicBezTo>
                        <a:cubicBezTo>
                          <a:pt x="5906" y="-118"/>
                          <a:pt x="5206" y="73"/>
                          <a:pt x="4743" y="561"/>
                        </a:cubicBezTo>
                        <a:cubicBezTo>
                          <a:pt x="640" y="4622"/>
                          <a:pt x="-2966" y="10644"/>
                          <a:pt x="3673" y="16611"/>
                        </a:cubicBezTo>
                        <a:close/>
                      </a:path>
                    </a:pathLst>
                  </a:custGeom>
                  <a:solidFill>
                    <a:srgbClr val="FFFFFF"/>
                  </a:solidFill>
                  <a:ln w="2826" cap="flat">
                    <a:noFill/>
                    <a:prstDash val="solid"/>
                    <a:miter/>
                  </a:ln>
                </p:spPr>
                <p:txBody>
                  <a:bodyPr rtlCol="0" anchor="ctr"/>
                  <a:lstStyle/>
                  <a:p>
                    <a:endParaRPr lang="fr-CA"/>
                  </a:p>
                </p:txBody>
              </p:sp>
              <p:sp>
                <p:nvSpPr>
                  <p:cNvPr id="1480" name="Forme libre : forme 1479">
                    <a:extLst>
                      <a:ext uri="{FF2B5EF4-FFF2-40B4-BE49-F238E27FC236}">
                        <a16:creationId xmlns:a16="http://schemas.microsoft.com/office/drawing/2014/main" id="{135A1469-2ED0-F87E-E62E-E33C81BCDD33}"/>
                      </a:ext>
                    </a:extLst>
                  </p:cNvPr>
                  <p:cNvSpPr/>
                  <p:nvPr/>
                </p:nvSpPr>
                <p:spPr>
                  <a:xfrm>
                    <a:off x="9260367" y="4438513"/>
                    <a:ext cx="13525" cy="21450"/>
                  </a:xfrm>
                  <a:custGeom>
                    <a:avLst/>
                    <a:gdLst>
                      <a:gd name="connsiteX0" fmla="*/ 3182 w 13525"/>
                      <a:gd name="connsiteY0" fmla="*/ 20769 h 21450"/>
                      <a:gd name="connsiteX1" fmla="*/ 4724 w 13525"/>
                      <a:gd name="connsiteY1" fmla="*/ 21445 h 21450"/>
                      <a:gd name="connsiteX2" fmla="*/ 11831 w 13525"/>
                      <a:gd name="connsiteY2" fmla="*/ 6089 h 21450"/>
                      <a:gd name="connsiteX3" fmla="*/ 158 w 13525"/>
                      <a:gd name="connsiteY3" fmla="*/ 1270 h 21450"/>
                      <a:gd name="connsiteX4" fmla="*/ 1692 w 13525"/>
                      <a:gd name="connsiteY4" fmla="*/ 5938 h 21450"/>
                      <a:gd name="connsiteX5" fmla="*/ 2885 w 13525"/>
                      <a:gd name="connsiteY5" fmla="*/ 19113 h 21450"/>
                      <a:gd name="connsiteX6" fmla="*/ 3182 w 13525"/>
                      <a:gd name="connsiteY6" fmla="*/ 20769 h 2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21450">
                        <a:moveTo>
                          <a:pt x="3182" y="20769"/>
                        </a:moveTo>
                        <a:cubicBezTo>
                          <a:pt x="3551" y="21237"/>
                          <a:pt x="4133" y="21491"/>
                          <a:pt x="4724" y="21445"/>
                        </a:cubicBezTo>
                        <a:cubicBezTo>
                          <a:pt x="13496" y="20752"/>
                          <a:pt x="15389" y="14127"/>
                          <a:pt x="11831" y="6089"/>
                        </a:cubicBezTo>
                        <a:cubicBezTo>
                          <a:pt x="10246" y="-852"/>
                          <a:pt x="2086" y="-915"/>
                          <a:pt x="158" y="1270"/>
                        </a:cubicBezTo>
                        <a:cubicBezTo>
                          <a:pt x="-547" y="2869"/>
                          <a:pt x="1309" y="4587"/>
                          <a:pt x="1692" y="5938"/>
                        </a:cubicBezTo>
                        <a:cubicBezTo>
                          <a:pt x="3902" y="10595"/>
                          <a:pt x="4282" y="14781"/>
                          <a:pt x="2885" y="19113"/>
                        </a:cubicBezTo>
                        <a:cubicBezTo>
                          <a:pt x="2700" y="19681"/>
                          <a:pt x="2811" y="20300"/>
                          <a:pt x="3182" y="20769"/>
                        </a:cubicBezTo>
                        <a:close/>
                      </a:path>
                    </a:pathLst>
                  </a:custGeom>
                  <a:solidFill>
                    <a:srgbClr val="FFFFFF"/>
                  </a:solidFill>
                  <a:ln w="2826" cap="flat">
                    <a:noFill/>
                    <a:prstDash val="solid"/>
                    <a:miter/>
                  </a:ln>
                </p:spPr>
                <p:txBody>
                  <a:bodyPr rtlCol="0" anchor="ctr"/>
                  <a:lstStyle/>
                  <a:p>
                    <a:endParaRPr lang="fr-CA"/>
                  </a:p>
                </p:txBody>
              </p:sp>
              <p:sp>
                <p:nvSpPr>
                  <p:cNvPr id="1481" name="Forme libre : forme 1480">
                    <a:extLst>
                      <a:ext uri="{FF2B5EF4-FFF2-40B4-BE49-F238E27FC236}">
                        <a16:creationId xmlns:a16="http://schemas.microsoft.com/office/drawing/2014/main" id="{9C2BF61E-EAF5-B541-900B-2FA127C8B91C}"/>
                      </a:ext>
                    </a:extLst>
                  </p:cNvPr>
                  <p:cNvSpPr/>
                  <p:nvPr/>
                </p:nvSpPr>
                <p:spPr>
                  <a:xfrm>
                    <a:off x="9244017" y="4441987"/>
                    <a:ext cx="10938" cy="19412"/>
                  </a:xfrm>
                  <a:custGeom>
                    <a:avLst/>
                    <a:gdLst>
                      <a:gd name="connsiteX0" fmla="*/ 10904 w 10938"/>
                      <a:gd name="connsiteY0" fmla="*/ 8463 h 19412"/>
                      <a:gd name="connsiteX1" fmla="*/ 3197 w 10938"/>
                      <a:gd name="connsiteY1" fmla="*/ 5 h 19412"/>
                      <a:gd name="connsiteX2" fmla="*/ 22 w 10938"/>
                      <a:gd name="connsiteY2" fmla="*/ 9628 h 19412"/>
                      <a:gd name="connsiteX3" fmla="*/ 8220 w 10938"/>
                      <a:gd name="connsiteY3" fmla="*/ 19002 h 19412"/>
                      <a:gd name="connsiteX4" fmla="*/ 10904 w 10938"/>
                      <a:gd name="connsiteY4" fmla="*/ 8463 h 1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8" h="19412">
                        <a:moveTo>
                          <a:pt x="10904" y="8463"/>
                        </a:moveTo>
                        <a:cubicBezTo>
                          <a:pt x="10752" y="3143"/>
                          <a:pt x="8357" y="-152"/>
                          <a:pt x="3197" y="5"/>
                        </a:cubicBezTo>
                        <a:cubicBezTo>
                          <a:pt x="76" y="936"/>
                          <a:pt x="-84" y="6984"/>
                          <a:pt x="22" y="9628"/>
                        </a:cubicBezTo>
                        <a:cubicBezTo>
                          <a:pt x="267" y="13446"/>
                          <a:pt x="3263" y="21289"/>
                          <a:pt x="8220" y="19002"/>
                        </a:cubicBezTo>
                        <a:cubicBezTo>
                          <a:pt x="11309" y="17040"/>
                          <a:pt x="10946" y="9217"/>
                          <a:pt x="10904" y="8463"/>
                        </a:cubicBezTo>
                        <a:close/>
                      </a:path>
                    </a:pathLst>
                  </a:custGeom>
                  <a:solidFill>
                    <a:srgbClr val="FFFFFF"/>
                  </a:solidFill>
                  <a:ln w="2826" cap="flat">
                    <a:noFill/>
                    <a:prstDash val="solid"/>
                    <a:miter/>
                  </a:ln>
                </p:spPr>
                <p:txBody>
                  <a:bodyPr rtlCol="0" anchor="ctr"/>
                  <a:lstStyle/>
                  <a:p>
                    <a:endParaRPr lang="fr-CA"/>
                  </a:p>
                </p:txBody>
              </p:sp>
            </p:grpSp>
            <p:grpSp>
              <p:nvGrpSpPr>
                <p:cNvPr id="1450" name="Graphique 35" descr="Garçon dans un fauteuil roulant">
                  <a:extLst>
                    <a:ext uri="{FF2B5EF4-FFF2-40B4-BE49-F238E27FC236}">
                      <a16:creationId xmlns:a16="http://schemas.microsoft.com/office/drawing/2014/main" id="{3E30AD30-4AA5-13F1-37D0-4D251876F7D3}"/>
                    </a:ext>
                  </a:extLst>
                </p:cNvPr>
                <p:cNvGrpSpPr/>
                <p:nvPr/>
              </p:nvGrpSpPr>
              <p:grpSpPr>
                <a:xfrm>
                  <a:off x="9156994" y="4044915"/>
                  <a:ext cx="736590" cy="661795"/>
                  <a:chOff x="9156994" y="4044915"/>
                  <a:chExt cx="736590" cy="661795"/>
                </a:xfrm>
                <a:solidFill>
                  <a:srgbClr val="FFFFFF"/>
                </a:solidFill>
              </p:grpSpPr>
              <p:sp>
                <p:nvSpPr>
                  <p:cNvPr id="1463" name="Forme libre : forme 1462">
                    <a:extLst>
                      <a:ext uri="{FF2B5EF4-FFF2-40B4-BE49-F238E27FC236}">
                        <a16:creationId xmlns:a16="http://schemas.microsoft.com/office/drawing/2014/main" id="{61B2E213-770D-707F-5836-20E64054945E}"/>
                      </a:ext>
                    </a:extLst>
                  </p:cNvPr>
                  <p:cNvSpPr/>
                  <p:nvPr/>
                </p:nvSpPr>
                <p:spPr>
                  <a:xfrm>
                    <a:off x="9737875" y="4629270"/>
                    <a:ext cx="155709" cy="31664"/>
                  </a:xfrm>
                  <a:custGeom>
                    <a:avLst/>
                    <a:gdLst>
                      <a:gd name="connsiteX0" fmla="*/ 155710 w 155709"/>
                      <a:gd name="connsiteY0" fmla="*/ 2143 h 31664"/>
                      <a:gd name="connsiteX1" fmla="*/ 120515 w 155709"/>
                      <a:gd name="connsiteY1" fmla="*/ 3000 h 31664"/>
                      <a:gd name="connsiteX2" fmla="*/ 60718 w 155709"/>
                      <a:gd name="connsiteY2" fmla="*/ 9316 h 31664"/>
                      <a:gd name="connsiteX3" fmla="*/ 58674 w 155709"/>
                      <a:gd name="connsiteY3" fmla="*/ 8571 h 31664"/>
                      <a:gd name="connsiteX4" fmla="*/ 21763 w 155709"/>
                      <a:gd name="connsiteY4" fmla="*/ 19681 h 31664"/>
                      <a:gd name="connsiteX5" fmla="*/ 1821 w 155709"/>
                      <a:gd name="connsiteY5" fmla="*/ 25594 h 31664"/>
                      <a:gd name="connsiteX6" fmla="*/ 562 w 155709"/>
                      <a:gd name="connsiteY6" fmla="*/ 27065 h 31664"/>
                      <a:gd name="connsiteX7" fmla="*/ 1689 w 155709"/>
                      <a:gd name="connsiteY7" fmla="*/ 31665 h 31664"/>
                      <a:gd name="connsiteX8" fmla="*/ 155710 w 155709"/>
                      <a:gd name="connsiteY8" fmla="*/ 2143 h 3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09" h="31664">
                        <a:moveTo>
                          <a:pt x="155710" y="2143"/>
                        </a:moveTo>
                        <a:cubicBezTo>
                          <a:pt x="153445" y="-2636"/>
                          <a:pt x="125537" y="1915"/>
                          <a:pt x="120515" y="3000"/>
                        </a:cubicBezTo>
                        <a:cubicBezTo>
                          <a:pt x="100887" y="7586"/>
                          <a:pt x="80586" y="5933"/>
                          <a:pt x="60718" y="9316"/>
                        </a:cubicBezTo>
                        <a:cubicBezTo>
                          <a:pt x="60298" y="8645"/>
                          <a:pt x="59427" y="8322"/>
                          <a:pt x="58674" y="8571"/>
                        </a:cubicBezTo>
                        <a:cubicBezTo>
                          <a:pt x="46421" y="12417"/>
                          <a:pt x="33886" y="16112"/>
                          <a:pt x="21763" y="19681"/>
                        </a:cubicBezTo>
                        <a:cubicBezTo>
                          <a:pt x="15224" y="21608"/>
                          <a:pt x="8462" y="23599"/>
                          <a:pt x="1821" y="25594"/>
                        </a:cubicBezTo>
                        <a:cubicBezTo>
                          <a:pt x="1150" y="25794"/>
                          <a:pt x="659" y="26371"/>
                          <a:pt x="562" y="27065"/>
                        </a:cubicBezTo>
                        <a:cubicBezTo>
                          <a:pt x="222" y="28595"/>
                          <a:pt x="-972" y="31531"/>
                          <a:pt x="1689" y="31665"/>
                        </a:cubicBezTo>
                        <a:cubicBezTo>
                          <a:pt x="55201" y="25697"/>
                          <a:pt x="111777" y="20064"/>
                          <a:pt x="155710" y="2143"/>
                        </a:cubicBezTo>
                        <a:close/>
                      </a:path>
                    </a:pathLst>
                  </a:custGeom>
                  <a:solidFill>
                    <a:srgbClr val="FFFFFF"/>
                  </a:solidFill>
                  <a:ln w="2826" cap="flat">
                    <a:noFill/>
                    <a:prstDash val="solid"/>
                    <a:miter/>
                  </a:ln>
                </p:spPr>
                <p:txBody>
                  <a:bodyPr rtlCol="0" anchor="ctr"/>
                  <a:lstStyle/>
                  <a:p>
                    <a:endParaRPr lang="fr-CA"/>
                  </a:p>
                </p:txBody>
              </p:sp>
              <p:sp>
                <p:nvSpPr>
                  <p:cNvPr id="1464" name="Forme libre : forme 1463">
                    <a:extLst>
                      <a:ext uri="{FF2B5EF4-FFF2-40B4-BE49-F238E27FC236}">
                        <a16:creationId xmlns:a16="http://schemas.microsoft.com/office/drawing/2014/main" id="{41DDECA2-A42B-768E-4F67-ECF9E0FEE08C}"/>
                      </a:ext>
                    </a:extLst>
                  </p:cNvPr>
                  <p:cNvSpPr/>
                  <p:nvPr/>
                </p:nvSpPr>
                <p:spPr>
                  <a:xfrm>
                    <a:off x="9563280" y="4199016"/>
                    <a:ext cx="151163" cy="43779"/>
                  </a:xfrm>
                  <a:custGeom>
                    <a:avLst/>
                    <a:gdLst>
                      <a:gd name="connsiteX0" fmla="*/ 144002 w 151163"/>
                      <a:gd name="connsiteY0" fmla="*/ 23934 h 43779"/>
                      <a:gd name="connsiteX1" fmla="*/ 12 w 151163"/>
                      <a:gd name="connsiteY1" fmla="*/ 820 h 43779"/>
                      <a:gd name="connsiteX2" fmla="*/ 11040 w 151163"/>
                      <a:gd name="connsiteY2" fmla="*/ 27752 h 43779"/>
                      <a:gd name="connsiteX3" fmla="*/ 124069 w 151163"/>
                      <a:gd name="connsiteY3" fmla="*/ 43020 h 43779"/>
                      <a:gd name="connsiteX4" fmla="*/ 145912 w 151163"/>
                      <a:gd name="connsiteY4" fmla="*/ 43020 h 43779"/>
                      <a:gd name="connsiteX5" fmla="*/ 150578 w 151163"/>
                      <a:gd name="connsiteY5" fmla="*/ 37931 h 43779"/>
                      <a:gd name="connsiteX6" fmla="*/ 144002 w 151163"/>
                      <a:gd name="connsiteY6" fmla="*/ 23934 h 4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163" h="43779">
                        <a:moveTo>
                          <a:pt x="144002" y="23934"/>
                        </a:moveTo>
                        <a:cubicBezTo>
                          <a:pt x="121279" y="7376"/>
                          <a:pt x="1012" y="-3091"/>
                          <a:pt x="12" y="820"/>
                        </a:cubicBezTo>
                        <a:cubicBezTo>
                          <a:pt x="-439" y="5083"/>
                          <a:pt x="11579" y="22381"/>
                          <a:pt x="11040" y="27752"/>
                        </a:cubicBezTo>
                        <a:cubicBezTo>
                          <a:pt x="10920" y="28740"/>
                          <a:pt x="123069" y="42994"/>
                          <a:pt x="124069" y="43020"/>
                        </a:cubicBezTo>
                        <a:cubicBezTo>
                          <a:pt x="132515" y="43425"/>
                          <a:pt x="137429" y="44504"/>
                          <a:pt x="145912" y="43020"/>
                        </a:cubicBezTo>
                        <a:cubicBezTo>
                          <a:pt x="147537" y="42734"/>
                          <a:pt x="149099" y="40695"/>
                          <a:pt x="150578" y="37931"/>
                        </a:cubicBezTo>
                        <a:cubicBezTo>
                          <a:pt x="153050" y="33303"/>
                          <a:pt x="147083" y="26815"/>
                          <a:pt x="144002" y="23934"/>
                        </a:cubicBezTo>
                        <a:close/>
                      </a:path>
                    </a:pathLst>
                  </a:custGeom>
                  <a:solidFill>
                    <a:srgbClr val="FFFFFF"/>
                  </a:solidFill>
                  <a:ln w="2826" cap="flat">
                    <a:noFill/>
                    <a:prstDash val="solid"/>
                    <a:miter/>
                  </a:ln>
                </p:spPr>
                <p:txBody>
                  <a:bodyPr rtlCol="0" anchor="ctr"/>
                  <a:lstStyle/>
                  <a:p>
                    <a:endParaRPr lang="fr-CA"/>
                  </a:p>
                </p:txBody>
              </p:sp>
              <p:sp>
                <p:nvSpPr>
                  <p:cNvPr id="1465" name="Forme libre : forme 1464">
                    <a:extLst>
                      <a:ext uri="{FF2B5EF4-FFF2-40B4-BE49-F238E27FC236}">
                        <a16:creationId xmlns:a16="http://schemas.microsoft.com/office/drawing/2014/main" id="{0C3DFC3A-C445-73B2-20B6-95F13F82A238}"/>
                      </a:ext>
                    </a:extLst>
                  </p:cNvPr>
                  <p:cNvSpPr/>
                  <p:nvPr/>
                </p:nvSpPr>
                <p:spPr>
                  <a:xfrm>
                    <a:off x="9612271" y="4613779"/>
                    <a:ext cx="112353" cy="34159"/>
                  </a:xfrm>
                  <a:custGeom>
                    <a:avLst/>
                    <a:gdLst>
                      <a:gd name="connsiteX0" fmla="*/ 111269 w 112353"/>
                      <a:gd name="connsiteY0" fmla="*/ 634 h 34159"/>
                      <a:gd name="connsiteX1" fmla="*/ 106381 w 112353"/>
                      <a:gd name="connsiteY1" fmla="*/ 354 h 34159"/>
                      <a:gd name="connsiteX2" fmla="*/ 104539 w 112353"/>
                      <a:gd name="connsiteY2" fmla="*/ 34 h 34159"/>
                      <a:gd name="connsiteX3" fmla="*/ 65138 w 112353"/>
                      <a:gd name="connsiteY3" fmla="*/ 4229 h 34159"/>
                      <a:gd name="connsiteX4" fmla="*/ 48834 w 112353"/>
                      <a:gd name="connsiteY4" fmla="*/ 5699 h 34159"/>
                      <a:gd name="connsiteX5" fmla="*/ 31242 w 112353"/>
                      <a:gd name="connsiteY5" fmla="*/ 12158 h 34159"/>
                      <a:gd name="connsiteX6" fmla="*/ 18707 w 112353"/>
                      <a:gd name="connsiteY6" fmla="*/ 16064 h 34159"/>
                      <a:gd name="connsiteX7" fmla="*/ 16429 w 112353"/>
                      <a:gd name="connsiteY7" fmla="*/ 24036 h 34159"/>
                      <a:gd name="connsiteX8" fmla="*/ 13368 w 112353"/>
                      <a:gd name="connsiteY8" fmla="*/ 24919 h 34159"/>
                      <a:gd name="connsiteX9" fmla="*/ 148 w 112353"/>
                      <a:gd name="connsiteY9" fmla="*/ 27651 h 34159"/>
                      <a:gd name="connsiteX10" fmla="*/ 1355 w 112353"/>
                      <a:gd name="connsiteY10" fmla="*/ 31934 h 34159"/>
                      <a:gd name="connsiteX11" fmla="*/ 9625 w 112353"/>
                      <a:gd name="connsiteY11" fmla="*/ 34147 h 34159"/>
                      <a:gd name="connsiteX12" fmla="*/ 111269 w 112353"/>
                      <a:gd name="connsiteY12" fmla="*/ 634 h 3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353" h="34159">
                        <a:moveTo>
                          <a:pt x="111269" y="634"/>
                        </a:moveTo>
                        <a:cubicBezTo>
                          <a:pt x="109739" y="-43"/>
                          <a:pt x="107840" y="505"/>
                          <a:pt x="106381" y="354"/>
                        </a:cubicBezTo>
                        <a:cubicBezTo>
                          <a:pt x="105847" y="-40"/>
                          <a:pt x="105173" y="-31"/>
                          <a:pt x="104539" y="34"/>
                        </a:cubicBezTo>
                        <a:cubicBezTo>
                          <a:pt x="91542" y="2250"/>
                          <a:pt x="78161" y="2119"/>
                          <a:pt x="65138" y="4229"/>
                        </a:cubicBezTo>
                        <a:cubicBezTo>
                          <a:pt x="59773" y="4977"/>
                          <a:pt x="54222" y="5742"/>
                          <a:pt x="48834" y="5699"/>
                        </a:cubicBezTo>
                        <a:cubicBezTo>
                          <a:pt x="43355" y="8512"/>
                          <a:pt x="37741" y="10788"/>
                          <a:pt x="31242" y="12158"/>
                        </a:cubicBezTo>
                        <a:cubicBezTo>
                          <a:pt x="27062" y="13220"/>
                          <a:pt x="22742" y="14320"/>
                          <a:pt x="18707" y="16064"/>
                        </a:cubicBezTo>
                        <a:cubicBezTo>
                          <a:pt x="16446" y="17109"/>
                          <a:pt x="18913" y="21829"/>
                          <a:pt x="16429" y="24036"/>
                        </a:cubicBezTo>
                        <a:cubicBezTo>
                          <a:pt x="15698" y="25050"/>
                          <a:pt x="14347" y="24416"/>
                          <a:pt x="13368" y="24919"/>
                        </a:cubicBezTo>
                        <a:cubicBezTo>
                          <a:pt x="10307" y="27309"/>
                          <a:pt x="2463" y="25033"/>
                          <a:pt x="148" y="27651"/>
                        </a:cubicBezTo>
                        <a:cubicBezTo>
                          <a:pt x="-498" y="29179"/>
                          <a:pt x="1170" y="30424"/>
                          <a:pt x="1355" y="31934"/>
                        </a:cubicBezTo>
                        <a:cubicBezTo>
                          <a:pt x="2869" y="34456"/>
                          <a:pt x="7126" y="33816"/>
                          <a:pt x="9625" y="34147"/>
                        </a:cubicBezTo>
                        <a:cubicBezTo>
                          <a:pt x="15409" y="34821"/>
                          <a:pt x="124315" y="6707"/>
                          <a:pt x="111269" y="634"/>
                        </a:cubicBezTo>
                        <a:close/>
                      </a:path>
                    </a:pathLst>
                  </a:custGeom>
                  <a:solidFill>
                    <a:srgbClr val="FFFFFF"/>
                  </a:solidFill>
                  <a:ln w="2826" cap="flat">
                    <a:noFill/>
                    <a:prstDash val="solid"/>
                    <a:miter/>
                  </a:ln>
                </p:spPr>
                <p:txBody>
                  <a:bodyPr rtlCol="0" anchor="ctr"/>
                  <a:lstStyle/>
                  <a:p>
                    <a:endParaRPr lang="fr-CA"/>
                  </a:p>
                </p:txBody>
              </p:sp>
              <p:sp>
                <p:nvSpPr>
                  <p:cNvPr id="1466" name="Forme libre : forme 1465">
                    <a:extLst>
                      <a:ext uri="{FF2B5EF4-FFF2-40B4-BE49-F238E27FC236}">
                        <a16:creationId xmlns:a16="http://schemas.microsoft.com/office/drawing/2014/main" id="{530E888B-7093-ADAC-BF9A-C1BE99E229B4}"/>
                      </a:ext>
                    </a:extLst>
                  </p:cNvPr>
                  <p:cNvSpPr/>
                  <p:nvPr/>
                </p:nvSpPr>
                <p:spPr>
                  <a:xfrm>
                    <a:off x="9378256" y="4605068"/>
                    <a:ext cx="102665" cy="101642"/>
                  </a:xfrm>
                  <a:custGeom>
                    <a:avLst/>
                    <a:gdLst>
                      <a:gd name="connsiteX0" fmla="*/ 81933 w 102665"/>
                      <a:gd name="connsiteY0" fmla="*/ 10381 h 101642"/>
                      <a:gd name="connsiteX1" fmla="*/ 79206 w 102665"/>
                      <a:gd name="connsiteY1" fmla="*/ 11120 h 101642"/>
                      <a:gd name="connsiteX2" fmla="*/ 75300 w 102665"/>
                      <a:gd name="connsiteY2" fmla="*/ 23833 h 101642"/>
                      <a:gd name="connsiteX3" fmla="*/ 81499 w 102665"/>
                      <a:gd name="connsiteY3" fmla="*/ 70934 h 101642"/>
                      <a:gd name="connsiteX4" fmla="*/ 52260 w 102665"/>
                      <a:gd name="connsiteY4" fmla="*/ 87293 h 101642"/>
                      <a:gd name="connsiteX5" fmla="*/ 21525 w 102665"/>
                      <a:gd name="connsiteY5" fmla="*/ 30477 h 101642"/>
                      <a:gd name="connsiteX6" fmla="*/ 53970 w 102665"/>
                      <a:gd name="connsiteY6" fmla="*/ 14890 h 101642"/>
                      <a:gd name="connsiteX7" fmla="*/ 55712 w 102665"/>
                      <a:gd name="connsiteY7" fmla="*/ 13785 h 101642"/>
                      <a:gd name="connsiteX8" fmla="*/ 60126 w 102665"/>
                      <a:gd name="connsiteY8" fmla="*/ 3146 h 101642"/>
                      <a:gd name="connsiteX9" fmla="*/ 58750 w 102665"/>
                      <a:gd name="connsiteY9" fmla="*/ 687 h 101642"/>
                      <a:gd name="connsiteX10" fmla="*/ 2303 w 102665"/>
                      <a:gd name="connsiteY10" fmla="*/ 37164 h 101642"/>
                      <a:gd name="connsiteX11" fmla="*/ 16742 w 102665"/>
                      <a:gd name="connsiteY11" fmla="*/ 88680 h 101642"/>
                      <a:gd name="connsiteX12" fmla="*/ 91235 w 102665"/>
                      <a:gd name="connsiteY12" fmla="*/ 82416 h 101642"/>
                      <a:gd name="connsiteX13" fmla="*/ 81933 w 102665"/>
                      <a:gd name="connsiteY13" fmla="*/ 10381 h 10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665" h="101642">
                        <a:moveTo>
                          <a:pt x="81933" y="10381"/>
                        </a:moveTo>
                        <a:cubicBezTo>
                          <a:pt x="81042" y="9679"/>
                          <a:pt x="79617" y="10061"/>
                          <a:pt x="79206" y="11120"/>
                        </a:cubicBezTo>
                        <a:cubicBezTo>
                          <a:pt x="79049" y="12614"/>
                          <a:pt x="73115" y="22728"/>
                          <a:pt x="75300" y="23833"/>
                        </a:cubicBezTo>
                        <a:cubicBezTo>
                          <a:pt x="89545" y="35494"/>
                          <a:pt x="90610" y="56326"/>
                          <a:pt x="81499" y="70934"/>
                        </a:cubicBezTo>
                        <a:cubicBezTo>
                          <a:pt x="75662" y="80288"/>
                          <a:pt x="65654" y="87090"/>
                          <a:pt x="52260" y="87293"/>
                        </a:cubicBezTo>
                        <a:cubicBezTo>
                          <a:pt x="21902" y="88746"/>
                          <a:pt x="6366" y="54031"/>
                          <a:pt x="21525" y="30477"/>
                        </a:cubicBezTo>
                        <a:cubicBezTo>
                          <a:pt x="28321" y="19727"/>
                          <a:pt x="39839" y="14193"/>
                          <a:pt x="53970" y="14890"/>
                        </a:cubicBezTo>
                        <a:cubicBezTo>
                          <a:pt x="54724" y="14932"/>
                          <a:pt x="55424" y="14484"/>
                          <a:pt x="55712" y="13785"/>
                        </a:cubicBezTo>
                        <a:cubicBezTo>
                          <a:pt x="57340" y="9839"/>
                          <a:pt x="58781" y="6358"/>
                          <a:pt x="60126" y="3146"/>
                        </a:cubicBezTo>
                        <a:cubicBezTo>
                          <a:pt x="60589" y="2120"/>
                          <a:pt x="59867" y="827"/>
                          <a:pt x="58750" y="687"/>
                        </a:cubicBezTo>
                        <a:cubicBezTo>
                          <a:pt x="31284" y="-3836"/>
                          <a:pt x="9278" y="14613"/>
                          <a:pt x="2303" y="37164"/>
                        </a:cubicBezTo>
                        <a:cubicBezTo>
                          <a:pt x="-3122" y="54705"/>
                          <a:pt x="784" y="74652"/>
                          <a:pt x="16742" y="88680"/>
                        </a:cubicBezTo>
                        <a:cubicBezTo>
                          <a:pt x="44813" y="110604"/>
                          <a:pt x="75194" y="102143"/>
                          <a:pt x="91235" y="82416"/>
                        </a:cubicBezTo>
                        <a:cubicBezTo>
                          <a:pt x="106857" y="63199"/>
                          <a:pt x="108881" y="33304"/>
                          <a:pt x="81933" y="10381"/>
                        </a:cubicBezTo>
                        <a:close/>
                      </a:path>
                    </a:pathLst>
                  </a:custGeom>
                  <a:solidFill>
                    <a:srgbClr val="FFFFFF"/>
                  </a:solidFill>
                  <a:ln w="2826" cap="flat">
                    <a:noFill/>
                    <a:prstDash val="solid"/>
                    <a:miter/>
                  </a:ln>
                </p:spPr>
                <p:txBody>
                  <a:bodyPr rtlCol="0" anchor="ctr"/>
                  <a:lstStyle/>
                  <a:p>
                    <a:endParaRPr lang="fr-CA"/>
                  </a:p>
                </p:txBody>
              </p:sp>
              <p:sp>
                <p:nvSpPr>
                  <p:cNvPr id="1467" name="Forme libre : forme 1466">
                    <a:extLst>
                      <a:ext uri="{FF2B5EF4-FFF2-40B4-BE49-F238E27FC236}">
                        <a16:creationId xmlns:a16="http://schemas.microsoft.com/office/drawing/2014/main" id="{8C470A16-640B-3B11-6BE5-6478149D6EB1}"/>
                      </a:ext>
                    </a:extLst>
                  </p:cNvPr>
                  <p:cNvSpPr/>
                  <p:nvPr/>
                </p:nvSpPr>
                <p:spPr>
                  <a:xfrm>
                    <a:off x="9218398" y="4044915"/>
                    <a:ext cx="35286" cy="15969"/>
                  </a:xfrm>
                  <a:custGeom>
                    <a:avLst/>
                    <a:gdLst>
                      <a:gd name="connsiteX0" fmla="*/ 1761 w 35286"/>
                      <a:gd name="connsiteY0" fmla="*/ 12430 h 15969"/>
                      <a:gd name="connsiteX1" fmla="*/ 7946 w 35286"/>
                      <a:gd name="connsiteY1" fmla="*/ 13935 h 15969"/>
                      <a:gd name="connsiteX2" fmla="*/ 31171 w 35286"/>
                      <a:gd name="connsiteY2" fmla="*/ 15951 h 15969"/>
                      <a:gd name="connsiteX3" fmla="*/ 32782 w 35286"/>
                      <a:gd name="connsiteY3" fmla="*/ 15357 h 15969"/>
                      <a:gd name="connsiteX4" fmla="*/ 33153 w 35286"/>
                      <a:gd name="connsiteY4" fmla="*/ 13684 h 15969"/>
                      <a:gd name="connsiteX5" fmla="*/ 34932 w 35286"/>
                      <a:gd name="connsiteY5" fmla="*/ 3987 h 15969"/>
                      <a:gd name="connsiteX6" fmla="*/ 35140 w 35286"/>
                      <a:gd name="connsiteY6" fmla="*/ 2211 h 15969"/>
                      <a:gd name="connsiteX7" fmla="*/ 33710 w 35286"/>
                      <a:gd name="connsiteY7" fmla="*/ 1140 h 15969"/>
                      <a:gd name="connsiteX8" fmla="*/ 7369 w 35286"/>
                      <a:gd name="connsiteY8" fmla="*/ 238 h 15969"/>
                      <a:gd name="connsiteX9" fmla="*/ 1761 w 35286"/>
                      <a:gd name="connsiteY9" fmla="*/ 12430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86" h="15969">
                        <a:moveTo>
                          <a:pt x="1761" y="12430"/>
                        </a:moveTo>
                        <a:cubicBezTo>
                          <a:pt x="3614" y="14158"/>
                          <a:pt x="5956" y="13898"/>
                          <a:pt x="7946" y="13935"/>
                        </a:cubicBezTo>
                        <a:cubicBezTo>
                          <a:pt x="15347" y="14089"/>
                          <a:pt x="23162" y="14766"/>
                          <a:pt x="31171" y="15951"/>
                        </a:cubicBezTo>
                        <a:cubicBezTo>
                          <a:pt x="31765" y="16039"/>
                          <a:pt x="32382" y="15816"/>
                          <a:pt x="32782" y="15357"/>
                        </a:cubicBezTo>
                        <a:cubicBezTo>
                          <a:pt x="33181" y="14897"/>
                          <a:pt x="33321" y="14266"/>
                          <a:pt x="33153" y="13684"/>
                        </a:cubicBezTo>
                        <a:cubicBezTo>
                          <a:pt x="32156" y="10237"/>
                          <a:pt x="32773" y="6885"/>
                          <a:pt x="34932" y="3987"/>
                        </a:cubicBezTo>
                        <a:cubicBezTo>
                          <a:pt x="35314" y="3476"/>
                          <a:pt x="35394" y="2799"/>
                          <a:pt x="35140" y="2211"/>
                        </a:cubicBezTo>
                        <a:cubicBezTo>
                          <a:pt x="34889" y="1625"/>
                          <a:pt x="34343" y="1217"/>
                          <a:pt x="33710" y="1140"/>
                        </a:cubicBezTo>
                        <a:cubicBezTo>
                          <a:pt x="25558" y="252"/>
                          <a:pt x="16732" y="-359"/>
                          <a:pt x="7369" y="238"/>
                        </a:cubicBezTo>
                        <a:cubicBezTo>
                          <a:pt x="4022" y="1140"/>
                          <a:pt x="-3373" y="6931"/>
                          <a:pt x="1761" y="12430"/>
                        </a:cubicBezTo>
                        <a:close/>
                      </a:path>
                    </a:pathLst>
                  </a:custGeom>
                  <a:solidFill>
                    <a:srgbClr val="FFFFFF"/>
                  </a:solidFill>
                  <a:ln w="2826" cap="flat">
                    <a:noFill/>
                    <a:prstDash val="solid"/>
                    <a:miter/>
                  </a:ln>
                </p:spPr>
                <p:txBody>
                  <a:bodyPr rtlCol="0" anchor="ctr"/>
                  <a:lstStyle/>
                  <a:p>
                    <a:endParaRPr lang="fr-CA"/>
                  </a:p>
                </p:txBody>
              </p:sp>
              <p:sp>
                <p:nvSpPr>
                  <p:cNvPr id="1468" name="Forme libre : forme 1467">
                    <a:extLst>
                      <a:ext uri="{FF2B5EF4-FFF2-40B4-BE49-F238E27FC236}">
                        <a16:creationId xmlns:a16="http://schemas.microsoft.com/office/drawing/2014/main" id="{0BC8D6F3-75E9-6233-5180-652F173ED38B}"/>
                      </a:ext>
                    </a:extLst>
                  </p:cNvPr>
                  <p:cNvSpPr/>
                  <p:nvPr/>
                </p:nvSpPr>
                <p:spPr>
                  <a:xfrm>
                    <a:off x="9156994" y="4253261"/>
                    <a:ext cx="231515" cy="394784"/>
                  </a:xfrm>
                  <a:custGeom>
                    <a:avLst/>
                    <a:gdLst>
                      <a:gd name="connsiteX0" fmla="*/ 230697 w 231515"/>
                      <a:gd name="connsiteY0" fmla="*/ 200832 h 394784"/>
                      <a:gd name="connsiteX1" fmla="*/ 199717 w 231515"/>
                      <a:gd name="connsiteY1" fmla="*/ 83195 h 394784"/>
                      <a:gd name="connsiteX2" fmla="*/ 91565 w 231515"/>
                      <a:gd name="connsiteY2" fmla="*/ 138 h 394784"/>
                      <a:gd name="connsiteX3" fmla="*/ 24872 w 231515"/>
                      <a:gd name="connsiteY3" fmla="*/ 60189 h 394784"/>
                      <a:gd name="connsiteX4" fmla="*/ 5196 w 231515"/>
                      <a:gd name="connsiteY4" fmla="*/ 129845 h 394784"/>
                      <a:gd name="connsiteX5" fmla="*/ 425 w 231515"/>
                      <a:gd name="connsiteY5" fmla="*/ 165355 h 394784"/>
                      <a:gd name="connsiteX6" fmla="*/ 21417 w 231515"/>
                      <a:gd name="connsiteY6" fmla="*/ 297363 h 394784"/>
                      <a:gd name="connsiteX7" fmla="*/ 72311 w 231515"/>
                      <a:gd name="connsiteY7" fmla="*/ 363844 h 394784"/>
                      <a:gd name="connsiteX8" fmla="*/ 74864 w 231515"/>
                      <a:gd name="connsiteY8" fmla="*/ 368124 h 394784"/>
                      <a:gd name="connsiteX9" fmla="*/ 142570 w 231515"/>
                      <a:gd name="connsiteY9" fmla="*/ 394365 h 394784"/>
                      <a:gd name="connsiteX10" fmla="*/ 197238 w 231515"/>
                      <a:gd name="connsiteY10" fmla="*/ 356300 h 394784"/>
                      <a:gd name="connsiteX11" fmla="*/ 230697 w 231515"/>
                      <a:gd name="connsiteY11" fmla="*/ 200832 h 394784"/>
                      <a:gd name="connsiteX12" fmla="*/ 104439 w 231515"/>
                      <a:gd name="connsiteY12" fmla="*/ 372427 h 394784"/>
                      <a:gd name="connsiteX13" fmla="*/ 75175 w 231515"/>
                      <a:gd name="connsiteY13" fmla="*/ 347617 h 394784"/>
                      <a:gd name="connsiteX14" fmla="*/ 56407 w 231515"/>
                      <a:gd name="connsiteY14" fmla="*/ 322807 h 394784"/>
                      <a:gd name="connsiteX15" fmla="*/ 32345 w 231515"/>
                      <a:gd name="connsiteY15" fmla="*/ 69683 h 394784"/>
                      <a:gd name="connsiteX16" fmla="*/ 35731 w 231515"/>
                      <a:gd name="connsiteY16" fmla="*/ 63247 h 394784"/>
                      <a:gd name="connsiteX17" fmla="*/ 49428 w 231515"/>
                      <a:gd name="connsiteY17" fmla="*/ 39377 h 394784"/>
                      <a:gd name="connsiteX18" fmla="*/ 132242 w 231515"/>
                      <a:gd name="connsiteY18" fmla="*/ 26210 h 394784"/>
                      <a:gd name="connsiteX19" fmla="*/ 192198 w 231515"/>
                      <a:gd name="connsiteY19" fmla="*/ 104167 h 394784"/>
                      <a:gd name="connsiteX20" fmla="*/ 209091 w 231515"/>
                      <a:gd name="connsiteY20" fmla="*/ 292912 h 394784"/>
                      <a:gd name="connsiteX21" fmla="*/ 150245 w 231515"/>
                      <a:gd name="connsiteY21" fmla="*/ 374980 h 394784"/>
                      <a:gd name="connsiteX22" fmla="*/ 104439 w 231515"/>
                      <a:gd name="connsiteY22" fmla="*/ 372427 h 39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1515" h="394784">
                        <a:moveTo>
                          <a:pt x="230697" y="200832"/>
                        </a:moveTo>
                        <a:cubicBezTo>
                          <a:pt x="228835" y="166057"/>
                          <a:pt x="218425" y="121499"/>
                          <a:pt x="199717" y="83195"/>
                        </a:cubicBezTo>
                        <a:cubicBezTo>
                          <a:pt x="176397" y="35445"/>
                          <a:pt x="140183" y="-2591"/>
                          <a:pt x="91565" y="138"/>
                        </a:cubicBezTo>
                        <a:cubicBezTo>
                          <a:pt x="59782" y="4941"/>
                          <a:pt x="38646" y="29751"/>
                          <a:pt x="24872" y="60189"/>
                        </a:cubicBezTo>
                        <a:cubicBezTo>
                          <a:pt x="24096" y="61908"/>
                          <a:pt x="7966" y="99933"/>
                          <a:pt x="5196" y="129845"/>
                        </a:cubicBezTo>
                        <a:cubicBezTo>
                          <a:pt x="2715" y="141190"/>
                          <a:pt x="1064" y="153117"/>
                          <a:pt x="425" y="165355"/>
                        </a:cubicBezTo>
                        <a:cubicBezTo>
                          <a:pt x="-1817" y="208151"/>
                          <a:pt x="4762" y="258862"/>
                          <a:pt x="21417" y="297363"/>
                        </a:cubicBezTo>
                        <a:cubicBezTo>
                          <a:pt x="31477" y="320611"/>
                          <a:pt x="51958" y="347455"/>
                          <a:pt x="72311" y="363844"/>
                        </a:cubicBezTo>
                        <a:cubicBezTo>
                          <a:pt x="71811" y="364550"/>
                          <a:pt x="74058" y="367476"/>
                          <a:pt x="74864" y="368124"/>
                        </a:cubicBezTo>
                        <a:cubicBezTo>
                          <a:pt x="97427" y="387738"/>
                          <a:pt x="118693" y="396921"/>
                          <a:pt x="142570" y="394365"/>
                        </a:cubicBezTo>
                        <a:cubicBezTo>
                          <a:pt x="165969" y="389625"/>
                          <a:pt x="183858" y="375514"/>
                          <a:pt x="197238" y="356300"/>
                        </a:cubicBezTo>
                        <a:cubicBezTo>
                          <a:pt x="226671" y="314027"/>
                          <a:pt x="234272" y="247060"/>
                          <a:pt x="230697" y="200832"/>
                        </a:cubicBezTo>
                        <a:close/>
                        <a:moveTo>
                          <a:pt x="104439" y="372427"/>
                        </a:moveTo>
                        <a:cubicBezTo>
                          <a:pt x="92267" y="364338"/>
                          <a:pt x="81471" y="354459"/>
                          <a:pt x="75175" y="347617"/>
                        </a:cubicBezTo>
                        <a:cubicBezTo>
                          <a:pt x="68042" y="339868"/>
                          <a:pt x="61144" y="330491"/>
                          <a:pt x="56407" y="322807"/>
                        </a:cubicBezTo>
                        <a:cubicBezTo>
                          <a:pt x="11886" y="250561"/>
                          <a:pt x="-1234" y="155926"/>
                          <a:pt x="32345" y="69683"/>
                        </a:cubicBezTo>
                        <a:cubicBezTo>
                          <a:pt x="33958" y="66445"/>
                          <a:pt x="35271" y="63887"/>
                          <a:pt x="35731" y="63247"/>
                        </a:cubicBezTo>
                        <a:cubicBezTo>
                          <a:pt x="41493" y="55207"/>
                          <a:pt x="42053" y="46007"/>
                          <a:pt x="49428" y="39377"/>
                        </a:cubicBezTo>
                        <a:cubicBezTo>
                          <a:pt x="72811" y="18353"/>
                          <a:pt x="103057" y="7479"/>
                          <a:pt x="132242" y="26210"/>
                        </a:cubicBezTo>
                        <a:cubicBezTo>
                          <a:pt x="157443" y="40207"/>
                          <a:pt x="177836" y="68924"/>
                          <a:pt x="192198" y="104167"/>
                        </a:cubicBezTo>
                        <a:cubicBezTo>
                          <a:pt x="215589" y="161563"/>
                          <a:pt x="222982" y="236270"/>
                          <a:pt x="209091" y="292912"/>
                        </a:cubicBezTo>
                        <a:cubicBezTo>
                          <a:pt x="199474" y="332127"/>
                          <a:pt x="173464" y="367662"/>
                          <a:pt x="150245" y="374980"/>
                        </a:cubicBezTo>
                        <a:cubicBezTo>
                          <a:pt x="137961" y="378843"/>
                          <a:pt x="122571" y="377835"/>
                          <a:pt x="104439" y="372427"/>
                        </a:cubicBezTo>
                        <a:close/>
                      </a:path>
                    </a:pathLst>
                  </a:custGeom>
                  <a:solidFill>
                    <a:srgbClr val="FFFFFF"/>
                  </a:solidFill>
                  <a:ln w="2826" cap="flat">
                    <a:noFill/>
                    <a:prstDash val="solid"/>
                    <a:miter/>
                  </a:ln>
                </p:spPr>
                <p:txBody>
                  <a:bodyPr rtlCol="0" anchor="ctr"/>
                  <a:lstStyle/>
                  <a:p>
                    <a:endParaRPr lang="fr-CA"/>
                  </a:p>
                </p:txBody>
              </p:sp>
              <p:sp>
                <p:nvSpPr>
                  <p:cNvPr id="1469" name="Forme libre : forme 1468">
                    <a:extLst>
                      <a:ext uri="{FF2B5EF4-FFF2-40B4-BE49-F238E27FC236}">
                        <a16:creationId xmlns:a16="http://schemas.microsoft.com/office/drawing/2014/main" id="{F8CFCBF6-9576-B8EA-0579-F7A5BB07391A}"/>
                      </a:ext>
                    </a:extLst>
                  </p:cNvPr>
                  <p:cNvSpPr/>
                  <p:nvPr/>
                </p:nvSpPr>
                <p:spPr>
                  <a:xfrm>
                    <a:off x="9271862" y="4429877"/>
                    <a:ext cx="22922" cy="35961"/>
                  </a:xfrm>
                  <a:custGeom>
                    <a:avLst/>
                    <a:gdLst>
                      <a:gd name="connsiteX0" fmla="*/ 19555 w 22922"/>
                      <a:gd name="connsiteY0" fmla="*/ 7618 h 35961"/>
                      <a:gd name="connsiteX1" fmla="*/ 8468 w 22922"/>
                      <a:gd name="connsiteY1" fmla="*/ 0 h 35961"/>
                      <a:gd name="connsiteX2" fmla="*/ 510 w 22922"/>
                      <a:gd name="connsiteY2" fmla="*/ 12312 h 35961"/>
                      <a:gd name="connsiteX3" fmla="*/ 1415 w 22922"/>
                      <a:gd name="connsiteY3" fmla="*/ 20045 h 35961"/>
                      <a:gd name="connsiteX4" fmla="*/ 1767 w 22922"/>
                      <a:gd name="connsiteY4" fmla="*/ 26483 h 35961"/>
                      <a:gd name="connsiteX5" fmla="*/ 10481 w 22922"/>
                      <a:gd name="connsiteY5" fmla="*/ 35172 h 35961"/>
                      <a:gd name="connsiteX6" fmla="*/ 11712 w 22922"/>
                      <a:gd name="connsiteY6" fmla="*/ 35837 h 35961"/>
                      <a:gd name="connsiteX7" fmla="*/ 21334 w 22922"/>
                      <a:gd name="connsiteY7" fmla="*/ 30986 h 35961"/>
                      <a:gd name="connsiteX8" fmla="*/ 19555 w 22922"/>
                      <a:gd name="connsiteY8" fmla="*/ 7618 h 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 h="35961">
                        <a:moveTo>
                          <a:pt x="19555" y="7618"/>
                        </a:moveTo>
                        <a:cubicBezTo>
                          <a:pt x="17003" y="3358"/>
                          <a:pt x="13168" y="722"/>
                          <a:pt x="8468" y="0"/>
                        </a:cubicBezTo>
                        <a:cubicBezTo>
                          <a:pt x="4368" y="297"/>
                          <a:pt x="2972" y="10097"/>
                          <a:pt x="510" y="12312"/>
                        </a:cubicBezTo>
                        <a:cubicBezTo>
                          <a:pt x="-1146" y="13417"/>
                          <a:pt x="1792" y="18857"/>
                          <a:pt x="1415" y="20045"/>
                        </a:cubicBezTo>
                        <a:cubicBezTo>
                          <a:pt x="2195" y="22443"/>
                          <a:pt x="490" y="24505"/>
                          <a:pt x="1767" y="26483"/>
                        </a:cubicBezTo>
                        <a:cubicBezTo>
                          <a:pt x="4596" y="29433"/>
                          <a:pt x="7997" y="32080"/>
                          <a:pt x="10481" y="35172"/>
                        </a:cubicBezTo>
                        <a:cubicBezTo>
                          <a:pt x="10784" y="35552"/>
                          <a:pt x="11226" y="35792"/>
                          <a:pt x="11712" y="35837"/>
                        </a:cubicBezTo>
                        <a:cubicBezTo>
                          <a:pt x="15378" y="36166"/>
                          <a:pt x="19613" y="36214"/>
                          <a:pt x="21334" y="30986"/>
                        </a:cubicBezTo>
                        <a:cubicBezTo>
                          <a:pt x="23990" y="23408"/>
                          <a:pt x="23262" y="13806"/>
                          <a:pt x="19555" y="7618"/>
                        </a:cubicBezTo>
                        <a:close/>
                      </a:path>
                    </a:pathLst>
                  </a:custGeom>
                  <a:solidFill>
                    <a:srgbClr val="FFFFFF"/>
                  </a:solidFill>
                  <a:ln w="2826" cap="flat">
                    <a:noFill/>
                    <a:prstDash val="solid"/>
                    <a:miter/>
                  </a:ln>
                </p:spPr>
                <p:txBody>
                  <a:bodyPr rtlCol="0" anchor="ctr"/>
                  <a:lstStyle/>
                  <a:p>
                    <a:endParaRPr lang="fr-CA"/>
                  </a:p>
                </p:txBody>
              </p:sp>
              <p:sp>
                <p:nvSpPr>
                  <p:cNvPr id="1470" name="Forme libre : forme 1469">
                    <a:extLst>
                      <a:ext uri="{FF2B5EF4-FFF2-40B4-BE49-F238E27FC236}">
                        <a16:creationId xmlns:a16="http://schemas.microsoft.com/office/drawing/2014/main" id="{1AE8C2FB-3A8D-8F4A-9ED4-18F3323302C4}"/>
                      </a:ext>
                    </a:extLst>
                  </p:cNvPr>
                  <p:cNvSpPr/>
                  <p:nvPr/>
                </p:nvSpPr>
                <p:spPr>
                  <a:xfrm>
                    <a:off x="9245388" y="4433424"/>
                    <a:ext cx="19273" cy="36497"/>
                  </a:xfrm>
                  <a:custGeom>
                    <a:avLst/>
                    <a:gdLst>
                      <a:gd name="connsiteX0" fmla="*/ 19178 w 19273"/>
                      <a:gd name="connsiteY0" fmla="*/ 17897 h 36497"/>
                      <a:gd name="connsiteX1" fmla="*/ 6657 w 19273"/>
                      <a:gd name="connsiteY1" fmla="*/ 0 h 36497"/>
                      <a:gd name="connsiteX2" fmla="*/ 2177 w 19273"/>
                      <a:gd name="connsiteY2" fmla="*/ 8757 h 36497"/>
                      <a:gd name="connsiteX3" fmla="*/ 4493 w 19273"/>
                      <a:gd name="connsiteY3" fmla="*/ 28434 h 36497"/>
                      <a:gd name="connsiteX4" fmla="*/ 9164 w 19273"/>
                      <a:gd name="connsiteY4" fmla="*/ 36497 h 36497"/>
                      <a:gd name="connsiteX5" fmla="*/ 19178 w 19273"/>
                      <a:gd name="connsiteY5" fmla="*/ 17897 h 3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3" h="36497">
                        <a:moveTo>
                          <a:pt x="19178" y="17897"/>
                        </a:moveTo>
                        <a:cubicBezTo>
                          <a:pt x="18447" y="12858"/>
                          <a:pt x="13356" y="68"/>
                          <a:pt x="6657" y="0"/>
                        </a:cubicBezTo>
                        <a:cubicBezTo>
                          <a:pt x="2971" y="166"/>
                          <a:pt x="-3357" y="8846"/>
                          <a:pt x="2177" y="8757"/>
                        </a:cubicBezTo>
                        <a:cubicBezTo>
                          <a:pt x="11874" y="5896"/>
                          <a:pt x="13590" y="28359"/>
                          <a:pt x="4493" y="28434"/>
                        </a:cubicBezTo>
                        <a:cubicBezTo>
                          <a:pt x="-339" y="28573"/>
                          <a:pt x="4738" y="36069"/>
                          <a:pt x="9164" y="36497"/>
                        </a:cubicBezTo>
                        <a:cubicBezTo>
                          <a:pt x="15517" y="35792"/>
                          <a:pt x="19994" y="22209"/>
                          <a:pt x="19178" y="17897"/>
                        </a:cubicBezTo>
                        <a:close/>
                      </a:path>
                    </a:pathLst>
                  </a:custGeom>
                  <a:solidFill>
                    <a:srgbClr val="FFFFFF"/>
                  </a:solidFill>
                  <a:ln w="2826" cap="flat">
                    <a:noFill/>
                    <a:prstDash val="solid"/>
                    <a:miter/>
                  </a:ln>
                </p:spPr>
                <p:txBody>
                  <a:bodyPr rtlCol="0" anchor="ctr"/>
                  <a:lstStyle/>
                  <a:p>
                    <a:endParaRPr lang="fr-CA"/>
                  </a:p>
                </p:txBody>
              </p:sp>
              <p:sp>
                <p:nvSpPr>
                  <p:cNvPr id="1471" name="Forme libre : forme 1470">
                    <a:extLst>
                      <a:ext uri="{FF2B5EF4-FFF2-40B4-BE49-F238E27FC236}">
                        <a16:creationId xmlns:a16="http://schemas.microsoft.com/office/drawing/2014/main" id="{D4AA4441-4A26-11E3-8E86-45417C574E10}"/>
                      </a:ext>
                    </a:extLst>
                  </p:cNvPr>
                  <p:cNvSpPr/>
                  <p:nvPr/>
                </p:nvSpPr>
                <p:spPr>
                  <a:xfrm>
                    <a:off x="9289044" y="4244828"/>
                    <a:ext cx="172667" cy="28029"/>
                  </a:xfrm>
                  <a:custGeom>
                    <a:avLst/>
                    <a:gdLst>
                      <a:gd name="connsiteX0" fmla="*/ 171158 w 172667"/>
                      <a:gd name="connsiteY0" fmla="*/ 12983 h 28029"/>
                      <a:gd name="connsiteX1" fmla="*/ 170633 w 172667"/>
                      <a:gd name="connsiteY1" fmla="*/ 12929 h 28029"/>
                      <a:gd name="connsiteX2" fmla="*/ 170636 w 172667"/>
                      <a:gd name="connsiteY2" fmla="*/ 12900 h 28029"/>
                      <a:gd name="connsiteX3" fmla="*/ 151622 w 172667"/>
                      <a:gd name="connsiteY3" fmla="*/ 9868 h 28029"/>
                      <a:gd name="connsiteX4" fmla="*/ 136731 w 172667"/>
                      <a:gd name="connsiteY4" fmla="*/ 8080 h 28029"/>
                      <a:gd name="connsiteX5" fmla="*/ 123308 w 172667"/>
                      <a:gd name="connsiteY5" fmla="*/ 10068 h 28029"/>
                      <a:gd name="connsiteX6" fmla="*/ 97587 w 172667"/>
                      <a:gd name="connsiteY6" fmla="*/ 12366 h 28029"/>
                      <a:gd name="connsiteX7" fmla="*/ 2987 w 172667"/>
                      <a:gd name="connsiteY7" fmla="*/ 377 h 28029"/>
                      <a:gd name="connsiteX8" fmla="*/ 451 w 172667"/>
                      <a:gd name="connsiteY8" fmla="*/ 7181 h 28029"/>
                      <a:gd name="connsiteX9" fmla="*/ 2207 w 172667"/>
                      <a:gd name="connsiteY9" fmla="*/ 14602 h 28029"/>
                      <a:gd name="connsiteX10" fmla="*/ 105842 w 172667"/>
                      <a:gd name="connsiteY10" fmla="*/ 25889 h 28029"/>
                      <a:gd name="connsiteX11" fmla="*/ 146380 w 172667"/>
                      <a:gd name="connsiteY11" fmla="*/ 16475 h 28029"/>
                      <a:gd name="connsiteX12" fmla="*/ 161407 w 172667"/>
                      <a:gd name="connsiteY12" fmla="*/ 18522 h 28029"/>
                      <a:gd name="connsiteX13" fmla="*/ 170542 w 172667"/>
                      <a:gd name="connsiteY13" fmla="*/ 19747 h 28029"/>
                      <a:gd name="connsiteX14" fmla="*/ 172657 w 172667"/>
                      <a:gd name="connsiteY14" fmla="*/ 17983 h 28029"/>
                      <a:gd name="connsiteX15" fmla="*/ 171158 w 172667"/>
                      <a:gd name="connsiteY15" fmla="*/ 12983 h 2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667" h="28029">
                        <a:moveTo>
                          <a:pt x="171158" y="12983"/>
                        </a:moveTo>
                        <a:cubicBezTo>
                          <a:pt x="170984" y="12954"/>
                          <a:pt x="170819" y="12929"/>
                          <a:pt x="170633" y="12929"/>
                        </a:cubicBezTo>
                        <a:cubicBezTo>
                          <a:pt x="170633" y="12917"/>
                          <a:pt x="170633" y="12909"/>
                          <a:pt x="170636" y="12900"/>
                        </a:cubicBezTo>
                        <a:lnTo>
                          <a:pt x="151622" y="9868"/>
                        </a:lnTo>
                        <a:cubicBezTo>
                          <a:pt x="151613" y="10019"/>
                          <a:pt x="139378" y="8246"/>
                          <a:pt x="136731" y="8080"/>
                        </a:cubicBezTo>
                        <a:cubicBezTo>
                          <a:pt x="132354" y="9277"/>
                          <a:pt x="127960" y="9662"/>
                          <a:pt x="123308" y="10068"/>
                        </a:cubicBezTo>
                        <a:cubicBezTo>
                          <a:pt x="114702" y="10927"/>
                          <a:pt x="106910" y="11424"/>
                          <a:pt x="97587" y="12366"/>
                        </a:cubicBezTo>
                        <a:cubicBezTo>
                          <a:pt x="65391" y="15441"/>
                          <a:pt x="25321" y="19268"/>
                          <a:pt x="2987" y="377"/>
                        </a:cubicBezTo>
                        <a:cubicBezTo>
                          <a:pt x="-1216" y="-1642"/>
                          <a:pt x="152" y="5011"/>
                          <a:pt x="451" y="7181"/>
                        </a:cubicBezTo>
                        <a:cubicBezTo>
                          <a:pt x="1174" y="9379"/>
                          <a:pt x="-519" y="14236"/>
                          <a:pt x="2207" y="14602"/>
                        </a:cubicBezTo>
                        <a:cubicBezTo>
                          <a:pt x="36412" y="22574"/>
                          <a:pt x="71130" y="22977"/>
                          <a:pt x="105842" y="25889"/>
                        </a:cubicBezTo>
                        <a:cubicBezTo>
                          <a:pt x="119454" y="28682"/>
                          <a:pt x="140295" y="31217"/>
                          <a:pt x="146380" y="16475"/>
                        </a:cubicBezTo>
                        <a:cubicBezTo>
                          <a:pt x="151511" y="17280"/>
                          <a:pt x="158732" y="18231"/>
                          <a:pt x="161407" y="18522"/>
                        </a:cubicBezTo>
                        <a:cubicBezTo>
                          <a:pt x="164414" y="18851"/>
                          <a:pt x="167526" y="19188"/>
                          <a:pt x="170542" y="19747"/>
                        </a:cubicBezTo>
                        <a:cubicBezTo>
                          <a:pt x="171601" y="19973"/>
                          <a:pt x="172689" y="19071"/>
                          <a:pt x="172657" y="17983"/>
                        </a:cubicBezTo>
                        <a:cubicBezTo>
                          <a:pt x="172535" y="16549"/>
                          <a:pt x="173197" y="13411"/>
                          <a:pt x="171158" y="12983"/>
                        </a:cubicBezTo>
                        <a:close/>
                      </a:path>
                    </a:pathLst>
                  </a:custGeom>
                  <a:solidFill>
                    <a:srgbClr val="FFFFFF"/>
                  </a:solidFill>
                  <a:ln w="2826" cap="flat">
                    <a:noFill/>
                    <a:prstDash val="solid"/>
                    <a:miter/>
                  </a:ln>
                </p:spPr>
                <p:txBody>
                  <a:bodyPr rtlCol="0" anchor="ctr"/>
                  <a:lstStyle/>
                  <a:p>
                    <a:endParaRPr lang="fr-CA"/>
                  </a:p>
                </p:txBody>
              </p:sp>
            </p:grpSp>
            <p:grpSp>
              <p:nvGrpSpPr>
                <p:cNvPr id="1451" name="Graphique 35" descr="Garçon dans un fauteuil roulant">
                  <a:extLst>
                    <a:ext uri="{FF2B5EF4-FFF2-40B4-BE49-F238E27FC236}">
                      <a16:creationId xmlns:a16="http://schemas.microsoft.com/office/drawing/2014/main" id="{249A945D-3CF9-BD02-1AA8-4B8087C2A7FC}"/>
                    </a:ext>
                  </a:extLst>
                </p:cNvPr>
                <p:cNvGrpSpPr/>
                <p:nvPr/>
              </p:nvGrpSpPr>
              <p:grpSpPr>
                <a:xfrm>
                  <a:off x="9476564" y="4235455"/>
                  <a:ext cx="283060" cy="335695"/>
                  <a:chOff x="9476564" y="4235455"/>
                  <a:chExt cx="283060" cy="335695"/>
                </a:xfrm>
                <a:solidFill>
                  <a:srgbClr val="000000"/>
                </a:solidFill>
              </p:grpSpPr>
              <p:sp>
                <p:nvSpPr>
                  <p:cNvPr id="1461" name="Forme libre : forme 1460">
                    <a:extLst>
                      <a:ext uri="{FF2B5EF4-FFF2-40B4-BE49-F238E27FC236}">
                        <a16:creationId xmlns:a16="http://schemas.microsoft.com/office/drawing/2014/main" id="{AA7C4532-FE3C-14E2-2D1E-3B87C519436A}"/>
                      </a:ext>
                    </a:extLst>
                  </p:cNvPr>
                  <p:cNvSpPr/>
                  <p:nvPr/>
                </p:nvSpPr>
                <p:spPr>
                  <a:xfrm>
                    <a:off x="9476564" y="4235455"/>
                    <a:ext cx="283060" cy="335695"/>
                  </a:xfrm>
                  <a:custGeom>
                    <a:avLst/>
                    <a:gdLst>
                      <a:gd name="connsiteX0" fmla="*/ 280186 w 283060"/>
                      <a:gd name="connsiteY0" fmla="*/ 129361 h 335695"/>
                      <a:gd name="connsiteX1" fmla="*/ 217592 w 283060"/>
                      <a:gd name="connsiteY1" fmla="*/ 27439 h 335695"/>
                      <a:gd name="connsiteX2" fmla="*/ 102632 w 283060"/>
                      <a:gd name="connsiteY2" fmla="*/ 5 h 335695"/>
                      <a:gd name="connsiteX3" fmla="*/ 54494 w 283060"/>
                      <a:gd name="connsiteY3" fmla="*/ 6792 h 335695"/>
                      <a:gd name="connsiteX4" fmla="*/ 52532 w 283060"/>
                      <a:gd name="connsiteY4" fmla="*/ 9179 h 335695"/>
                      <a:gd name="connsiteX5" fmla="*/ 53249 w 283060"/>
                      <a:gd name="connsiteY5" fmla="*/ 13950 h 335695"/>
                      <a:gd name="connsiteX6" fmla="*/ 46331 w 283060"/>
                      <a:gd name="connsiteY6" fmla="*/ 17051 h 335695"/>
                      <a:gd name="connsiteX7" fmla="*/ 39252 w 283060"/>
                      <a:gd name="connsiteY7" fmla="*/ 18402 h 335695"/>
                      <a:gd name="connsiteX8" fmla="*/ 34401 w 283060"/>
                      <a:gd name="connsiteY8" fmla="*/ 15381 h 335695"/>
                      <a:gd name="connsiteX9" fmla="*/ 33684 w 283060"/>
                      <a:gd name="connsiteY9" fmla="*/ 28501 h 335695"/>
                      <a:gd name="connsiteX10" fmla="*/ 14519 w 283060"/>
                      <a:gd name="connsiteY10" fmla="*/ 14904 h 335695"/>
                      <a:gd name="connsiteX11" fmla="*/ 442 w 283060"/>
                      <a:gd name="connsiteY11" fmla="*/ 14904 h 335695"/>
                      <a:gd name="connsiteX12" fmla="*/ 2464 w 283060"/>
                      <a:gd name="connsiteY12" fmla="*/ 124347 h 335695"/>
                      <a:gd name="connsiteX13" fmla="*/ 4314 w 283060"/>
                      <a:gd name="connsiteY13" fmla="*/ 126074 h 335695"/>
                      <a:gd name="connsiteX14" fmla="*/ 18451 w 283060"/>
                      <a:gd name="connsiteY14" fmla="*/ 131733 h 335695"/>
                      <a:gd name="connsiteX15" fmla="*/ 22748 w 283060"/>
                      <a:gd name="connsiteY15" fmla="*/ 164416 h 335695"/>
                      <a:gd name="connsiteX16" fmla="*/ 23988 w 283060"/>
                      <a:gd name="connsiteY16" fmla="*/ 166346 h 335695"/>
                      <a:gd name="connsiteX17" fmla="*/ 54314 w 283060"/>
                      <a:gd name="connsiteY17" fmla="*/ 205633 h 335695"/>
                      <a:gd name="connsiteX18" fmla="*/ 76497 w 283060"/>
                      <a:gd name="connsiteY18" fmla="*/ 312163 h 335695"/>
                      <a:gd name="connsiteX19" fmla="*/ 78153 w 283060"/>
                      <a:gd name="connsiteY19" fmla="*/ 324418 h 335695"/>
                      <a:gd name="connsiteX20" fmla="*/ 87253 w 283060"/>
                      <a:gd name="connsiteY20" fmla="*/ 326371 h 335695"/>
                      <a:gd name="connsiteX21" fmla="*/ 112372 w 283060"/>
                      <a:gd name="connsiteY21" fmla="*/ 316446 h 335695"/>
                      <a:gd name="connsiteX22" fmla="*/ 110759 w 283060"/>
                      <a:gd name="connsiteY22" fmla="*/ 300193 h 335695"/>
                      <a:gd name="connsiteX23" fmla="*/ 116801 w 283060"/>
                      <a:gd name="connsiteY23" fmla="*/ 277353 h 335695"/>
                      <a:gd name="connsiteX24" fmla="*/ 111675 w 283060"/>
                      <a:gd name="connsiteY24" fmla="*/ 223359 h 335695"/>
                      <a:gd name="connsiteX25" fmla="*/ 109314 w 283060"/>
                      <a:gd name="connsiteY25" fmla="*/ 99913 h 335695"/>
                      <a:gd name="connsiteX26" fmla="*/ 113917 w 283060"/>
                      <a:gd name="connsiteY26" fmla="*/ 98197 h 335695"/>
                      <a:gd name="connsiteX27" fmla="*/ 158412 w 283060"/>
                      <a:gd name="connsiteY27" fmla="*/ 114556 h 335695"/>
                      <a:gd name="connsiteX28" fmla="*/ 194335 w 283060"/>
                      <a:gd name="connsiteY28" fmla="*/ 132082 h 335695"/>
                      <a:gd name="connsiteX29" fmla="*/ 193447 w 283060"/>
                      <a:gd name="connsiteY29" fmla="*/ 277214 h 335695"/>
                      <a:gd name="connsiteX30" fmla="*/ 197102 w 283060"/>
                      <a:gd name="connsiteY30" fmla="*/ 291744 h 335695"/>
                      <a:gd name="connsiteX31" fmla="*/ 200828 w 283060"/>
                      <a:gd name="connsiteY31" fmla="*/ 319770 h 335695"/>
                      <a:gd name="connsiteX32" fmla="*/ 202375 w 283060"/>
                      <a:gd name="connsiteY32" fmla="*/ 331145 h 335695"/>
                      <a:gd name="connsiteX33" fmla="*/ 205068 w 283060"/>
                      <a:gd name="connsiteY33" fmla="*/ 334935 h 335695"/>
                      <a:gd name="connsiteX34" fmla="*/ 246887 w 283060"/>
                      <a:gd name="connsiteY34" fmla="*/ 331360 h 335695"/>
                      <a:gd name="connsiteX35" fmla="*/ 256344 w 283060"/>
                      <a:gd name="connsiteY35" fmla="*/ 327930 h 335695"/>
                      <a:gd name="connsiteX36" fmla="*/ 265656 w 283060"/>
                      <a:gd name="connsiteY36" fmla="*/ 312329 h 335695"/>
                      <a:gd name="connsiteX37" fmla="*/ 267811 w 283060"/>
                      <a:gd name="connsiteY37" fmla="*/ 297529 h 335695"/>
                      <a:gd name="connsiteX38" fmla="*/ 277540 w 283060"/>
                      <a:gd name="connsiteY38" fmla="*/ 275383 h 335695"/>
                      <a:gd name="connsiteX39" fmla="*/ 280186 w 283060"/>
                      <a:gd name="connsiteY39" fmla="*/ 129361 h 33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3060" h="335695">
                        <a:moveTo>
                          <a:pt x="280186" y="129361"/>
                        </a:moveTo>
                        <a:cubicBezTo>
                          <a:pt x="291305" y="78296"/>
                          <a:pt x="270107" y="40285"/>
                          <a:pt x="217592" y="27439"/>
                        </a:cubicBezTo>
                        <a:cubicBezTo>
                          <a:pt x="207150" y="24615"/>
                          <a:pt x="103572" y="-395"/>
                          <a:pt x="102632" y="5"/>
                        </a:cubicBezTo>
                        <a:cubicBezTo>
                          <a:pt x="91182" y="4882"/>
                          <a:pt x="72945" y="14636"/>
                          <a:pt x="54494" y="6792"/>
                        </a:cubicBezTo>
                        <a:cubicBezTo>
                          <a:pt x="54237" y="6683"/>
                          <a:pt x="53235" y="6741"/>
                          <a:pt x="52532" y="9179"/>
                        </a:cubicBezTo>
                        <a:cubicBezTo>
                          <a:pt x="52158" y="10478"/>
                          <a:pt x="53752" y="12211"/>
                          <a:pt x="53249" y="13950"/>
                        </a:cubicBezTo>
                        <a:cubicBezTo>
                          <a:pt x="52847" y="15349"/>
                          <a:pt x="50611" y="18071"/>
                          <a:pt x="46331" y="17051"/>
                        </a:cubicBezTo>
                        <a:cubicBezTo>
                          <a:pt x="45742" y="16911"/>
                          <a:pt x="44900" y="20949"/>
                          <a:pt x="39252" y="18402"/>
                        </a:cubicBezTo>
                        <a:cubicBezTo>
                          <a:pt x="38338" y="17991"/>
                          <a:pt x="34655" y="14610"/>
                          <a:pt x="34401" y="15381"/>
                        </a:cubicBezTo>
                        <a:cubicBezTo>
                          <a:pt x="33296" y="18716"/>
                          <a:pt x="37096" y="28124"/>
                          <a:pt x="33684" y="28501"/>
                        </a:cubicBezTo>
                        <a:cubicBezTo>
                          <a:pt x="30107" y="28898"/>
                          <a:pt x="21503" y="19024"/>
                          <a:pt x="14519" y="14904"/>
                        </a:cubicBezTo>
                        <a:cubicBezTo>
                          <a:pt x="10585" y="12583"/>
                          <a:pt x="4617" y="14724"/>
                          <a:pt x="442" y="14904"/>
                        </a:cubicBezTo>
                        <a:cubicBezTo>
                          <a:pt x="-1162" y="47583"/>
                          <a:pt x="2087" y="96067"/>
                          <a:pt x="2464" y="124347"/>
                        </a:cubicBezTo>
                        <a:cubicBezTo>
                          <a:pt x="2478" y="125306"/>
                          <a:pt x="3352" y="126126"/>
                          <a:pt x="4314" y="126074"/>
                        </a:cubicBezTo>
                        <a:cubicBezTo>
                          <a:pt x="9205" y="125986"/>
                          <a:pt x="6961" y="125489"/>
                          <a:pt x="18451" y="131733"/>
                        </a:cubicBezTo>
                        <a:cubicBezTo>
                          <a:pt x="21997" y="134218"/>
                          <a:pt x="24210" y="152863"/>
                          <a:pt x="22748" y="164416"/>
                        </a:cubicBezTo>
                        <a:cubicBezTo>
                          <a:pt x="22640" y="165275"/>
                          <a:pt x="23162" y="166086"/>
                          <a:pt x="23988" y="166346"/>
                        </a:cubicBezTo>
                        <a:cubicBezTo>
                          <a:pt x="44635" y="172839"/>
                          <a:pt x="52076" y="195987"/>
                          <a:pt x="54314" y="205633"/>
                        </a:cubicBezTo>
                        <a:cubicBezTo>
                          <a:pt x="63029" y="241016"/>
                          <a:pt x="67743" y="277502"/>
                          <a:pt x="76497" y="312163"/>
                        </a:cubicBezTo>
                        <a:cubicBezTo>
                          <a:pt x="76609" y="317083"/>
                          <a:pt x="77231" y="319844"/>
                          <a:pt x="78153" y="324418"/>
                        </a:cubicBezTo>
                        <a:cubicBezTo>
                          <a:pt x="78942" y="327088"/>
                          <a:pt x="85369" y="325983"/>
                          <a:pt x="87253" y="326371"/>
                        </a:cubicBezTo>
                        <a:cubicBezTo>
                          <a:pt x="96422" y="326143"/>
                          <a:pt x="104440" y="323470"/>
                          <a:pt x="112372" y="316446"/>
                        </a:cubicBezTo>
                        <a:cubicBezTo>
                          <a:pt x="113523" y="309045"/>
                          <a:pt x="113049" y="308211"/>
                          <a:pt x="110759" y="300193"/>
                        </a:cubicBezTo>
                        <a:cubicBezTo>
                          <a:pt x="120495" y="292610"/>
                          <a:pt x="122723" y="286668"/>
                          <a:pt x="116801" y="277353"/>
                        </a:cubicBezTo>
                        <a:cubicBezTo>
                          <a:pt x="107538" y="262586"/>
                          <a:pt x="110739" y="240365"/>
                          <a:pt x="111675" y="223359"/>
                        </a:cubicBezTo>
                        <a:cubicBezTo>
                          <a:pt x="114131" y="182901"/>
                          <a:pt x="114271" y="144577"/>
                          <a:pt x="109314" y="99913"/>
                        </a:cubicBezTo>
                        <a:cubicBezTo>
                          <a:pt x="109231" y="99163"/>
                          <a:pt x="110961" y="98155"/>
                          <a:pt x="113917" y="98197"/>
                        </a:cubicBezTo>
                        <a:cubicBezTo>
                          <a:pt x="130038" y="97481"/>
                          <a:pt x="143735" y="106618"/>
                          <a:pt x="158412" y="114556"/>
                        </a:cubicBezTo>
                        <a:cubicBezTo>
                          <a:pt x="168571" y="119361"/>
                          <a:pt x="195131" y="128578"/>
                          <a:pt x="194335" y="132082"/>
                        </a:cubicBezTo>
                        <a:cubicBezTo>
                          <a:pt x="202627" y="181525"/>
                          <a:pt x="197750" y="232362"/>
                          <a:pt x="193447" y="277214"/>
                        </a:cubicBezTo>
                        <a:cubicBezTo>
                          <a:pt x="193749" y="282333"/>
                          <a:pt x="195508" y="287142"/>
                          <a:pt x="197102" y="291744"/>
                        </a:cubicBezTo>
                        <a:cubicBezTo>
                          <a:pt x="198875" y="296787"/>
                          <a:pt x="201370" y="316977"/>
                          <a:pt x="200828" y="319770"/>
                        </a:cubicBezTo>
                        <a:cubicBezTo>
                          <a:pt x="200728" y="323370"/>
                          <a:pt x="200094" y="328373"/>
                          <a:pt x="202375" y="331145"/>
                        </a:cubicBezTo>
                        <a:cubicBezTo>
                          <a:pt x="203475" y="332445"/>
                          <a:pt x="203178" y="334663"/>
                          <a:pt x="205068" y="334935"/>
                        </a:cubicBezTo>
                        <a:cubicBezTo>
                          <a:pt x="219742" y="336853"/>
                          <a:pt x="233396" y="334954"/>
                          <a:pt x="246887" y="331360"/>
                        </a:cubicBezTo>
                        <a:cubicBezTo>
                          <a:pt x="250265" y="329878"/>
                          <a:pt x="253409" y="328142"/>
                          <a:pt x="256344" y="327930"/>
                        </a:cubicBezTo>
                        <a:cubicBezTo>
                          <a:pt x="259405" y="327668"/>
                          <a:pt x="257115" y="315809"/>
                          <a:pt x="265656" y="312329"/>
                        </a:cubicBezTo>
                        <a:cubicBezTo>
                          <a:pt x="267389" y="311735"/>
                          <a:pt x="267346" y="303066"/>
                          <a:pt x="267811" y="297529"/>
                        </a:cubicBezTo>
                        <a:cubicBezTo>
                          <a:pt x="274256" y="293303"/>
                          <a:pt x="285806" y="282702"/>
                          <a:pt x="277540" y="275383"/>
                        </a:cubicBezTo>
                        <a:cubicBezTo>
                          <a:pt x="258746" y="259208"/>
                          <a:pt x="279647" y="156752"/>
                          <a:pt x="280186" y="129361"/>
                        </a:cubicBezTo>
                        <a:close/>
                      </a:path>
                    </a:pathLst>
                  </a:custGeom>
                  <a:solidFill>
                    <a:srgbClr val="000000"/>
                  </a:solidFill>
                  <a:ln w="2826" cap="flat">
                    <a:noFill/>
                    <a:prstDash val="solid"/>
                    <a:miter/>
                  </a:ln>
                </p:spPr>
                <p:txBody>
                  <a:bodyPr rtlCol="0" anchor="ctr"/>
                  <a:lstStyle/>
                  <a:p>
                    <a:endParaRPr lang="fr-CA"/>
                  </a:p>
                </p:txBody>
              </p:sp>
              <p:sp>
                <p:nvSpPr>
                  <p:cNvPr id="1462" name="Forme libre : forme 1461">
                    <a:extLst>
                      <a:ext uri="{FF2B5EF4-FFF2-40B4-BE49-F238E27FC236}">
                        <a16:creationId xmlns:a16="http://schemas.microsoft.com/office/drawing/2014/main" id="{9AF5089C-4646-519C-28B0-4803E4E231E7}"/>
                      </a:ext>
                    </a:extLst>
                  </p:cNvPr>
                  <p:cNvSpPr/>
                  <p:nvPr/>
                </p:nvSpPr>
                <p:spPr>
                  <a:xfrm>
                    <a:off x="9501972" y="4424098"/>
                    <a:ext cx="34682" cy="119787"/>
                  </a:xfrm>
                  <a:custGeom>
                    <a:avLst/>
                    <a:gdLst>
                      <a:gd name="connsiteX0" fmla="*/ 28812 w 34682"/>
                      <a:gd name="connsiteY0" fmla="*/ 87888 h 119787"/>
                      <a:gd name="connsiteX1" fmla="*/ 935 w 34682"/>
                      <a:gd name="connsiteY1" fmla="*/ 0 h 119787"/>
                      <a:gd name="connsiteX2" fmla="*/ 1544 w 34682"/>
                      <a:gd name="connsiteY2" fmla="*/ 11379 h 119787"/>
                      <a:gd name="connsiteX3" fmla="*/ 20138 w 34682"/>
                      <a:gd name="connsiteY3" fmla="*/ 77172 h 119787"/>
                      <a:gd name="connsiteX4" fmla="*/ 32002 w 34682"/>
                      <a:gd name="connsiteY4" fmla="*/ 119548 h 119787"/>
                      <a:gd name="connsiteX5" fmla="*/ 33940 w 34682"/>
                      <a:gd name="connsiteY5" fmla="*/ 119448 h 119787"/>
                      <a:gd name="connsiteX6" fmla="*/ 34646 w 34682"/>
                      <a:gd name="connsiteY6" fmla="*/ 117640 h 119787"/>
                      <a:gd name="connsiteX7" fmla="*/ 28812 w 34682"/>
                      <a:gd name="connsiteY7" fmla="*/ 87888 h 11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2" h="119787">
                        <a:moveTo>
                          <a:pt x="28812" y="87888"/>
                        </a:moveTo>
                        <a:cubicBezTo>
                          <a:pt x="23202" y="67061"/>
                          <a:pt x="18856" y="10222"/>
                          <a:pt x="935" y="0"/>
                        </a:cubicBezTo>
                        <a:cubicBezTo>
                          <a:pt x="-1514" y="1082"/>
                          <a:pt x="1632" y="8912"/>
                          <a:pt x="1544" y="11379"/>
                        </a:cubicBezTo>
                        <a:cubicBezTo>
                          <a:pt x="4074" y="34004"/>
                          <a:pt x="12805" y="55791"/>
                          <a:pt x="20138" y="77172"/>
                        </a:cubicBezTo>
                        <a:cubicBezTo>
                          <a:pt x="17117" y="91668"/>
                          <a:pt x="16623" y="111493"/>
                          <a:pt x="32002" y="119548"/>
                        </a:cubicBezTo>
                        <a:cubicBezTo>
                          <a:pt x="32610" y="119899"/>
                          <a:pt x="33369" y="119862"/>
                          <a:pt x="33940" y="119448"/>
                        </a:cubicBezTo>
                        <a:cubicBezTo>
                          <a:pt x="34512" y="119037"/>
                          <a:pt x="34789" y="118329"/>
                          <a:pt x="34646" y="117640"/>
                        </a:cubicBezTo>
                        <a:cubicBezTo>
                          <a:pt x="32627" y="107747"/>
                          <a:pt x="30688" y="97650"/>
                          <a:pt x="28812" y="87888"/>
                        </a:cubicBezTo>
                        <a:close/>
                      </a:path>
                    </a:pathLst>
                  </a:custGeom>
                  <a:solidFill>
                    <a:srgbClr val="000000"/>
                  </a:solidFill>
                  <a:ln w="2826" cap="flat">
                    <a:noFill/>
                    <a:prstDash val="solid"/>
                    <a:miter/>
                  </a:ln>
                </p:spPr>
                <p:txBody>
                  <a:bodyPr rtlCol="0" anchor="ctr"/>
                  <a:lstStyle/>
                  <a:p>
                    <a:endParaRPr lang="fr-CA"/>
                  </a:p>
                </p:txBody>
              </p:sp>
            </p:grpSp>
            <p:grpSp>
              <p:nvGrpSpPr>
                <p:cNvPr id="1452" name="Graphique 35" descr="Garçon dans un fauteuil roulant">
                  <a:extLst>
                    <a:ext uri="{FF2B5EF4-FFF2-40B4-BE49-F238E27FC236}">
                      <a16:creationId xmlns:a16="http://schemas.microsoft.com/office/drawing/2014/main" id="{D6AF14DC-F363-928E-4E7D-D85683800C89}"/>
                    </a:ext>
                  </a:extLst>
                </p:cNvPr>
                <p:cNvGrpSpPr/>
                <p:nvPr/>
              </p:nvGrpSpPr>
              <p:grpSpPr>
                <a:xfrm>
                  <a:off x="9153323" y="3985440"/>
                  <a:ext cx="751062" cy="723778"/>
                  <a:chOff x="9153323" y="3985440"/>
                  <a:chExt cx="751062" cy="723778"/>
                </a:xfrm>
                <a:solidFill>
                  <a:srgbClr val="000000"/>
                </a:solidFill>
              </p:grpSpPr>
              <p:sp>
                <p:nvSpPr>
                  <p:cNvPr id="1453" name="Forme libre : forme 1452">
                    <a:extLst>
                      <a:ext uri="{FF2B5EF4-FFF2-40B4-BE49-F238E27FC236}">
                        <a16:creationId xmlns:a16="http://schemas.microsoft.com/office/drawing/2014/main" id="{337BAF4B-59AD-DF7E-9A1F-71785185CAAE}"/>
                      </a:ext>
                    </a:extLst>
                  </p:cNvPr>
                  <p:cNvSpPr/>
                  <p:nvPr/>
                </p:nvSpPr>
                <p:spPr>
                  <a:xfrm>
                    <a:off x="9424163" y="4656144"/>
                    <a:ext cx="6543" cy="6550"/>
                  </a:xfrm>
                  <a:custGeom>
                    <a:avLst/>
                    <a:gdLst>
                      <a:gd name="connsiteX0" fmla="*/ 5570 w 6543"/>
                      <a:gd name="connsiteY0" fmla="*/ 976 h 6550"/>
                      <a:gd name="connsiteX1" fmla="*/ 973 w 6543"/>
                      <a:gd name="connsiteY1" fmla="*/ 5573 h 6550"/>
                      <a:gd name="connsiteX2" fmla="*/ 5570 w 6543"/>
                      <a:gd name="connsiteY2" fmla="*/ 976 h 6550"/>
                    </a:gdLst>
                    <a:ahLst/>
                    <a:cxnLst>
                      <a:cxn ang="0">
                        <a:pos x="connsiteX0" y="connsiteY0"/>
                      </a:cxn>
                      <a:cxn ang="0">
                        <a:pos x="connsiteX1" y="connsiteY1"/>
                      </a:cxn>
                      <a:cxn ang="0">
                        <a:pos x="connsiteX2" y="connsiteY2"/>
                      </a:cxn>
                    </a:cxnLst>
                    <a:rect l="l" t="t" r="r" b="b"/>
                    <a:pathLst>
                      <a:path w="6543" h="6550">
                        <a:moveTo>
                          <a:pt x="5570" y="976"/>
                        </a:moveTo>
                        <a:cubicBezTo>
                          <a:pt x="2609" y="-2039"/>
                          <a:pt x="-2031" y="2626"/>
                          <a:pt x="973" y="5573"/>
                        </a:cubicBezTo>
                        <a:cubicBezTo>
                          <a:pt x="3934" y="8591"/>
                          <a:pt x="8574" y="3923"/>
                          <a:pt x="5570" y="976"/>
                        </a:cubicBezTo>
                        <a:close/>
                      </a:path>
                    </a:pathLst>
                  </a:custGeom>
                  <a:solidFill>
                    <a:srgbClr val="000000"/>
                  </a:solidFill>
                  <a:ln w="2826" cap="flat">
                    <a:noFill/>
                    <a:prstDash val="solid"/>
                    <a:miter/>
                  </a:ln>
                </p:spPr>
                <p:txBody>
                  <a:bodyPr rtlCol="0" anchor="ctr"/>
                  <a:lstStyle/>
                  <a:p>
                    <a:endParaRPr lang="fr-CA"/>
                  </a:p>
                </p:txBody>
              </p:sp>
              <p:sp>
                <p:nvSpPr>
                  <p:cNvPr id="1454" name="Forme libre : forme 1453">
                    <a:extLst>
                      <a:ext uri="{FF2B5EF4-FFF2-40B4-BE49-F238E27FC236}">
                        <a16:creationId xmlns:a16="http://schemas.microsoft.com/office/drawing/2014/main" id="{F0C7C23F-86D0-377F-EFCA-748EDCFA990D}"/>
                      </a:ext>
                    </a:extLst>
                  </p:cNvPr>
                  <p:cNvSpPr/>
                  <p:nvPr/>
                </p:nvSpPr>
                <p:spPr>
                  <a:xfrm>
                    <a:off x="9182847" y="4459743"/>
                    <a:ext cx="55575" cy="4132"/>
                  </a:xfrm>
                  <a:custGeom>
                    <a:avLst/>
                    <a:gdLst>
                      <a:gd name="connsiteX0" fmla="*/ 973 w 55575"/>
                      <a:gd name="connsiteY0" fmla="*/ 2782 h 4132"/>
                      <a:gd name="connsiteX1" fmla="*/ 55024 w 55575"/>
                      <a:gd name="connsiteY1" fmla="*/ 2605 h 4132"/>
                      <a:gd name="connsiteX2" fmla="*/ 28270 w 55575"/>
                      <a:gd name="connsiteY2" fmla="*/ 295 h 4132"/>
                      <a:gd name="connsiteX3" fmla="*/ 970 w 55575"/>
                      <a:gd name="connsiteY3" fmla="*/ 769 h 4132"/>
                      <a:gd name="connsiteX4" fmla="*/ 973 w 55575"/>
                      <a:gd name="connsiteY4" fmla="*/ 2782 h 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75" h="4132">
                        <a:moveTo>
                          <a:pt x="973" y="2782"/>
                        </a:moveTo>
                        <a:cubicBezTo>
                          <a:pt x="18887" y="3699"/>
                          <a:pt x="37236" y="5384"/>
                          <a:pt x="55024" y="2605"/>
                        </a:cubicBezTo>
                        <a:cubicBezTo>
                          <a:pt x="59924" y="-1569"/>
                          <a:pt x="30583" y="604"/>
                          <a:pt x="28270" y="295"/>
                        </a:cubicBezTo>
                        <a:cubicBezTo>
                          <a:pt x="19164" y="389"/>
                          <a:pt x="10075" y="532"/>
                          <a:pt x="970" y="769"/>
                        </a:cubicBezTo>
                        <a:cubicBezTo>
                          <a:pt x="-338" y="804"/>
                          <a:pt x="-309" y="2682"/>
                          <a:pt x="973" y="2782"/>
                        </a:cubicBezTo>
                        <a:close/>
                      </a:path>
                    </a:pathLst>
                  </a:custGeom>
                  <a:solidFill>
                    <a:srgbClr val="000000"/>
                  </a:solidFill>
                  <a:ln w="2826" cap="flat">
                    <a:noFill/>
                    <a:prstDash val="solid"/>
                    <a:miter/>
                  </a:ln>
                </p:spPr>
                <p:txBody>
                  <a:bodyPr rtlCol="0" anchor="ctr"/>
                  <a:lstStyle/>
                  <a:p>
                    <a:endParaRPr lang="fr-CA"/>
                  </a:p>
                </p:txBody>
              </p:sp>
              <p:sp>
                <p:nvSpPr>
                  <p:cNvPr id="1455" name="Forme libre : forme 1454">
                    <a:extLst>
                      <a:ext uri="{FF2B5EF4-FFF2-40B4-BE49-F238E27FC236}">
                        <a16:creationId xmlns:a16="http://schemas.microsoft.com/office/drawing/2014/main" id="{57D1093A-597F-C2FA-CAE7-DE9BBB0E01F0}"/>
                      </a:ext>
                    </a:extLst>
                  </p:cNvPr>
                  <p:cNvSpPr/>
                  <p:nvPr/>
                </p:nvSpPr>
                <p:spPr>
                  <a:xfrm>
                    <a:off x="9206205" y="4470289"/>
                    <a:ext cx="38415" cy="52696"/>
                  </a:xfrm>
                  <a:custGeom>
                    <a:avLst/>
                    <a:gdLst>
                      <a:gd name="connsiteX0" fmla="*/ 27186 w 38415"/>
                      <a:gd name="connsiteY0" fmla="*/ 12232 h 52696"/>
                      <a:gd name="connsiteX1" fmla="*/ 8449 w 38415"/>
                      <a:gd name="connsiteY1" fmla="*/ 38130 h 52696"/>
                      <a:gd name="connsiteX2" fmla="*/ 0 w 38415"/>
                      <a:gd name="connsiteY2" fmla="*/ 51274 h 52696"/>
                      <a:gd name="connsiteX3" fmla="*/ 6990 w 38415"/>
                      <a:gd name="connsiteY3" fmla="*/ 46457 h 52696"/>
                      <a:gd name="connsiteX4" fmla="*/ 20707 w 38415"/>
                      <a:gd name="connsiteY4" fmla="*/ 27554 h 52696"/>
                      <a:gd name="connsiteX5" fmla="*/ 38404 w 38415"/>
                      <a:gd name="connsiteY5" fmla="*/ 1505 h 52696"/>
                      <a:gd name="connsiteX6" fmla="*/ 27186 w 38415"/>
                      <a:gd name="connsiteY6" fmla="*/ 12232 h 5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15" h="52696">
                        <a:moveTo>
                          <a:pt x="27186" y="12232"/>
                        </a:moveTo>
                        <a:cubicBezTo>
                          <a:pt x="20895" y="20833"/>
                          <a:pt x="14685" y="29490"/>
                          <a:pt x="8449" y="38130"/>
                        </a:cubicBezTo>
                        <a:cubicBezTo>
                          <a:pt x="5548" y="42422"/>
                          <a:pt x="2039" y="46485"/>
                          <a:pt x="0" y="51274"/>
                        </a:cubicBezTo>
                        <a:cubicBezTo>
                          <a:pt x="451" y="55971"/>
                          <a:pt x="6065" y="47636"/>
                          <a:pt x="6990" y="46457"/>
                        </a:cubicBezTo>
                        <a:cubicBezTo>
                          <a:pt x="11710" y="40266"/>
                          <a:pt x="16124" y="33847"/>
                          <a:pt x="20707" y="27554"/>
                        </a:cubicBezTo>
                        <a:cubicBezTo>
                          <a:pt x="26660" y="18917"/>
                          <a:pt x="33430" y="10762"/>
                          <a:pt x="38404" y="1505"/>
                        </a:cubicBezTo>
                        <a:cubicBezTo>
                          <a:pt x="38816" y="-4900"/>
                          <a:pt x="28119" y="11144"/>
                          <a:pt x="27186" y="12232"/>
                        </a:cubicBezTo>
                        <a:close/>
                      </a:path>
                    </a:pathLst>
                  </a:custGeom>
                  <a:solidFill>
                    <a:srgbClr val="000000"/>
                  </a:solidFill>
                  <a:ln w="2826" cap="flat">
                    <a:noFill/>
                    <a:prstDash val="solid"/>
                    <a:miter/>
                  </a:ln>
                </p:spPr>
                <p:txBody>
                  <a:bodyPr rtlCol="0" anchor="ctr"/>
                  <a:lstStyle/>
                  <a:p>
                    <a:endParaRPr lang="fr-CA"/>
                  </a:p>
                </p:txBody>
              </p:sp>
              <p:grpSp>
                <p:nvGrpSpPr>
                  <p:cNvPr id="1456" name="Graphique 35" descr="Garçon dans un fauteuil roulant">
                    <a:extLst>
                      <a:ext uri="{FF2B5EF4-FFF2-40B4-BE49-F238E27FC236}">
                        <a16:creationId xmlns:a16="http://schemas.microsoft.com/office/drawing/2014/main" id="{2F8BF075-0A07-3698-4135-1C6C97071FD4}"/>
                      </a:ext>
                    </a:extLst>
                  </p:cNvPr>
                  <p:cNvGrpSpPr/>
                  <p:nvPr/>
                </p:nvGrpSpPr>
                <p:grpSpPr>
                  <a:xfrm>
                    <a:off x="9563545" y="4567975"/>
                    <a:ext cx="42855" cy="31190"/>
                    <a:chOff x="9563545" y="4567975"/>
                    <a:chExt cx="42855" cy="31190"/>
                  </a:xfrm>
                  <a:solidFill>
                    <a:srgbClr val="000000"/>
                  </a:solidFill>
                </p:grpSpPr>
                <p:sp>
                  <p:nvSpPr>
                    <p:cNvPr id="1458" name="Forme libre : forme 1457">
                      <a:extLst>
                        <a:ext uri="{FF2B5EF4-FFF2-40B4-BE49-F238E27FC236}">
                          <a16:creationId xmlns:a16="http://schemas.microsoft.com/office/drawing/2014/main" id="{1371940E-04BC-2F80-9C85-C9C1A6D9FCE7}"/>
                        </a:ext>
                      </a:extLst>
                    </p:cNvPr>
                    <p:cNvSpPr/>
                    <p:nvPr/>
                  </p:nvSpPr>
                  <p:spPr>
                    <a:xfrm>
                      <a:off x="9563545" y="4567975"/>
                      <a:ext cx="31054" cy="17572"/>
                    </a:xfrm>
                    <a:custGeom>
                      <a:avLst/>
                      <a:gdLst>
                        <a:gd name="connsiteX0" fmla="*/ 16334 w 31054"/>
                        <a:gd name="connsiteY0" fmla="*/ 7665 h 17572"/>
                        <a:gd name="connsiteX1" fmla="*/ 31053 w 31054"/>
                        <a:gd name="connsiteY1" fmla="*/ 5106 h 17572"/>
                        <a:gd name="connsiteX2" fmla="*/ 25165 w 31054"/>
                        <a:gd name="connsiteY2" fmla="*/ 67 h 17572"/>
                        <a:gd name="connsiteX3" fmla="*/ 147 w 31054"/>
                        <a:gd name="connsiteY3" fmla="*/ 16336 h 17572"/>
                        <a:gd name="connsiteX4" fmla="*/ 3516 w 31054"/>
                        <a:gd name="connsiteY4" fmla="*/ 15880 h 17572"/>
                        <a:gd name="connsiteX5" fmla="*/ 16334 w 31054"/>
                        <a:gd name="connsiteY5" fmla="*/ 7665 h 1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54" h="17572">
                          <a:moveTo>
                            <a:pt x="16334" y="7665"/>
                          </a:moveTo>
                          <a:cubicBezTo>
                            <a:pt x="25856" y="2220"/>
                            <a:pt x="30505" y="8219"/>
                            <a:pt x="31053" y="5106"/>
                          </a:cubicBezTo>
                          <a:cubicBezTo>
                            <a:pt x="31136" y="2040"/>
                            <a:pt x="27869" y="369"/>
                            <a:pt x="25165" y="67"/>
                          </a:cubicBezTo>
                          <a:cubicBezTo>
                            <a:pt x="19811" y="-938"/>
                            <a:pt x="-1989" y="9666"/>
                            <a:pt x="147" y="16336"/>
                          </a:cubicBezTo>
                          <a:cubicBezTo>
                            <a:pt x="429" y="18352"/>
                            <a:pt x="3390" y="17687"/>
                            <a:pt x="3516" y="15880"/>
                          </a:cubicBezTo>
                          <a:cubicBezTo>
                            <a:pt x="3882" y="13087"/>
                            <a:pt x="13653" y="9209"/>
                            <a:pt x="16334" y="7665"/>
                          </a:cubicBezTo>
                          <a:close/>
                        </a:path>
                      </a:pathLst>
                    </a:custGeom>
                    <a:solidFill>
                      <a:srgbClr val="000000"/>
                    </a:solidFill>
                    <a:ln w="2826" cap="flat">
                      <a:noFill/>
                      <a:prstDash val="solid"/>
                      <a:miter/>
                    </a:ln>
                  </p:spPr>
                  <p:txBody>
                    <a:bodyPr rtlCol="0" anchor="ctr"/>
                    <a:lstStyle/>
                    <a:p>
                      <a:endParaRPr lang="fr-CA"/>
                    </a:p>
                  </p:txBody>
                </p:sp>
                <p:sp>
                  <p:nvSpPr>
                    <p:cNvPr id="1459" name="Forme libre : forme 1458">
                      <a:extLst>
                        <a:ext uri="{FF2B5EF4-FFF2-40B4-BE49-F238E27FC236}">
                          <a16:creationId xmlns:a16="http://schemas.microsoft.com/office/drawing/2014/main" id="{46AAC670-9AD8-D62E-5C06-770E9FDFB56C}"/>
                        </a:ext>
                      </a:extLst>
                    </p:cNvPr>
                    <p:cNvSpPr/>
                    <p:nvPr/>
                  </p:nvSpPr>
                  <p:spPr>
                    <a:xfrm>
                      <a:off x="9568091" y="4576542"/>
                      <a:ext cx="32668" cy="17540"/>
                    </a:xfrm>
                    <a:custGeom>
                      <a:avLst/>
                      <a:gdLst>
                        <a:gd name="connsiteX0" fmla="*/ 24911 w 32668"/>
                        <a:gd name="connsiteY0" fmla="*/ 49 h 17540"/>
                        <a:gd name="connsiteX1" fmla="*/ 455 w 32668"/>
                        <a:gd name="connsiteY1" fmla="*/ 14372 h 17540"/>
                        <a:gd name="connsiteX2" fmla="*/ 2668 w 32668"/>
                        <a:gd name="connsiteY2" fmla="*/ 17241 h 17540"/>
                        <a:gd name="connsiteX3" fmla="*/ 16802 w 32668"/>
                        <a:gd name="connsiteY3" fmla="*/ 8107 h 17540"/>
                        <a:gd name="connsiteX4" fmla="*/ 27786 w 32668"/>
                        <a:gd name="connsiteY4" fmla="*/ 4915 h 17540"/>
                        <a:gd name="connsiteX5" fmla="*/ 32503 w 32668"/>
                        <a:gd name="connsiteY5" fmla="*/ 2616 h 17540"/>
                        <a:gd name="connsiteX6" fmla="*/ 24911 w 32668"/>
                        <a:gd name="connsiteY6" fmla="*/ 49 h 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68" h="17540">
                          <a:moveTo>
                            <a:pt x="24911" y="49"/>
                          </a:moveTo>
                          <a:cubicBezTo>
                            <a:pt x="15548" y="1474"/>
                            <a:pt x="6802" y="7545"/>
                            <a:pt x="455" y="14372"/>
                          </a:cubicBezTo>
                          <a:cubicBezTo>
                            <a:pt x="-824" y="15865"/>
                            <a:pt x="812" y="18412"/>
                            <a:pt x="2668" y="17241"/>
                          </a:cubicBezTo>
                          <a:cubicBezTo>
                            <a:pt x="7419" y="14243"/>
                            <a:pt x="11839" y="10786"/>
                            <a:pt x="16802" y="8107"/>
                          </a:cubicBezTo>
                          <a:cubicBezTo>
                            <a:pt x="20174" y="6268"/>
                            <a:pt x="23912" y="4946"/>
                            <a:pt x="27786" y="4915"/>
                          </a:cubicBezTo>
                          <a:cubicBezTo>
                            <a:pt x="29522" y="5089"/>
                            <a:pt x="33528" y="5483"/>
                            <a:pt x="32503" y="2616"/>
                          </a:cubicBezTo>
                          <a:cubicBezTo>
                            <a:pt x="31264" y="186"/>
                            <a:pt x="27327" y="-153"/>
                            <a:pt x="24911" y="49"/>
                          </a:cubicBezTo>
                          <a:close/>
                        </a:path>
                      </a:pathLst>
                    </a:custGeom>
                    <a:solidFill>
                      <a:srgbClr val="000000"/>
                    </a:solidFill>
                    <a:ln w="2826" cap="flat">
                      <a:noFill/>
                      <a:prstDash val="solid"/>
                      <a:miter/>
                    </a:ln>
                  </p:spPr>
                  <p:txBody>
                    <a:bodyPr rtlCol="0" anchor="ctr"/>
                    <a:lstStyle/>
                    <a:p>
                      <a:endParaRPr lang="fr-CA"/>
                    </a:p>
                  </p:txBody>
                </p:sp>
                <p:sp>
                  <p:nvSpPr>
                    <p:cNvPr id="1460" name="Forme libre : forme 1459">
                      <a:extLst>
                        <a:ext uri="{FF2B5EF4-FFF2-40B4-BE49-F238E27FC236}">
                          <a16:creationId xmlns:a16="http://schemas.microsoft.com/office/drawing/2014/main" id="{D784CA5B-3796-B361-AC1E-BCBB38006C24}"/>
                        </a:ext>
                      </a:extLst>
                    </p:cNvPr>
                    <p:cNvSpPr/>
                    <p:nvPr/>
                  </p:nvSpPr>
                  <p:spPr>
                    <a:xfrm>
                      <a:off x="9574725" y="4583303"/>
                      <a:ext cx="31675" cy="15862"/>
                    </a:xfrm>
                    <a:custGeom>
                      <a:avLst/>
                      <a:gdLst>
                        <a:gd name="connsiteX0" fmla="*/ 9996 w 31675"/>
                        <a:gd name="connsiteY0" fmla="*/ 4755 h 15862"/>
                        <a:gd name="connsiteX1" fmla="*/ 1630 w 31675"/>
                        <a:gd name="connsiteY1" fmla="*/ 15588 h 15862"/>
                        <a:gd name="connsiteX2" fmla="*/ 3437 w 31675"/>
                        <a:gd name="connsiteY2" fmla="*/ 13246 h 15862"/>
                        <a:gd name="connsiteX3" fmla="*/ 9139 w 31675"/>
                        <a:gd name="connsiteY3" fmla="*/ 10094 h 15862"/>
                        <a:gd name="connsiteX4" fmla="*/ 23388 w 31675"/>
                        <a:gd name="connsiteY4" fmla="*/ 5545 h 15862"/>
                        <a:gd name="connsiteX5" fmla="*/ 30811 w 31675"/>
                        <a:gd name="connsiteY5" fmla="*/ 3692 h 15862"/>
                        <a:gd name="connsiteX6" fmla="*/ 30811 w 31675"/>
                        <a:gd name="connsiteY6" fmla="*/ 634 h 15862"/>
                        <a:gd name="connsiteX7" fmla="*/ 9996 w 31675"/>
                        <a:gd name="connsiteY7" fmla="*/ 4755 h 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75" h="15862">
                          <a:moveTo>
                            <a:pt x="9996" y="4755"/>
                          </a:moveTo>
                          <a:cubicBezTo>
                            <a:pt x="5790" y="6242"/>
                            <a:pt x="-3818" y="10225"/>
                            <a:pt x="1630" y="15588"/>
                          </a:cubicBezTo>
                          <a:cubicBezTo>
                            <a:pt x="3009" y="16639"/>
                            <a:pt x="4574" y="14423"/>
                            <a:pt x="3437" y="13246"/>
                          </a:cubicBezTo>
                          <a:cubicBezTo>
                            <a:pt x="2481" y="12256"/>
                            <a:pt x="8537" y="10320"/>
                            <a:pt x="9139" y="10094"/>
                          </a:cubicBezTo>
                          <a:cubicBezTo>
                            <a:pt x="13805" y="8329"/>
                            <a:pt x="18499" y="6588"/>
                            <a:pt x="23388" y="5545"/>
                          </a:cubicBezTo>
                          <a:cubicBezTo>
                            <a:pt x="25829" y="5009"/>
                            <a:pt x="28644" y="5037"/>
                            <a:pt x="30811" y="3692"/>
                          </a:cubicBezTo>
                          <a:cubicBezTo>
                            <a:pt x="31854" y="3044"/>
                            <a:pt x="32068" y="1225"/>
                            <a:pt x="30811" y="634"/>
                          </a:cubicBezTo>
                          <a:cubicBezTo>
                            <a:pt x="24278" y="-1576"/>
                            <a:pt x="16184" y="2524"/>
                            <a:pt x="9996" y="4755"/>
                          </a:cubicBezTo>
                          <a:close/>
                        </a:path>
                      </a:pathLst>
                    </a:custGeom>
                    <a:solidFill>
                      <a:srgbClr val="000000"/>
                    </a:solidFill>
                    <a:ln w="2826" cap="flat">
                      <a:noFill/>
                      <a:prstDash val="solid"/>
                      <a:miter/>
                    </a:ln>
                  </p:spPr>
                  <p:txBody>
                    <a:bodyPr rtlCol="0" anchor="ctr"/>
                    <a:lstStyle/>
                    <a:p>
                      <a:endParaRPr lang="fr-CA"/>
                    </a:p>
                  </p:txBody>
                </p:sp>
              </p:grpSp>
              <p:sp>
                <p:nvSpPr>
                  <p:cNvPr id="1457" name="Forme libre : forme 1456">
                    <a:extLst>
                      <a:ext uri="{FF2B5EF4-FFF2-40B4-BE49-F238E27FC236}">
                        <a16:creationId xmlns:a16="http://schemas.microsoft.com/office/drawing/2014/main" id="{BEBDCA38-3810-29C2-C900-39C5EFD84392}"/>
                      </a:ext>
                    </a:extLst>
                  </p:cNvPr>
                  <p:cNvSpPr/>
                  <p:nvPr/>
                </p:nvSpPr>
                <p:spPr>
                  <a:xfrm>
                    <a:off x="9153323" y="3985440"/>
                    <a:ext cx="751062" cy="723778"/>
                  </a:xfrm>
                  <a:custGeom>
                    <a:avLst/>
                    <a:gdLst>
                      <a:gd name="connsiteX0" fmla="*/ 748257 w 751062"/>
                      <a:gd name="connsiteY0" fmla="*/ 625144 h 723778"/>
                      <a:gd name="connsiteX1" fmla="*/ 747120 w 751062"/>
                      <a:gd name="connsiteY1" fmla="*/ 625078 h 723778"/>
                      <a:gd name="connsiteX2" fmla="*/ 744528 w 751062"/>
                      <a:gd name="connsiteY2" fmla="*/ 624544 h 723778"/>
                      <a:gd name="connsiteX3" fmla="*/ 743103 w 751062"/>
                      <a:gd name="connsiteY3" fmla="*/ 624444 h 723778"/>
                      <a:gd name="connsiteX4" fmla="*/ 730288 w 751062"/>
                      <a:gd name="connsiteY4" fmla="*/ 625070 h 723778"/>
                      <a:gd name="connsiteX5" fmla="*/ 723649 w 751062"/>
                      <a:gd name="connsiteY5" fmla="*/ 621843 h 723778"/>
                      <a:gd name="connsiteX6" fmla="*/ 698145 w 751062"/>
                      <a:gd name="connsiteY6" fmla="*/ 623485 h 723778"/>
                      <a:gd name="connsiteX7" fmla="*/ 685850 w 751062"/>
                      <a:gd name="connsiteY7" fmla="*/ 609137 h 723778"/>
                      <a:gd name="connsiteX8" fmla="*/ 637204 w 751062"/>
                      <a:gd name="connsiteY8" fmla="*/ 411350 h 723778"/>
                      <a:gd name="connsiteX9" fmla="*/ 628575 w 751062"/>
                      <a:gd name="connsiteY9" fmla="*/ 388570 h 723778"/>
                      <a:gd name="connsiteX10" fmla="*/ 608918 w 751062"/>
                      <a:gd name="connsiteY10" fmla="*/ 375355 h 723778"/>
                      <a:gd name="connsiteX11" fmla="*/ 596909 w 751062"/>
                      <a:gd name="connsiteY11" fmla="*/ 306844 h 723778"/>
                      <a:gd name="connsiteX12" fmla="*/ 590793 w 751062"/>
                      <a:gd name="connsiteY12" fmla="*/ 298789 h 723778"/>
                      <a:gd name="connsiteX13" fmla="*/ 581616 w 751062"/>
                      <a:gd name="connsiteY13" fmla="*/ 290808 h 723778"/>
                      <a:gd name="connsiteX14" fmla="*/ 579077 w 751062"/>
                      <a:gd name="connsiteY14" fmla="*/ 249394 h 723778"/>
                      <a:gd name="connsiteX15" fmla="*/ 577487 w 751062"/>
                      <a:gd name="connsiteY15" fmla="*/ 247804 h 723778"/>
                      <a:gd name="connsiteX16" fmla="*/ 570702 w 751062"/>
                      <a:gd name="connsiteY16" fmla="*/ 246824 h 723778"/>
                      <a:gd name="connsiteX17" fmla="*/ 563458 w 751062"/>
                      <a:gd name="connsiteY17" fmla="*/ 246545 h 723778"/>
                      <a:gd name="connsiteX18" fmla="*/ 445376 w 751062"/>
                      <a:gd name="connsiteY18" fmla="*/ 212891 h 723778"/>
                      <a:gd name="connsiteX19" fmla="*/ 430285 w 751062"/>
                      <a:gd name="connsiteY19" fmla="*/ 181799 h 723778"/>
                      <a:gd name="connsiteX20" fmla="*/ 419971 w 751062"/>
                      <a:gd name="connsiteY20" fmla="*/ 159057 h 723778"/>
                      <a:gd name="connsiteX21" fmla="*/ 390901 w 751062"/>
                      <a:gd name="connsiteY21" fmla="*/ 100302 h 723778"/>
                      <a:gd name="connsiteX22" fmla="*/ 381727 w 751062"/>
                      <a:gd name="connsiteY22" fmla="*/ 79872 h 723778"/>
                      <a:gd name="connsiteX23" fmla="*/ 349107 w 751062"/>
                      <a:gd name="connsiteY23" fmla="*/ 42190 h 723778"/>
                      <a:gd name="connsiteX24" fmla="*/ 319001 w 751062"/>
                      <a:gd name="connsiteY24" fmla="*/ 40094 h 723778"/>
                      <a:gd name="connsiteX25" fmla="*/ 303025 w 751062"/>
                      <a:gd name="connsiteY25" fmla="*/ 26831 h 723778"/>
                      <a:gd name="connsiteX26" fmla="*/ 297020 w 751062"/>
                      <a:gd name="connsiteY26" fmla="*/ 38095 h 723778"/>
                      <a:gd name="connsiteX27" fmla="*/ 299670 w 751062"/>
                      <a:gd name="connsiteY27" fmla="*/ 51613 h 723778"/>
                      <a:gd name="connsiteX28" fmla="*/ 301851 w 751062"/>
                      <a:gd name="connsiteY28" fmla="*/ 50693 h 723778"/>
                      <a:gd name="connsiteX29" fmla="*/ 301212 w 751062"/>
                      <a:gd name="connsiteY29" fmla="*/ 38761 h 723778"/>
                      <a:gd name="connsiteX30" fmla="*/ 303533 w 751062"/>
                      <a:gd name="connsiteY30" fmla="*/ 76303 h 723778"/>
                      <a:gd name="connsiteX31" fmla="*/ 301086 w 751062"/>
                      <a:gd name="connsiteY31" fmla="*/ 88118 h 723778"/>
                      <a:gd name="connsiteX32" fmla="*/ 280234 w 751062"/>
                      <a:gd name="connsiteY32" fmla="*/ 70067 h 723778"/>
                      <a:gd name="connsiteX33" fmla="*/ 261802 w 751062"/>
                      <a:gd name="connsiteY33" fmla="*/ 58103 h 723778"/>
                      <a:gd name="connsiteX34" fmla="*/ 235270 w 751062"/>
                      <a:gd name="connsiteY34" fmla="*/ 35334 h 723778"/>
                      <a:gd name="connsiteX35" fmla="*/ 237138 w 751062"/>
                      <a:gd name="connsiteY35" fmla="*/ 3469 h 723778"/>
                      <a:gd name="connsiteX36" fmla="*/ 235542 w 751062"/>
                      <a:gd name="connsiteY36" fmla="*/ 333 h 723778"/>
                      <a:gd name="connsiteX37" fmla="*/ 233620 w 751062"/>
                      <a:gd name="connsiteY37" fmla="*/ 2027 h 723778"/>
                      <a:gd name="connsiteX38" fmla="*/ 233292 w 751062"/>
                      <a:gd name="connsiteY38" fmla="*/ 16386 h 723778"/>
                      <a:gd name="connsiteX39" fmla="*/ 215137 w 751062"/>
                      <a:gd name="connsiteY39" fmla="*/ 43572 h 723778"/>
                      <a:gd name="connsiteX40" fmla="*/ 169152 w 751062"/>
                      <a:gd name="connsiteY40" fmla="*/ 80771 h 723778"/>
                      <a:gd name="connsiteX41" fmla="*/ 137929 w 751062"/>
                      <a:gd name="connsiteY41" fmla="*/ 77439 h 723778"/>
                      <a:gd name="connsiteX42" fmla="*/ 129126 w 751062"/>
                      <a:gd name="connsiteY42" fmla="*/ 77414 h 723778"/>
                      <a:gd name="connsiteX43" fmla="*/ 108293 w 751062"/>
                      <a:gd name="connsiteY43" fmla="*/ 58979 h 723778"/>
                      <a:gd name="connsiteX44" fmla="*/ 87766 w 751062"/>
                      <a:gd name="connsiteY44" fmla="*/ 54003 h 723778"/>
                      <a:gd name="connsiteX45" fmla="*/ 68235 w 751062"/>
                      <a:gd name="connsiteY45" fmla="*/ 56898 h 723778"/>
                      <a:gd name="connsiteX46" fmla="*/ 64943 w 751062"/>
                      <a:gd name="connsiteY46" fmla="*/ 76700 h 723778"/>
                      <a:gd name="connsiteX47" fmla="*/ 82803 w 751062"/>
                      <a:gd name="connsiteY47" fmla="*/ 78864 h 723778"/>
                      <a:gd name="connsiteX48" fmla="*/ 103228 w 751062"/>
                      <a:gd name="connsiteY48" fmla="*/ 81166 h 723778"/>
                      <a:gd name="connsiteX49" fmla="*/ 111977 w 751062"/>
                      <a:gd name="connsiteY49" fmla="*/ 106644 h 723778"/>
                      <a:gd name="connsiteX50" fmla="*/ 121810 w 751062"/>
                      <a:gd name="connsiteY50" fmla="*/ 262089 h 723778"/>
                      <a:gd name="connsiteX51" fmla="*/ 122453 w 751062"/>
                      <a:gd name="connsiteY51" fmla="*/ 264530 h 723778"/>
                      <a:gd name="connsiteX52" fmla="*/ 127264 w 751062"/>
                      <a:gd name="connsiteY52" fmla="*/ 264233 h 723778"/>
                      <a:gd name="connsiteX53" fmla="*/ 127618 w 751062"/>
                      <a:gd name="connsiteY53" fmla="*/ 256747 h 723778"/>
                      <a:gd name="connsiteX54" fmla="*/ 120671 w 751062"/>
                      <a:gd name="connsiteY54" fmla="*/ 149083 h 723778"/>
                      <a:gd name="connsiteX55" fmla="*/ 116180 w 751062"/>
                      <a:gd name="connsiteY55" fmla="*/ 96002 h 723778"/>
                      <a:gd name="connsiteX56" fmla="*/ 104950 w 751062"/>
                      <a:gd name="connsiteY56" fmla="*/ 76600 h 723778"/>
                      <a:gd name="connsiteX57" fmla="*/ 106529 w 751062"/>
                      <a:gd name="connsiteY57" fmla="*/ 63377 h 723778"/>
                      <a:gd name="connsiteX58" fmla="*/ 131087 w 751062"/>
                      <a:gd name="connsiteY58" fmla="*/ 117691 h 723778"/>
                      <a:gd name="connsiteX59" fmla="*/ 133971 w 751062"/>
                      <a:gd name="connsiteY59" fmla="*/ 180306 h 723778"/>
                      <a:gd name="connsiteX60" fmla="*/ 132669 w 751062"/>
                      <a:gd name="connsiteY60" fmla="*/ 256467 h 723778"/>
                      <a:gd name="connsiteX61" fmla="*/ 131950 w 751062"/>
                      <a:gd name="connsiteY61" fmla="*/ 260753 h 723778"/>
                      <a:gd name="connsiteX62" fmla="*/ 132407 w 751062"/>
                      <a:gd name="connsiteY62" fmla="*/ 271637 h 723778"/>
                      <a:gd name="connsiteX63" fmla="*/ 122821 w 751062"/>
                      <a:gd name="connsiteY63" fmla="*/ 268134 h 723778"/>
                      <a:gd name="connsiteX64" fmla="*/ 121833 w 751062"/>
                      <a:gd name="connsiteY64" fmla="*/ 263183 h 723778"/>
                      <a:gd name="connsiteX65" fmla="*/ 119832 w 751062"/>
                      <a:gd name="connsiteY65" fmla="*/ 263183 h 723778"/>
                      <a:gd name="connsiteX66" fmla="*/ 118884 w 751062"/>
                      <a:gd name="connsiteY66" fmla="*/ 267077 h 723778"/>
                      <a:gd name="connsiteX67" fmla="*/ 38391 w 751062"/>
                      <a:gd name="connsiteY67" fmla="*/ 306230 h 723778"/>
                      <a:gd name="connsiteX68" fmla="*/ 55244 w 751062"/>
                      <a:gd name="connsiteY68" fmla="*/ 616010 h 723778"/>
                      <a:gd name="connsiteX69" fmla="*/ 55121 w 751062"/>
                      <a:gd name="connsiteY69" fmla="*/ 616118 h 723778"/>
                      <a:gd name="connsiteX70" fmla="*/ 200638 w 751062"/>
                      <a:gd name="connsiteY70" fmla="*/ 627174 h 723778"/>
                      <a:gd name="connsiteX71" fmla="*/ 238677 w 751062"/>
                      <a:gd name="connsiteY71" fmla="*/ 633256 h 723778"/>
                      <a:gd name="connsiteX72" fmla="*/ 276296 w 751062"/>
                      <a:gd name="connsiteY72" fmla="*/ 723748 h 723778"/>
                      <a:gd name="connsiteX73" fmla="*/ 307374 w 751062"/>
                      <a:gd name="connsiteY73" fmla="*/ 627671 h 723778"/>
                      <a:gd name="connsiteX74" fmla="*/ 317262 w 751062"/>
                      <a:gd name="connsiteY74" fmla="*/ 601839 h 723778"/>
                      <a:gd name="connsiteX75" fmla="*/ 319092 w 751062"/>
                      <a:gd name="connsiteY75" fmla="*/ 590286 h 723778"/>
                      <a:gd name="connsiteX76" fmla="*/ 319766 w 751062"/>
                      <a:gd name="connsiteY76" fmla="*/ 582311 h 723778"/>
                      <a:gd name="connsiteX77" fmla="*/ 378509 w 751062"/>
                      <a:gd name="connsiteY77" fmla="*/ 596082 h 723778"/>
                      <a:gd name="connsiteX78" fmla="*/ 381173 w 751062"/>
                      <a:gd name="connsiteY78" fmla="*/ 638079 h 723778"/>
                      <a:gd name="connsiteX79" fmla="*/ 386096 w 751062"/>
                      <a:gd name="connsiteY79" fmla="*/ 657567 h 723778"/>
                      <a:gd name="connsiteX80" fmla="*/ 401851 w 751062"/>
                      <a:gd name="connsiteY80" fmla="*/ 665087 h 723778"/>
                      <a:gd name="connsiteX81" fmla="*/ 404264 w 751062"/>
                      <a:gd name="connsiteY81" fmla="*/ 678456 h 723778"/>
                      <a:gd name="connsiteX82" fmla="*/ 404496 w 751062"/>
                      <a:gd name="connsiteY82" fmla="*/ 679487 h 723778"/>
                      <a:gd name="connsiteX83" fmla="*/ 409178 w 751062"/>
                      <a:gd name="connsiteY83" fmla="*/ 680803 h 723778"/>
                      <a:gd name="connsiteX84" fmla="*/ 410595 w 751062"/>
                      <a:gd name="connsiteY84" fmla="*/ 686468 h 723778"/>
                      <a:gd name="connsiteX85" fmla="*/ 419320 w 751062"/>
                      <a:gd name="connsiteY85" fmla="*/ 685212 h 723778"/>
                      <a:gd name="connsiteX86" fmla="*/ 419523 w 751062"/>
                      <a:gd name="connsiteY86" fmla="*/ 680332 h 723778"/>
                      <a:gd name="connsiteX87" fmla="*/ 420014 w 751062"/>
                      <a:gd name="connsiteY87" fmla="*/ 673345 h 723778"/>
                      <a:gd name="connsiteX88" fmla="*/ 441855 w 751062"/>
                      <a:gd name="connsiteY88" fmla="*/ 670875 h 723778"/>
                      <a:gd name="connsiteX89" fmla="*/ 462196 w 751062"/>
                      <a:gd name="connsiteY89" fmla="*/ 663580 h 723778"/>
                      <a:gd name="connsiteX90" fmla="*/ 501235 w 751062"/>
                      <a:gd name="connsiteY90" fmla="*/ 658178 h 723778"/>
                      <a:gd name="connsiteX91" fmla="*/ 515857 w 751062"/>
                      <a:gd name="connsiteY91" fmla="*/ 679621 h 723778"/>
                      <a:gd name="connsiteX92" fmla="*/ 582549 w 751062"/>
                      <a:gd name="connsiteY92" fmla="*/ 672434 h 723778"/>
                      <a:gd name="connsiteX93" fmla="*/ 598071 w 751062"/>
                      <a:gd name="connsiteY93" fmla="*/ 677043 h 723778"/>
                      <a:gd name="connsiteX94" fmla="*/ 614578 w 751062"/>
                      <a:gd name="connsiteY94" fmla="*/ 674936 h 723778"/>
                      <a:gd name="connsiteX95" fmla="*/ 709358 w 751062"/>
                      <a:gd name="connsiteY95" fmla="*/ 657475 h 723778"/>
                      <a:gd name="connsiteX96" fmla="*/ 742469 w 751062"/>
                      <a:gd name="connsiteY96" fmla="*/ 648481 h 723778"/>
                      <a:gd name="connsiteX97" fmla="*/ 743285 w 751062"/>
                      <a:gd name="connsiteY97" fmla="*/ 644749 h 723778"/>
                      <a:gd name="connsiteX98" fmla="*/ 730610 w 751062"/>
                      <a:gd name="connsiteY98" fmla="*/ 642102 h 723778"/>
                      <a:gd name="connsiteX99" fmla="*/ 731059 w 751062"/>
                      <a:gd name="connsiteY99" fmla="*/ 640157 h 723778"/>
                      <a:gd name="connsiteX100" fmla="*/ 745661 w 751062"/>
                      <a:gd name="connsiteY100" fmla="*/ 639812 h 723778"/>
                      <a:gd name="connsiteX101" fmla="*/ 748257 w 751062"/>
                      <a:gd name="connsiteY101" fmla="*/ 625144 h 723778"/>
                      <a:gd name="connsiteX102" fmla="*/ 96509 w 751062"/>
                      <a:gd name="connsiteY102" fmla="*/ 73656 h 723778"/>
                      <a:gd name="connsiteX103" fmla="*/ 73058 w 751062"/>
                      <a:gd name="connsiteY103" fmla="*/ 71623 h 723778"/>
                      <a:gd name="connsiteX104" fmla="*/ 68081 w 751062"/>
                      <a:gd name="connsiteY104" fmla="*/ 70624 h 723778"/>
                      <a:gd name="connsiteX105" fmla="*/ 73098 w 751062"/>
                      <a:gd name="connsiteY105" fmla="*/ 61387 h 723778"/>
                      <a:gd name="connsiteX106" fmla="*/ 98576 w 751062"/>
                      <a:gd name="connsiteY106" fmla="*/ 62397 h 723778"/>
                      <a:gd name="connsiteX107" fmla="*/ 96509 w 751062"/>
                      <a:gd name="connsiteY107" fmla="*/ 73656 h 723778"/>
                      <a:gd name="connsiteX108" fmla="*/ 607379 w 751062"/>
                      <a:gd name="connsiteY108" fmla="*/ 388147 h 723778"/>
                      <a:gd name="connsiteX109" fmla="*/ 608427 w 751062"/>
                      <a:gd name="connsiteY109" fmla="*/ 379318 h 723778"/>
                      <a:gd name="connsiteX110" fmla="*/ 630927 w 751062"/>
                      <a:gd name="connsiteY110" fmla="*/ 410622 h 723778"/>
                      <a:gd name="connsiteX111" fmla="*/ 678660 w 751062"/>
                      <a:gd name="connsiteY111" fmla="*/ 607478 h 723778"/>
                      <a:gd name="connsiteX112" fmla="*/ 670720 w 751062"/>
                      <a:gd name="connsiteY112" fmla="*/ 607295 h 723778"/>
                      <a:gd name="connsiteX113" fmla="*/ 617376 w 751062"/>
                      <a:gd name="connsiteY113" fmla="*/ 405836 h 723778"/>
                      <a:gd name="connsiteX114" fmla="*/ 606900 w 751062"/>
                      <a:gd name="connsiteY114" fmla="*/ 392630 h 723778"/>
                      <a:gd name="connsiteX115" fmla="*/ 607379 w 751062"/>
                      <a:gd name="connsiteY115" fmla="*/ 388147 h 723778"/>
                      <a:gd name="connsiteX116" fmla="*/ 617108 w 751062"/>
                      <a:gd name="connsiteY116" fmla="*/ 538895 h 723778"/>
                      <a:gd name="connsiteX117" fmla="*/ 650852 w 751062"/>
                      <a:gd name="connsiteY117" fmla="*/ 543107 h 723778"/>
                      <a:gd name="connsiteX118" fmla="*/ 666588 w 751062"/>
                      <a:gd name="connsiteY118" fmla="*/ 607692 h 723778"/>
                      <a:gd name="connsiteX119" fmla="*/ 618649 w 751062"/>
                      <a:gd name="connsiteY119" fmla="*/ 598198 h 723778"/>
                      <a:gd name="connsiteX120" fmla="*/ 615429 w 751062"/>
                      <a:gd name="connsiteY120" fmla="*/ 566981 h 723778"/>
                      <a:gd name="connsiteX121" fmla="*/ 617108 w 751062"/>
                      <a:gd name="connsiteY121" fmla="*/ 538895 h 723778"/>
                      <a:gd name="connsiteX122" fmla="*/ 614098 w 751062"/>
                      <a:gd name="connsiteY122" fmla="*/ 407752 h 723778"/>
                      <a:gd name="connsiteX123" fmla="*/ 649961 w 751062"/>
                      <a:gd name="connsiteY123" fmla="*/ 539024 h 723778"/>
                      <a:gd name="connsiteX124" fmla="*/ 609324 w 751062"/>
                      <a:gd name="connsiteY124" fmla="*/ 533927 h 723778"/>
                      <a:gd name="connsiteX125" fmla="*/ 599236 w 751062"/>
                      <a:gd name="connsiteY125" fmla="*/ 509908 h 723778"/>
                      <a:gd name="connsiteX126" fmla="*/ 607294 w 751062"/>
                      <a:gd name="connsiteY126" fmla="*/ 510356 h 723778"/>
                      <a:gd name="connsiteX127" fmla="*/ 607459 w 751062"/>
                      <a:gd name="connsiteY127" fmla="*/ 519764 h 723778"/>
                      <a:gd name="connsiteX128" fmla="*/ 644647 w 751062"/>
                      <a:gd name="connsiteY128" fmla="*/ 525735 h 723778"/>
                      <a:gd name="connsiteX129" fmla="*/ 644647 w 751062"/>
                      <a:gd name="connsiteY129" fmla="*/ 522012 h 723778"/>
                      <a:gd name="connsiteX130" fmla="*/ 610152 w 751062"/>
                      <a:gd name="connsiteY130" fmla="*/ 519290 h 723778"/>
                      <a:gd name="connsiteX131" fmla="*/ 610717 w 751062"/>
                      <a:gd name="connsiteY131" fmla="*/ 510025 h 723778"/>
                      <a:gd name="connsiteX132" fmla="*/ 611954 w 751062"/>
                      <a:gd name="connsiteY132" fmla="*/ 508669 h 723778"/>
                      <a:gd name="connsiteX133" fmla="*/ 610849 w 751062"/>
                      <a:gd name="connsiteY133" fmla="*/ 501116 h 723778"/>
                      <a:gd name="connsiteX134" fmla="*/ 607551 w 751062"/>
                      <a:gd name="connsiteY134" fmla="*/ 492519 h 723778"/>
                      <a:gd name="connsiteX135" fmla="*/ 599110 w 751062"/>
                      <a:gd name="connsiteY135" fmla="*/ 487059 h 723778"/>
                      <a:gd name="connsiteX136" fmla="*/ 606471 w 751062"/>
                      <a:gd name="connsiteY136" fmla="*/ 396682 h 723778"/>
                      <a:gd name="connsiteX137" fmla="*/ 614098 w 751062"/>
                      <a:gd name="connsiteY137" fmla="*/ 407752 h 723778"/>
                      <a:gd name="connsiteX138" fmla="*/ 602380 w 751062"/>
                      <a:gd name="connsiteY138" fmla="*/ 576372 h 723778"/>
                      <a:gd name="connsiteX139" fmla="*/ 602083 w 751062"/>
                      <a:gd name="connsiteY139" fmla="*/ 547127 h 723778"/>
                      <a:gd name="connsiteX140" fmla="*/ 608179 w 751062"/>
                      <a:gd name="connsiteY140" fmla="*/ 537425 h 723778"/>
                      <a:gd name="connsiteX141" fmla="*/ 613924 w 751062"/>
                      <a:gd name="connsiteY141" fmla="*/ 538444 h 723778"/>
                      <a:gd name="connsiteX142" fmla="*/ 611865 w 751062"/>
                      <a:gd name="connsiteY142" fmla="*/ 568126 h 723778"/>
                      <a:gd name="connsiteX143" fmla="*/ 614355 w 751062"/>
                      <a:gd name="connsiteY143" fmla="*/ 594960 h 723778"/>
                      <a:gd name="connsiteX144" fmla="*/ 602334 w 751062"/>
                      <a:gd name="connsiteY144" fmla="*/ 579604 h 723778"/>
                      <a:gd name="connsiteX145" fmla="*/ 602380 w 751062"/>
                      <a:gd name="connsiteY145" fmla="*/ 576372 h 723778"/>
                      <a:gd name="connsiteX146" fmla="*/ 598833 w 751062"/>
                      <a:gd name="connsiteY146" fmla="*/ 507229 h 723778"/>
                      <a:gd name="connsiteX147" fmla="*/ 598942 w 751062"/>
                      <a:gd name="connsiteY147" fmla="*/ 489923 h 723778"/>
                      <a:gd name="connsiteX148" fmla="*/ 604510 w 751062"/>
                      <a:gd name="connsiteY148" fmla="*/ 495123 h 723778"/>
                      <a:gd name="connsiteX149" fmla="*/ 608596 w 751062"/>
                      <a:gd name="connsiteY149" fmla="*/ 503398 h 723778"/>
                      <a:gd name="connsiteX150" fmla="*/ 608896 w 751062"/>
                      <a:gd name="connsiteY150" fmla="*/ 506787 h 723778"/>
                      <a:gd name="connsiteX151" fmla="*/ 598833 w 751062"/>
                      <a:gd name="connsiteY151" fmla="*/ 507229 h 723778"/>
                      <a:gd name="connsiteX152" fmla="*/ 579003 w 751062"/>
                      <a:gd name="connsiteY152" fmla="*/ 296887 h 723778"/>
                      <a:gd name="connsiteX153" fmla="*/ 588243 w 751062"/>
                      <a:gd name="connsiteY153" fmla="*/ 306398 h 723778"/>
                      <a:gd name="connsiteX154" fmla="*/ 603919 w 751062"/>
                      <a:gd name="connsiteY154" fmla="*/ 341259 h 723778"/>
                      <a:gd name="connsiteX155" fmla="*/ 601654 w 751062"/>
                      <a:gd name="connsiteY155" fmla="*/ 379167 h 723778"/>
                      <a:gd name="connsiteX156" fmla="*/ 591081 w 751062"/>
                      <a:gd name="connsiteY156" fmla="*/ 496476 h 723778"/>
                      <a:gd name="connsiteX157" fmla="*/ 598562 w 751062"/>
                      <a:gd name="connsiteY157" fmla="*/ 525698 h 723778"/>
                      <a:gd name="connsiteX158" fmla="*/ 601929 w 751062"/>
                      <a:gd name="connsiteY158" fmla="*/ 531094 h 723778"/>
                      <a:gd name="connsiteX159" fmla="*/ 580411 w 751062"/>
                      <a:gd name="connsiteY159" fmla="*/ 555625 h 723778"/>
                      <a:gd name="connsiteX160" fmla="*/ 525694 w 751062"/>
                      <a:gd name="connsiteY160" fmla="*/ 556718 h 723778"/>
                      <a:gd name="connsiteX161" fmla="*/ 518472 w 751062"/>
                      <a:gd name="connsiteY161" fmla="*/ 527400 h 723778"/>
                      <a:gd name="connsiteX162" fmla="*/ 519343 w 751062"/>
                      <a:gd name="connsiteY162" fmla="*/ 381802 h 723778"/>
                      <a:gd name="connsiteX163" fmla="*/ 520685 w 751062"/>
                      <a:gd name="connsiteY163" fmla="*/ 372417 h 723778"/>
                      <a:gd name="connsiteX164" fmla="*/ 519903 w 751062"/>
                      <a:gd name="connsiteY164" fmla="*/ 358020 h 723778"/>
                      <a:gd name="connsiteX165" fmla="*/ 512131 w 751062"/>
                      <a:gd name="connsiteY165" fmla="*/ 358020 h 723778"/>
                      <a:gd name="connsiteX166" fmla="*/ 512956 w 751062"/>
                      <a:gd name="connsiteY166" fmla="*/ 374653 h 723778"/>
                      <a:gd name="connsiteX167" fmla="*/ 437084 w 751062"/>
                      <a:gd name="connsiteY167" fmla="*/ 346425 h 723778"/>
                      <a:gd name="connsiteX168" fmla="*/ 424980 w 751062"/>
                      <a:gd name="connsiteY168" fmla="*/ 309182 h 723778"/>
                      <a:gd name="connsiteX169" fmla="*/ 418664 w 751062"/>
                      <a:gd name="connsiteY169" fmla="*/ 298797 h 723778"/>
                      <a:gd name="connsiteX170" fmla="*/ 388477 w 751062"/>
                      <a:gd name="connsiteY170" fmla="*/ 279307 h 723778"/>
                      <a:gd name="connsiteX171" fmla="*/ 387095 w 751062"/>
                      <a:gd name="connsiteY171" fmla="*/ 284321 h 723778"/>
                      <a:gd name="connsiteX172" fmla="*/ 403568 w 751062"/>
                      <a:gd name="connsiteY172" fmla="*/ 292941 h 723778"/>
                      <a:gd name="connsiteX173" fmla="*/ 407719 w 751062"/>
                      <a:gd name="connsiteY173" fmla="*/ 296887 h 723778"/>
                      <a:gd name="connsiteX174" fmla="*/ 430525 w 751062"/>
                      <a:gd name="connsiteY174" fmla="*/ 347870 h 723778"/>
                      <a:gd name="connsiteX175" fmla="*/ 434362 w 751062"/>
                      <a:gd name="connsiteY175" fmla="*/ 448723 h 723778"/>
                      <a:gd name="connsiteX176" fmla="*/ 432792 w 751062"/>
                      <a:gd name="connsiteY176" fmla="*/ 512186 h 723778"/>
                      <a:gd name="connsiteX177" fmla="*/ 429388 w 751062"/>
                      <a:gd name="connsiteY177" fmla="*/ 551462 h 723778"/>
                      <a:gd name="connsiteX178" fmla="*/ 414215 w 751062"/>
                      <a:gd name="connsiteY178" fmla="*/ 561093 h 723778"/>
                      <a:gd name="connsiteX179" fmla="*/ 404358 w 751062"/>
                      <a:gd name="connsiteY179" fmla="*/ 561207 h 723778"/>
                      <a:gd name="connsiteX180" fmla="*/ 400584 w 751062"/>
                      <a:gd name="connsiteY180" fmla="*/ 560596 h 723778"/>
                      <a:gd name="connsiteX181" fmla="*/ 379308 w 751062"/>
                      <a:gd name="connsiteY181" fmla="*/ 455245 h 723778"/>
                      <a:gd name="connsiteX182" fmla="*/ 347771 w 751062"/>
                      <a:gd name="connsiteY182" fmla="*/ 414650 h 723778"/>
                      <a:gd name="connsiteX183" fmla="*/ 345755 w 751062"/>
                      <a:gd name="connsiteY183" fmla="*/ 380949 h 723778"/>
                      <a:gd name="connsiteX184" fmla="*/ 345093 w 751062"/>
                      <a:gd name="connsiteY184" fmla="*/ 362586 h 723778"/>
                      <a:gd name="connsiteX185" fmla="*/ 341287 w 751062"/>
                      <a:gd name="connsiteY185" fmla="*/ 362072 h 723778"/>
                      <a:gd name="connsiteX186" fmla="*/ 340419 w 751062"/>
                      <a:gd name="connsiteY186" fmla="*/ 378405 h 723778"/>
                      <a:gd name="connsiteX187" fmla="*/ 330368 w 751062"/>
                      <a:gd name="connsiteY187" fmla="*/ 374356 h 723778"/>
                      <a:gd name="connsiteX188" fmla="*/ 329643 w 751062"/>
                      <a:gd name="connsiteY188" fmla="*/ 378921 h 723778"/>
                      <a:gd name="connsiteX189" fmla="*/ 339922 w 751062"/>
                      <a:gd name="connsiteY189" fmla="*/ 385166 h 723778"/>
                      <a:gd name="connsiteX190" fmla="*/ 340424 w 751062"/>
                      <a:gd name="connsiteY190" fmla="*/ 389897 h 723778"/>
                      <a:gd name="connsiteX191" fmla="*/ 328044 w 751062"/>
                      <a:gd name="connsiteY191" fmla="*/ 393004 h 723778"/>
                      <a:gd name="connsiteX192" fmla="*/ 325445 w 751062"/>
                      <a:gd name="connsiteY192" fmla="*/ 283947 h 723778"/>
                      <a:gd name="connsiteX193" fmla="*/ 324868 w 751062"/>
                      <a:gd name="connsiteY193" fmla="*/ 266586 h 723778"/>
                      <a:gd name="connsiteX194" fmla="*/ 329177 w 751062"/>
                      <a:gd name="connsiteY194" fmla="*/ 266364 h 723778"/>
                      <a:gd name="connsiteX195" fmla="*/ 335368 w 751062"/>
                      <a:gd name="connsiteY195" fmla="*/ 265969 h 723778"/>
                      <a:gd name="connsiteX196" fmla="*/ 352463 w 751062"/>
                      <a:gd name="connsiteY196" fmla="*/ 277871 h 723778"/>
                      <a:gd name="connsiteX197" fmla="*/ 359038 w 751062"/>
                      <a:gd name="connsiteY197" fmla="*/ 279338 h 723778"/>
                      <a:gd name="connsiteX198" fmla="*/ 359432 w 751062"/>
                      <a:gd name="connsiteY198" fmla="*/ 267534 h 723778"/>
                      <a:gd name="connsiteX199" fmla="*/ 369620 w 751062"/>
                      <a:gd name="connsiteY199" fmla="*/ 268982 h 723778"/>
                      <a:gd name="connsiteX200" fmla="*/ 370283 w 751062"/>
                      <a:gd name="connsiteY200" fmla="*/ 267606 h 723778"/>
                      <a:gd name="connsiteX201" fmla="*/ 370979 w 751062"/>
                      <a:gd name="connsiteY201" fmla="*/ 268148 h 723778"/>
                      <a:gd name="connsiteX202" fmla="*/ 377081 w 751062"/>
                      <a:gd name="connsiteY202" fmla="*/ 260450 h 723778"/>
                      <a:gd name="connsiteX203" fmla="*/ 378489 w 751062"/>
                      <a:gd name="connsiteY203" fmla="*/ 257900 h 723778"/>
                      <a:gd name="connsiteX204" fmla="*/ 426416 w 751062"/>
                      <a:gd name="connsiteY204" fmla="*/ 251841 h 723778"/>
                      <a:gd name="connsiteX205" fmla="*/ 427521 w 751062"/>
                      <a:gd name="connsiteY205" fmla="*/ 251656 h 723778"/>
                      <a:gd name="connsiteX206" fmla="*/ 449227 w 751062"/>
                      <a:gd name="connsiteY206" fmla="*/ 258080 h 723778"/>
                      <a:gd name="connsiteX207" fmla="*/ 509826 w 751062"/>
                      <a:gd name="connsiteY207" fmla="*/ 272380 h 723778"/>
                      <a:gd name="connsiteX208" fmla="*/ 570708 w 751062"/>
                      <a:gd name="connsiteY208" fmla="*/ 291368 h 723778"/>
                      <a:gd name="connsiteX209" fmla="*/ 579003 w 751062"/>
                      <a:gd name="connsiteY209" fmla="*/ 296887 h 723778"/>
                      <a:gd name="connsiteX210" fmla="*/ 598351 w 751062"/>
                      <a:gd name="connsiteY210" fmla="*/ 569867 h 723778"/>
                      <a:gd name="connsiteX211" fmla="*/ 592283 w 751062"/>
                      <a:gd name="connsiteY211" fmla="*/ 561584 h 723778"/>
                      <a:gd name="connsiteX212" fmla="*/ 593602 w 751062"/>
                      <a:gd name="connsiteY212" fmla="*/ 554691 h 723778"/>
                      <a:gd name="connsiteX213" fmla="*/ 598465 w 751062"/>
                      <a:gd name="connsiteY213" fmla="*/ 550782 h 723778"/>
                      <a:gd name="connsiteX214" fmla="*/ 598351 w 751062"/>
                      <a:gd name="connsiteY214" fmla="*/ 569867 h 723778"/>
                      <a:gd name="connsiteX215" fmla="*/ 588289 w 751062"/>
                      <a:gd name="connsiteY215" fmla="*/ 560659 h 723778"/>
                      <a:gd name="connsiteX216" fmla="*/ 579348 w 751062"/>
                      <a:gd name="connsiteY216" fmla="*/ 576172 h 723778"/>
                      <a:gd name="connsiteX217" fmla="*/ 569992 w 751062"/>
                      <a:gd name="connsiteY217" fmla="*/ 579590 h 723778"/>
                      <a:gd name="connsiteX218" fmla="*/ 560666 w 751062"/>
                      <a:gd name="connsiteY218" fmla="*/ 581803 h 723778"/>
                      <a:gd name="connsiteX219" fmla="*/ 528489 w 751062"/>
                      <a:gd name="connsiteY219" fmla="*/ 583170 h 723778"/>
                      <a:gd name="connsiteX220" fmla="*/ 525731 w 751062"/>
                      <a:gd name="connsiteY220" fmla="*/ 575558 h 723778"/>
                      <a:gd name="connsiteX221" fmla="*/ 525925 w 751062"/>
                      <a:gd name="connsiteY221" fmla="*/ 560770 h 723778"/>
                      <a:gd name="connsiteX222" fmla="*/ 560046 w 751062"/>
                      <a:gd name="connsiteY222" fmla="*/ 564088 h 723778"/>
                      <a:gd name="connsiteX223" fmla="*/ 588309 w 751062"/>
                      <a:gd name="connsiteY223" fmla="*/ 558160 h 723778"/>
                      <a:gd name="connsiteX224" fmla="*/ 588289 w 751062"/>
                      <a:gd name="connsiteY224" fmla="*/ 560659 h 723778"/>
                      <a:gd name="connsiteX225" fmla="*/ 527887 w 751062"/>
                      <a:gd name="connsiteY225" fmla="*/ 586457 h 723778"/>
                      <a:gd name="connsiteX226" fmla="*/ 559658 w 751062"/>
                      <a:gd name="connsiteY226" fmla="*/ 586431 h 723778"/>
                      <a:gd name="connsiteX227" fmla="*/ 541695 w 751062"/>
                      <a:gd name="connsiteY227" fmla="*/ 600260 h 723778"/>
                      <a:gd name="connsiteX228" fmla="*/ 524417 w 751062"/>
                      <a:gd name="connsiteY228" fmla="*/ 605965 h 723778"/>
                      <a:gd name="connsiteX229" fmla="*/ 527887 w 751062"/>
                      <a:gd name="connsiteY229" fmla="*/ 586457 h 723778"/>
                      <a:gd name="connsiteX230" fmla="*/ 451752 w 751062"/>
                      <a:gd name="connsiteY230" fmla="*/ 357586 h 723778"/>
                      <a:gd name="connsiteX231" fmla="*/ 467779 w 751062"/>
                      <a:gd name="connsiteY231" fmla="*/ 361364 h 723778"/>
                      <a:gd name="connsiteX232" fmla="*/ 484297 w 751062"/>
                      <a:gd name="connsiteY232" fmla="*/ 369844 h 723778"/>
                      <a:gd name="connsiteX233" fmla="*/ 439862 w 751062"/>
                      <a:gd name="connsiteY233" fmla="*/ 375915 h 723778"/>
                      <a:gd name="connsiteX234" fmla="*/ 438714 w 751062"/>
                      <a:gd name="connsiteY234" fmla="*/ 359485 h 723778"/>
                      <a:gd name="connsiteX235" fmla="*/ 451752 w 751062"/>
                      <a:gd name="connsiteY235" fmla="*/ 357586 h 723778"/>
                      <a:gd name="connsiteX236" fmla="*/ 438488 w 751062"/>
                      <a:gd name="connsiteY236" fmla="*/ 357232 h 723778"/>
                      <a:gd name="connsiteX237" fmla="*/ 437840 w 751062"/>
                      <a:gd name="connsiteY237" fmla="*/ 351693 h 723778"/>
                      <a:gd name="connsiteX238" fmla="*/ 451312 w 751062"/>
                      <a:gd name="connsiteY238" fmla="*/ 354748 h 723778"/>
                      <a:gd name="connsiteX239" fmla="*/ 438488 w 751062"/>
                      <a:gd name="connsiteY239" fmla="*/ 357232 h 723778"/>
                      <a:gd name="connsiteX240" fmla="*/ 469806 w 751062"/>
                      <a:gd name="connsiteY240" fmla="*/ 652932 h 723778"/>
                      <a:gd name="connsiteX241" fmla="*/ 453139 w 751062"/>
                      <a:gd name="connsiteY241" fmla="*/ 655628 h 723778"/>
                      <a:gd name="connsiteX242" fmla="*/ 448285 w 751062"/>
                      <a:gd name="connsiteY242" fmla="*/ 656430 h 723778"/>
                      <a:gd name="connsiteX243" fmla="*/ 452968 w 751062"/>
                      <a:gd name="connsiteY243" fmla="*/ 642119 h 723778"/>
                      <a:gd name="connsiteX244" fmla="*/ 468638 w 751062"/>
                      <a:gd name="connsiteY244" fmla="*/ 642296 h 723778"/>
                      <a:gd name="connsiteX245" fmla="*/ 469806 w 751062"/>
                      <a:gd name="connsiteY245" fmla="*/ 652932 h 723778"/>
                      <a:gd name="connsiteX246" fmla="*/ 470460 w 751062"/>
                      <a:gd name="connsiteY246" fmla="*/ 642416 h 723778"/>
                      <a:gd name="connsiteX247" fmla="*/ 475205 w 751062"/>
                      <a:gd name="connsiteY247" fmla="*/ 644912 h 723778"/>
                      <a:gd name="connsiteX248" fmla="*/ 474857 w 751062"/>
                      <a:gd name="connsiteY248" fmla="*/ 651388 h 723778"/>
                      <a:gd name="connsiteX249" fmla="*/ 470460 w 751062"/>
                      <a:gd name="connsiteY249" fmla="*/ 642416 h 723778"/>
                      <a:gd name="connsiteX250" fmla="*/ 472119 w 751062"/>
                      <a:gd name="connsiteY250" fmla="*/ 639703 h 723778"/>
                      <a:gd name="connsiteX251" fmla="*/ 462565 w 751062"/>
                      <a:gd name="connsiteY251" fmla="*/ 639372 h 723778"/>
                      <a:gd name="connsiteX252" fmla="*/ 457145 w 751062"/>
                      <a:gd name="connsiteY252" fmla="*/ 639678 h 723778"/>
                      <a:gd name="connsiteX253" fmla="*/ 434240 w 751062"/>
                      <a:gd name="connsiteY253" fmla="*/ 639835 h 723778"/>
                      <a:gd name="connsiteX254" fmla="*/ 461957 w 751062"/>
                      <a:gd name="connsiteY254" fmla="*/ 625552 h 723778"/>
                      <a:gd name="connsiteX255" fmla="*/ 486513 w 751062"/>
                      <a:gd name="connsiteY255" fmla="*/ 631500 h 723778"/>
                      <a:gd name="connsiteX256" fmla="*/ 485490 w 751062"/>
                      <a:gd name="connsiteY256" fmla="*/ 638624 h 723778"/>
                      <a:gd name="connsiteX257" fmla="*/ 477218 w 751062"/>
                      <a:gd name="connsiteY257" fmla="*/ 642387 h 723778"/>
                      <a:gd name="connsiteX258" fmla="*/ 472119 w 751062"/>
                      <a:gd name="connsiteY258" fmla="*/ 639703 h 723778"/>
                      <a:gd name="connsiteX259" fmla="*/ 476876 w 751062"/>
                      <a:gd name="connsiteY259" fmla="*/ 619876 h 723778"/>
                      <a:gd name="connsiteX260" fmla="*/ 429703 w 751062"/>
                      <a:gd name="connsiteY260" fmla="*/ 638050 h 723778"/>
                      <a:gd name="connsiteX261" fmla="*/ 429554 w 751062"/>
                      <a:gd name="connsiteY261" fmla="*/ 640406 h 723778"/>
                      <a:gd name="connsiteX262" fmla="*/ 415934 w 751062"/>
                      <a:gd name="connsiteY262" fmla="*/ 642633 h 723778"/>
                      <a:gd name="connsiteX263" fmla="*/ 403773 w 751062"/>
                      <a:gd name="connsiteY263" fmla="*/ 577348 h 723778"/>
                      <a:gd name="connsiteX264" fmla="*/ 433988 w 751062"/>
                      <a:gd name="connsiteY264" fmla="*/ 571575 h 723778"/>
                      <a:gd name="connsiteX265" fmla="*/ 436841 w 751062"/>
                      <a:gd name="connsiteY265" fmla="*/ 572740 h 723778"/>
                      <a:gd name="connsiteX266" fmla="*/ 446106 w 751062"/>
                      <a:gd name="connsiteY266" fmla="*/ 588210 h 723778"/>
                      <a:gd name="connsiteX267" fmla="*/ 466982 w 751062"/>
                      <a:gd name="connsiteY267" fmla="*/ 611615 h 723778"/>
                      <a:gd name="connsiteX268" fmla="*/ 483414 w 751062"/>
                      <a:gd name="connsiteY268" fmla="*/ 621975 h 723778"/>
                      <a:gd name="connsiteX269" fmla="*/ 476876 w 751062"/>
                      <a:gd name="connsiteY269" fmla="*/ 619876 h 723778"/>
                      <a:gd name="connsiteX270" fmla="*/ 403153 w 751062"/>
                      <a:gd name="connsiteY270" fmla="*/ 574096 h 723778"/>
                      <a:gd name="connsiteX271" fmla="*/ 401574 w 751062"/>
                      <a:gd name="connsiteY271" fmla="*/ 565821 h 723778"/>
                      <a:gd name="connsiteX272" fmla="*/ 417484 w 751062"/>
                      <a:gd name="connsiteY272" fmla="*/ 566310 h 723778"/>
                      <a:gd name="connsiteX273" fmla="*/ 434322 w 751062"/>
                      <a:gd name="connsiteY273" fmla="*/ 557878 h 723778"/>
                      <a:gd name="connsiteX274" fmla="*/ 433857 w 751062"/>
                      <a:gd name="connsiteY274" fmla="*/ 566118 h 723778"/>
                      <a:gd name="connsiteX275" fmla="*/ 403153 w 751062"/>
                      <a:gd name="connsiteY275" fmla="*/ 574096 h 723778"/>
                      <a:gd name="connsiteX276" fmla="*/ 328540 w 751062"/>
                      <a:gd name="connsiteY276" fmla="*/ 407589 h 723778"/>
                      <a:gd name="connsiteX277" fmla="*/ 328138 w 751062"/>
                      <a:gd name="connsiteY277" fmla="*/ 395682 h 723778"/>
                      <a:gd name="connsiteX278" fmla="*/ 340781 w 751062"/>
                      <a:gd name="connsiteY278" fmla="*/ 393218 h 723778"/>
                      <a:gd name="connsiteX279" fmla="*/ 342355 w 751062"/>
                      <a:gd name="connsiteY279" fmla="*/ 412872 h 723778"/>
                      <a:gd name="connsiteX280" fmla="*/ 328406 w 751062"/>
                      <a:gd name="connsiteY280" fmla="*/ 410656 h 723778"/>
                      <a:gd name="connsiteX281" fmla="*/ 328540 w 751062"/>
                      <a:gd name="connsiteY281" fmla="*/ 407589 h 723778"/>
                      <a:gd name="connsiteX282" fmla="*/ 569677 w 751062"/>
                      <a:gd name="connsiteY282" fmla="*/ 251276 h 723778"/>
                      <a:gd name="connsiteX283" fmla="*/ 574891 w 751062"/>
                      <a:gd name="connsiteY283" fmla="*/ 252013 h 723778"/>
                      <a:gd name="connsiteX284" fmla="*/ 574971 w 751062"/>
                      <a:gd name="connsiteY284" fmla="*/ 252581 h 723778"/>
                      <a:gd name="connsiteX285" fmla="*/ 577818 w 751062"/>
                      <a:gd name="connsiteY285" fmla="*/ 288113 h 723778"/>
                      <a:gd name="connsiteX286" fmla="*/ 569143 w 751062"/>
                      <a:gd name="connsiteY286" fmla="*/ 283062 h 723778"/>
                      <a:gd name="connsiteX287" fmla="*/ 567350 w 751062"/>
                      <a:gd name="connsiteY287" fmla="*/ 269873 h 723778"/>
                      <a:gd name="connsiteX288" fmla="*/ 563630 w 751062"/>
                      <a:gd name="connsiteY288" fmla="*/ 250125 h 723778"/>
                      <a:gd name="connsiteX289" fmla="*/ 569677 w 751062"/>
                      <a:gd name="connsiteY289" fmla="*/ 251276 h 723778"/>
                      <a:gd name="connsiteX290" fmla="*/ 559809 w 751062"/>
                      <a:gd name="connsiteY290" fmla="*/ 257518 h 723778"/>
                      <a:gd name="connsiteX291" fmla="*/ 564144 w 751062"/>
                      <a:gd name="connsiteY291" fmla="*/ 280712 h 723778"/>
                      <a:gd name="connsiteX292" fmla="*/ 521305 w 751062"/>
                      <a:gd name="connsiteY292" fmla="*/ 269667 h 723778"/>
                      <a:gd name="connsiteX293" fmla="*/ 428689 w 751062"/>
                      <a:gd name="connsiteY293" fmla="*/ 249217 h 723778"/>
                      <a:gd name="connsiteX294" fmla="*/ 426062 w 751062"/>
                      <a:gd name="connsiteY294" fmla="*/ 244149 h 723778"/>
                      <a:gd name="connsiteX295" fmla="*/ 512328 w 751062"/>
                      <a:gd name="connsiteY295" fmla="*/ 256898 h 723778"/>
                      <a:gd name="connsiteX296" fmla="*/ 559809 w 751062"/>
                      <a:gd name="connsiteY296" fmla="*/ 257518 h 723778"/>
                      <a:gd name="connsiteX297" fmla="*/ 444713 w 751062"/>
                      <a:gd name="connsiteY297" fmla="*/ 218028 h 723778"/>
                      <a:gd name="connsiteX298" fmla="*/ 535799 w 751062"/>
                      <a:gd name="connsiteY298" fmla="*/ 232773 h 723778"/>
                      <a:gd name="connsiteX299" fmla="*/ 558396 w 751062"/>
                      <a:gd name="connsiteY299" fmla="*/ 247767 h 723778"/>
                      <a:gd name="connsiteX300" fmla="*/ 558504 w 751062"/>
                      <a:gd name="connsiteY300" fmla="*/ 247761 h 723778"/>
                      <a:gd name="connsiteX301" fmla="*/ 557068 w 751062"/>
                      <a:gd name="connsiteY301" fmla="*/ 253583 h 723778"/>
                      <a:gd name="connsiteX302" fmla="*/ 515369 w 751062"/>
                      <a:gd name="connsiteY302" fmla="*/ 252469 h 723778"/>
                      <a:gd name="connsiteX303" fmla="*/ 423432 w 751062"/>
                      <a:gd name="connsiteY303" fmla="*/ 238861 h 723778"/>
                      <a:gd name="connsiteX304" fmla="*/ 419946 w 751062"/>
                      <a:gd name="connsiteY304" fmla="*/ 231311 h 723778"/>
                      <a:gd name="connsiteX305" fmla="*/ 536630 w 751062"/>
                      <a:gd name="connsiteY305" fmla="*/ 245996 h 723778"/>
                      <a:gd name="connsiteX306" fmla="*/ 537178 w 751062"/>
                      <a:gd name="connsiteY306" fmla="*/ 245959 h 723778"/>
                      <a:gd name="connsiteX307" fmla="*/ 537912 w 751062"/>
                      <a:gd name="connsiteY307" fmla="*/ 245896 h 723778"/>
                      <a:gd name="connsiteX308" fmla="*/ 537535 w 751062"/>
                      <a:gd name="connsiteY308" fmla="*/ 242747 h 723778"/>
                      <a:gd name="connsiteX309" fmla="*/ 417779 w 751062"/>
                      <a:gd name="connsiteY309" fmla="*/ 226320 h 723778"/>
                      <a:gd name="connsiteX310" fmla="*/ 413476 w 751062"/>
                      <a:gd name="connsiteY310" fmla="*/ 215838 h 723778"/>
                      <a:gd name="connsiteX311" fmla="*/ 441432 w 751062"/>
                      <a:gd name="connsiteY311" fmla="*/ 217754 h 723778"/>
                      <a:gd name="connsiteX312" fmla="*/ 444713 w 751062"/>
                      <a:gd name="connsiteY312" fmla="*/ 218028 h 723778"/>
                      <a:gd name="connsiteX313" fmla="*/ 438466 w 751062"/>
                      <a:gd name="connsiteY313" fmla="*/ 212329 h 723778"/>
                      <a:gd name="connsiteX314" fmla="*/ 411428 w 751062"/>
                      <a:gd name="connsiteY314" fmla="*/ 210556 h 723778"/>
                      <a:gd name="connsiteX315" fmla="*/ 405401 w 751062"/>
                      <a:gd name="connsiteY315" fmla="*/ 193763 h 723778"/>
                      <a:gd name="connsiteX316" fmla="*/ 425597 w 751062"/>
                      <a:gd name="connsiteY316" fmla="*/ 185817 h 723778"/>
                      <a:gd name="connsiteX317" fmla="*/ 438466 w 751062"/>
                      <a:gd name="connsiteY317" fmla="*/ 212329 h 723778"/>
                      <a:gd name="connsiteX318" fmla="*/ 305909 w 751062"/>
                      <a:gd name="connsiteY318" fmla="*/ 79267 h 723778"/>
                      <a:gd name="connsiteX319" fmla="*/ 302677 w 751062"/>
                      <a:gd name="connsiteY319" fmla="*/ 34049 h 723778"/>
                      <a:gd name="connsiteX320" fmla="*/ 304524 w 751062"/>
                      <a:gd name="connsiteY320" fmla="*/ 30951 h 723778"/>
                      <a:gd name="connsiteX321" fmla="*/ 315640 w 751062"/>
                      <a:gd name="connsiteY321" fmla="*/ 93669 h 723778"/>
                      <a:gd name="connsiteX322" fmla="*/ 311471 w 751062"/>
                      <a:gd name="connsiteY322" fmla="*/ 81448 h 723778"/>
                      <a:gd name="connsiteX323" fmla="*/ 304524 w 751062"/>
                      <a:gd name="connsiteY323" fmla="*/ 83033 h 723778"/>
                      <a:gd name="connsiteX324" fmla="*/ 305909 w 751062"/>
                      <a:gd name="connsiteY324" fmla="*/ 79267 h 723778"/>
                      <a:gd name="connsiteX325" fmla="*/ 221059 w 751062"/>
                      <a:gd name="connsiteY325" fmla="*/ 47744 h 723778"/>
                      <a:gd name="connsiteX326" fmla="*/ 232966 w 751062"/>
                      <a:gd name="connsiteY326" fmla="*/ 21948 h 723778"/>
                      <a:gd name="connsiteX327" fmla="*/ 232072 w 751062"/>
                      <a:gd name="connsiteY327" fmla="*/ 29181 h 723778"/>
                      <a:gd name="connsiteX328" fmla="*/ 229100 w 751062"/>
                      <a:gd name="connsiteY328" fmla="*/ 26426 h 723778"/>
                      <a:gd name="connsiteX329" fmla="*/ 298651 w 751062"/>
                      <a:gd name="connsiteY329" fmla="*/ 90248 h 723778"/>
                      <a:gd name="connsiteX330" fmla="*/ 265360 w 751062"/>
                      <a:gd name="connsiteY330" fmla="*/ 99197 h 723778"/>
                      <a:gd name="connsiteX331" fmla="*/ 223406 w 751062"/>
                      <a:gd name="connsiteY331" fmla="*/ 56590 h 723778"/>
                      <a:gd name="connsiteX332" fmla="*/ 221059 w 751062"/>
                      <a:gd name="connsiteY332" fmla="*/ 47744 h 723778"/>
                      <a:gd name="connsiteX333" fmla="*/ 279785 w 751062"/>
                      <a:gd name="connsiteY333" fmla="*/ 87958 h 723778"/>
                      <a:gd name="connsiteX334" fmla="*/ 279785 w 751062"/>
                      <a:gd name="connsiteY334" fmla="*/ 87958 h 723778"/>
                      <a:gd name="connsiteX335" fmla="*/ 279785 w 751062"/>
                      <a:gd name="connsiteY335" fmla="*/ 87958 h 723778"/>
                      <a:gd name="connsiteX336" fmla="*/ 187329 w 751062"/>
                      <a:gd name="connsiteY336" fmla="*/ 69898 h 723778"/>
                      <a:gd name="connsiteX337" fmla="*/ 214352 w 751062"/>
                      <a:gd name="connsiteY337" fmla="*/ 49166 h 723778"/>
                      <a:gd name="connsiteX338" fmla="*/ 219612 w 751062"/>
                      <a:gd name="connsiteY338" fmla="*/ 62474 h 723778"/>
                      <a:gd name="connsiteX339" fmla="*/ 264269 w 751062"/>
                      <a:gd name="connsiteY339" fmla="*/ 106181 h 723778"/>
                      <a:gd name="connsiteX340" fmla="*/ 268826 w 751062"/>
                      <a:gd name="connsiteY340" fmla="*/ 105584 h 723778"/>
                      <a:gd name="connsiteX341" fmla="*/ 278415 w 751062"/>
                      <a:gd name="connsiteY341" fmla="*/ 88275 h 723778"/>
                      <a:gd name="connsiteX342" fmla="*/ 291766 w 751062"/>
                      <a:gd name="connsiteY342" fmla="*/ 92884 h 723778"/>
                      <a:gd name="connsiteX343" fmla="*/ 297991 w 751062"/>
                      <a:gd name="connsiteY343" fmla="*/ 96496 h 723778"/>
                      <a:gd name="connsiteX344" fmla="*/ 301566 w 751062"/>
                      <a:gd name="connsiteY344" fmla="*/ 97747 h 723778"/>
                      <a:gd name="connsiteX345" fmla="*/ 329491 w 751062"/>
                      <a:gd name="connsiteY345" fmla="*/ 175189 h 723778"/>
                      <a:gd name="connsiteX346" fmla="*/ 335536 w 751062"/>
                      <a:gd name="connsiteY346" fmla="*/ 189532 h 723778"/>
                      <a:gd name="connsiteX347" fmla="*/ 358930 w 751062"/>
                      <a:gd name="connsiteY347" fmla="*/ 231623 h 723778"/>
                      <a:gd name="connsiteX348" fmla="*/ 361799 w 751062"/>
                      <a:gd name="connsiteY348" fmla="*/ 229410 h 723778"/>
                      <a:gd name="connsiteX349" fmla="*/ 333343 w 751062"/>
                      <a:gd name="connsiteY349" fmla="*/ 171389 h 723778"/>
                      <a:gd name="connsiteX350" fmla="*/ 329174 w 751062"/>
                      <a:gd name="connsiteY350" fmla="*/ 161061 h 723778"/>
                      <a:gd name="connsiteX351" fmla="*/ 304815 w 751062"/>
                      <a:gd name="connsiteY351" fmla="*/ 96490 h 723778"/>
                      <a:gd name="connsiteX352" fmla="*/ 308613 w 751062"/>
                      <a:gd name="connsiteY352" fmla="*/ 86128 h 723778"/>
                      <a:gd name="connsiteX353" fmla="*/ 314843 w 751062"/>
                      <a:gd name="connsiteY353" fmla="*/ 101810 h 723778"/>
                      <a:gd name="connsiteX354" fmla="*/ 318675 w 751062"/>
                      <a:gd name="connsiteY354" fmla="*/ 100805 h 723778"/>
                      <a:gd name="connsiteX355" fmla="*/ 320848 w 751062"/>
                      <a:gd name="connsiteY355" fmla="*/ 44426 h 723778"/>
                      <a:gd name="connsiteX356" fmla="*/ 332287 w 751062"/>
                      <a:gd name="connsiteY356" fmla="*/ 44323 h 723778"/>
                      <a:gd name="connsiteX357" fmla="*/ 375040 w 751062"/>
                      <a:gd name="connsiteY357" fmla="*/ 81671 h 723778"/>
                      <a:gd name="connsiteX358" fmla="*/ 384351 w 751062"/>
                      <a:gd name="connsiteY358" fmla="*/ 102215 h 723778"/>
                      <a:gd name="connsiteX359" fmla="*/ 422210 w 751062"/>
                      <a:gd name="connsiteY359" fmla="*/ 179732 h 723778"/>
                      <a:gd name="connsiteX360" fmla="*/ 403293 w 751062"/>
                      <a:gd name="connsiteY360" fmla="*/ 187499 h 723778"/>
                      <a:gd name="connsiteX361" fmla="*/ 378463 w 751062"/>
                      <a:gd name="connsiteY361" fmla="*/ 102215 h 723778"/>
                      <a:gd name="connsiteX362" fmla="*/ 377512 w 751062"/>
                      <a:gd name="connsiteY362" fmla="*/ 98009 h 723778"/>
                      <a:gd name="connsiteX363" fmla="*/ 374780 w 751062"/>
                      <a:gd name="connsiteY363" fmla="*/ 92024 h 723778"/>
                      <a:gd name="connsiteX364" fmla="*/ 370051 w 751062"/>
                      <a:gd name="connsiteY364" fmla="*/ 95691 h 723778"/>
                      <a:gd name="connsiteX365" fmla="*/ 371967 w 751062"/>
                      <a:gd name="connsiteY365" fmla="*/ 100308 h 723778"/>
                      <a:gd name="connsiteX366" fmla="*/ 371907 w 751062"/>
                      <a:gd name="connsiteY366" fmla="*/ 100308 h 723778"/>
                      <a:gd name="connsiteX367" fmla="*/ 408062 w 751062"/>
                      <a:gd name="connsiteY367" fmla="*/ 218808 h 723778"/>
                      <a:gd name="connsiteX368" fmla="*/ 422807 w 751062"/>
                      <a:gd name="connsiteY368" fmla="*/ 248098 h 723778"/>
                      <a:gd name="connsiteX369" fmla="*/ 378823 w 751062"/>
                      <a:gd name="connsiteY369" fmla="*/ 256575 h 723778"/>
                      <a:gd name="connsiteX370" fmla="*/ 366488 w 751062"/>
                      <a:gd name="connsiteY370" fmla="*/ 237836 h 723778"/>
                      <a:gd name="connsiteX371" fmla="*/ 345073 w 751062"/>
                      <a:gd name="connsiteY371" fmla="*/ 228933 h 723778"/>
                      <a:gd name="connsiteX372" fmla="*/ 335536 w 751062"/>
                      <a:gd name="connsiteY372" fmla="*/ 227474 h 723778"/>
                      <a:gd name="connsiteX373" fmla="*/ 303719 w 751062"/>
                      <a:gd name="connsiteY373" fmla="*/ 233281 h 723778"/>
                      <a:gd name="connsiteX374" fmla="*/ 215234 w 751062"/>
                      <a:gd name="connsiteY374" fmla="*/ 227682 h 723778"/>
                      <a:gd name="connsiteX375" fmla="*/ 218067 w 751062"/>
                      <a:gd name="connsiteY375" fmla="*/ 215587 h 723778"/>
                      <a:gd name="connsiteX376" fmla="*/ 219552 w 751062"/>
                      <a:gd name="connsiteY376" fmla="*/ 143832 h 723778"/>
                      <a:gd name="connsiteX377" fmla="*/ 217342 w 751062"/>
                      <a:gd name="connsiteY377" fmla="*/ 122662 h 723778"/>
                      <a:gd name="connsiteX378" fmla="*/ 212291 w 751062"/>
                      <a:gd name="connsiteY378" fmla="*/ 123345 h 723778"/>
                      <a:gd name="connsiteX379" fmla="*/ 210003 w 751062"/>
                      <a:gd name="connsiteY379" fmla="*/ 190340 h 723778"/>
                      <a:gd name="connsiteX380" fmla="*/ 210203 w 751062"/>
                      <a:gd name="connsiteY380" fmla="*/ 226463 h 723778"/>
                      <a:gd name="connsiteX381" fmla="*/ 151289 w 751062"/>
                      <a:gd name="connsiteY381" fmla="*/ 236742 h 723778"/>
                      <a:gd name="connsiteX382" fmla="*/ 143354 w 751062"/>
                      <a:gd name="connsiteY382" fmla="*/ 239723 h 723778"/>
                      <a:gd name="connsiteX383" fmla="*/ 144619 w 751062"/>
                      <a:gd name="connsiteY383" fmla="*/ 240988 h 723778"/>
                      <a:gd name="connsiteX384" fmla="*/ 206149 w 751062"/>
                      <a:gd name="connsiteY384" fmla="*/ 230794 h 723778"/>
                      <a:gd name="connsiteX385" fmla="*/ 228118 w 751062"/>
                      <a:gd name="connsiteY385" fmla="*/ 232553 h 723778"/>
                      <a:gd name="connsiteX386" fmla="*/ 286378 w 751062"/>
                      <a:gd name="connsiteY386" fmla="*/ 241334 h 723778"/>
                      <a:gd name="connsiteX387" fmla="*/ 305635 w 751062"/>
                      <a:gd name="connsiteY387" fmla="*/ 237567 h 723778"/>
                      <a:gd name="connsiteX388" fmla="*/ 329177 w 751062"/>
                      <a:gd name="connsiteY388" fmla="*/ 231994 h 723778"/>
                      <a:gd name="connsiteX389" fmla="*/ 346675 w 751062"/>
                      <a:gd name="connsiteY389" fmla="*/ 234261 h 723778"/>
                      <a:gd name="connsiteX390" fmla="*/ 363930 w 751062"/>
                      <a:gd name="connsiteY390" fmla="*/ 241836 h 723778"/>
                      <a:gd name="connsiteX391" fmla="*/ 375057 w 751062"/>
                      <a:gd name="connsiteY391" fmla="*/ 256515 h 723778"/>
                      <a:gd name="connsiteX392" fmla="*/ 357719 w 751062"/>
                      <a:gd name="connsiteY392" fmla="*/ 239629 h 723778"/>
                      <a:gd name="connsiteX393" fmla="*/ 356289 w 751062"/>
                      <a:gd name="connsiteY393" fmla="*/ 242076 h 723778"/>
                      <a:gd name="connsiteX394" fmla="*/ 374617 w 751062"/>
                      <a:gd name="connsiteY394" fmla="*/ 262403 h 723778"/>
                      <a:gd name="connsiteX395" fmla="*/ 371468 w 751062"/>
                      <a:gd name="connsiteY395" fmla="*/ 266595 h 723778"/>
                      <a:gd name="connsiteX396" fmla="*/ 370437 w 751062"/>
                      <a:gd name="connsiteY396" fmla="*/ 266855 h 723778"/>
                      <a:gd name="connsiteX397" fmla="*/ 359324 w 751062"/>
                      <a:gd name="connsiteY397" fmla="*/ 252435 h 723778"/>
                      <a:gd name="connsiteX398" fmla="*/ 349767 w 751062"/>
                      <a:gd name="connsiteY398" fmla="*/ 245594 h 723778"/>
                      <a:gd name="connsiteX399" fmla="*/ 348337 w 751062"/>
                      <a:gd name="connsiteY399" fmla="*/ 248041 h 723778"/>
                      <a:gd name="connsiteX400" fmla="*/ 367579 w 751062"/>
                      <a:gd name="connsiteY400" fmla="*/ 266412 h 723778"/>
                      <a:gd name="connsiteX401" fmla="*/ 364709 w 751062"/>
                      <a:gd name="connsiteY401" fmla="*/ 267608 h 723778"/>
                      <a:gd name="connsiteX402" fmla="*/ 361919 w 751062"/>
                      <a:gd name="connsiteY402" fmla="*/ 265801 h 723778"/>
                      <a:gd name="connsiteX403" fmla="*/ 354484 w 751062"/>
                      <a:gd name="connsiteY403" fmla="*/ 260473 h 723778"/>
                      <a:gd name="connsiteX404" fmla="*/ 353739 w 751062"/>
                      <a:gd name="connsiteY404" fmla="*/ 260262 h 723778"/>
                      <a:gd name="connsiteX405" fmla="*/ 341338 w 751062"/>
                      <a:gd name="connsiteY405" fmla="*/ 253029 h 723778"/>
                      <a:gd name="connsiteX406" fmla="*/ 340427 w 751062"/>
                      <a:gd name="connsiteY406" fmla="*/ 256336 h 723778"/>
                      <a:gd name="connsiteX407" fmla="*/ 356948 w 751062"/>
                      <a:gd name="connsiteY407" fmla="*/ 277023 h 723778"/>
                      <a:gd name="connsiteX408" fmla="*/ 339756 w 751062"/>
                      <a:gd name="connsiteY408" fmla="*/ 264062 h 723778"/>
                      <a:gd name="connsiteX409" fmla="*/ 335999 w 751062"/>
                      <a:gd name="connsiteY409" fmla="*/ 261866 h 723778"/>
                      <a:gd name="connsiteX410" fmla="*/ 335542 w 751062"/>
                      <a:gd name="connsiteY410" fmla="*/ 261781 h 723778"/>
                      <a:gd name="connsiteX411" fmla="*/ 331601 w 751062"/>
                      <a:gd name="connsiteY411" fmla="*/ 262335 h 723778"/>
                      <a:gd name="connsiteX412" fmla="*/ 314189 w 751062"/>
                      <a:gd name="connsiteY412" fmla="*/ 262712 h 723778"/>
                      <a:gd name="connsiteX413" fmla="*/ 309001 w 751062"/>
                      <a:gd name="connsiteY413" fmla="*/ 262101 h 723778"/>
                      <a:gd name="connsiteX414" fmla="*/ 307374 w 751062"/>
                      <a:gd name="connsiteY414" fmla="*/ 262395 h 723778"/>
                      <a:gd name="connsiteX415" fmla="*/ 279825 w 751062"/>
                      <a:gd name="connsiteY415" fmla="*/ 264667 h 723778"/>
                      <a:gd name="connsiteX416" fmla="*/ 268744 w 751062"/>
                      <a:gd name="connsiteY416" fmla="*/ 264836 h 723778"/>
                      <a:gd name="connsiteX417" fmla="*/ 257248 w 751062"/>
                      <a:gd name="connsiteY417" fmla="*/ 266052 h 723778"/>
                      <a:gd name="connsiteX418" fmla="*/ 139990 w 751062"/>
                      <a:gd name="connsiteY418" fmla="*/ 259111 h 723778"/>
                      <a:gd name="connsiteX419" fmla="*/ 141004 w 751062"/>
                      <a:gd name="connsiteY419" fmla="*/ 249457 h 723778"/>
                      <a:gd name="connsiteX420" fmla="*/ 146061 w 751062"/>
                      <a:gd name="connsiteY420" fmla="*/ 146573 h 723778"/>
                      <a:gd name="connsiteX421" fmla="*/ 187329 w 751062"/>
                      <a:gd name="connsiteY421" fmla="*/ 69898 h 723778"/>
                      <a:gd name="connsiteX422" fmla="*/ 137952 w 751062"/>
                      <a:gd name="connsiteY422" fmla="*/ 266409 h 723778"/>
                      <a:gd name="connsiteX423" fmla="*/ 137549 w 751062"/>
                      <a:gd name="connsiteY423" fmla="*/ 261127 h 723778"/>
                      <a:gd name="connsiteX424" fmla="*/ 252582 w 751062"/>
                      <a:gd name="connsiteY424" fmla="*/ 271903 h 723778"/>
                      <a:gd name="connsiteX425" fmla="*/ 272918 w 751062"/>
                      <a:gd name="connsiteY425" fmla="*/ 269193 h 723778"/>
                      <a:gd name="connsiteX426" fmla="*/ 281673 w 751062"/>
                      <a:gd name="connsiteY426" fmla="*/ 270741 h 723778"/>
                      <a:gd name="connsiteX427" fmla="*/ 241801 w 751062"/>
                      <a:gd name="connsiteY427" fmla="*/ 283501 h 723778"/>
                      <a:gd name="connsiteX428" fmla="*/ 159727 w 751062"/>
                      <a:gd name="connsiteY428" fmla="*/ 276346 h 723778"/>
                      <a:gd name="connsiteX429" fmla="*/ 138120 w 751062"/>
                      <a:gd name="connsiteY429" fmla="*/ 272211 h 723778"/>
                      <a:gd name="connsiteX430" fmla="*/ 137952 w 751062"/>
                      <a:gd name="connsiteY430" fmla="*/ 266409 h 723778"/>
                      <a:gd name="connsiteX431" fmla="*/ 240464 w 751062"/>
                      <a:gd name="connsiteY431" fmla="*/ 289900 h 723778"/>
                      <a:gd name="connsiteX432" fmla="*/ 285230 w 751062"/>
                      <a:gd name="connsiteY432" fmla="*/ 278070 h 723778"/>
                      <a:gd name="connsiteX433" fmla="*/ 306608 w 751062"/>
                      <a:gd name="connsiteY433" fmla="*/ 281220 h 723778"/>
                      <a:gd name="connsiteX434" fmla="*/ 305466 w 751062"/>
                      <a:gd name="connsiteY434" fmla="*/ 367095 h 723778"/>
                      <a:gd name="connsiteX435" fmla="*/ 303765 w 751062"/>
                      <a:gd name="connsiteY435" fmla="*/ 380538 h 723778"/>
                      <a:gd name="connsiteX436" fmla="*/ 212528 w 751062"/>
                      <a:gd name="connsiteY436" fmla="*/ 365827 h 723778"/>
                      <a:gd name="connsiteX437" fmla="*/ 149893 w 751062"/>
                      <a:gd name="connsiteY437" fmla="*/ 281445 h 723778"/>
                      <a:gd name="connsiteX438" fmla="*/ 240464 w 751062"/>
                      <a:gd name="connsiteY438" fmla="*/ 289900 h 723778"/>
                      <a:gd name="connsiteX439" fmla="*/ 286344 w 751062"/>
                      <a:gd name="connsiteY439" fmla="*/ 274541 h 723778"/>
                      <a:gd name="connsiteX440" fmla="*/ 286944 w 751062"/>
                      <a:gd name="connsiteY440" fmla="*/ 271466 h 723778"/>
                      <a:gd name="connsiteX441" fmla="*/ 306534 w 751062"/>
                      <a:gd name="connsiteY441" fmla="*/ 274147 h 723778"/>
                      <a:gd name="connsiteX442" fmla="*/ 306586 w 751062"/>
                      <a:gd name="connsiteY442" fmla="*/ 277374 h 723778"/>
                      <a:gd name="connsiteX443" fmla="*/ 286344 w 751062"/>
                      <a:gd name="connsiteY443" fmla="*/ 274541 h 723778"/>
                      <a:gd name="connsiteX444" fmla="*/ 306483 w 751062"/>
                      <a:gd name="connsiteY444" fmla="*/ 269896 h 723778"/>
                      <a:gd name="connsiteX445" fmla="*/ 289242 w 751062"/>
                      <a:gd name="connsiteY445" fmla="*/ 267531 h 723778"/>
                      <a:gd name="connsiteX446" fmla="*/ 306766 w 751062"/>
                      <a:gd name="connsiteY446" fmla="*/ 265830 h 723778"/>
                      <a:gd name="connsiteX447" fmla="*/ 306483 w 751062"/>
                      <a:gd name="connsiteY447" fmla="*/ 269896 h 723778"/>
                      <a:gd name="connsiteX448" fmla="*/ 133175 w 751062"/>
                      <a:gd name="connsiteY448" fmla="*/ 88758 h 723778"/>
                      <a:gd name="connsiteX449" fmla="*/ 130936 w 751062"/>
                      <a:gd name="connsiteY449" fmla="*/ 81591 h 723778"/>
                      <a:gd name="connsiteX450" fmla="*/ 165140 w 751062"/>
                      <a:gd name="connsiteY450" fmla="*/ 85837 h 723778"/>
                      <a:gd name="connsiteX451" fmla="*/ 138237 w 751062"/>
                      <a:gd name="connsiteY451" fmla="*/ 142932 h 723778"/>
                      <a:gd name="connsiteX452" fmla="*/ 133175 w 751062"/>
                      <a:gd name="connsiteY452" fmla="*/ 88758 h 723778"/>
                      <a:gd name="connsiteX453" fmla="*/ 7014 w 751062"/>
                      <a:gd name="connsiteY453" fmla="*/ 477659 h 723778"/>
                      <a:gd name="connsiteX454" fmla="*/ 36153 w 751062"/>
                      <a:gd name="connsiteY454" fmla="*/ 336451 h 723778"/>
                      <a:gd name="connsiteX455" fmla="*/ 96323 w 751062"/>
                      <a:gd name="connsiteY455" fmla="*/ 634644 h 723778"/>
                      <a:gd name="connsiteX456" fmla="*/ 7014 w 751062"/>
                      <a:gd name="connsiteY456" fmla="*/ 477659 h 723778"/>
                      <a:gd name="connsiteX457" fmla="*/ 49893 w 751062"/>
                      <a:gd name="connsiteY457" fmla="*/ 320498 h 723778"/>
                      <a:gd name="connsiteX458" fmla="*/ 120251 w 751062"/>
                      <a:gd name="connsiteY458" fmla="*/ 313662 h 723778"/>
                      <a:gd name="connsiteX459" fmla="*/ 121779 w 751062"/>
                      <a:gd name="connsiteY459" fmla="*/ 343475 h 723778"/>
                      <a:gd name="connsiteX460" fmla="*/ 123224 w 751062"/>
                      <a:gd name="connsiteY460" fmla="*/ 352290 h 723778"/>
                      <a:gd name="connsiteX461" fmla="*/ 125083 w 751062"/>
                      <a:gd name="connsiteY461" fmla="*/ 354114 h 723778"/>
                      <a:gd name="connsiteX462" fmla="*/ 126405 w 751062"/>
                      <a:gd name="connsiteY462" fmla="*/ 375050 h 723778"/>
                      <a:gd name="connsiteX463" fmla="*/ 124791 w 751062"/>
                      <a:gd name="connsiteY463" fmla="*/ 444203 h 723778"/>
                      <a:gd name="connsiteX464" fmla="*/ 118918 w 751062"/>
                      <a:gd name="connsiteY464" fmla="*/ 455528 h 723778"/>
                      <a:gd name="connsiteX465" fmla="*/ 107205 w 751062"/>
                      <a:gd name="connsiteY465" fmla="*/ 452507 h 723778"/>
                      <a:gd name="connsiteX466" fmla="*/ 88785 w 751062"/>
                      <a:gd name="connsiteY466" fmla="*/ 466001 h 723778"/>
                      <a:gd name="connsiteX467" fmla="*/ 91906 w 751062"/>
                      <a:gd name="connsiteY467" fmla="*/ 475232 h 723778"/>
                      <a:gd name="connsiteX468" fmla="*/ 100361 w 751062"/>
                      <a:gd name="connsiteY468" fmla="*/ 485437 h 723778"/>
                      <a:gd name="connsiteX469" fmla="*/ 110689 w 751062"/>
                      <a:gd name="connsiteY469" fmla="*/ 475152 h 723778"/>
                      <a:gd name="connsiteX470" fmla="*/ 120017 w 751062"/>
                      <a:gd name="connsiteY470" fmla="*/ 472297 h 723778"/>
                      <a:gd name="connsiteX471" fmla="*/ 127267 w 751062"/>
                      <a:gd name="connsiteY471" fmla="*/ 480129 h 723778"/>
                      <a:gd name="connsiteX472" fmla="*/ 129514 w 751062"/>
                      <a:gd name="connsiteY472" fmla="*/ 483173 h 723778"/>
                      <a:gd name="connsiteX473" fmla="*/ 141752 w 751062"/>
                      <a:gd name="connsiteY473" fmla="*/ 478687 h 723778"/>
                      <a:gd name="connsiteX474" fmla="*/ 144448 w 751062"/>
                      <a:gd name="connsiteY474" fmla="*/ 463400 h 723778"/>
                      <a:gd name="connsiteX475" fmla="*/ 144482 w 751062"/>
                      <a:gd name="connsiteY475" fmla="*/ 463400 h 723778"/>
                      <a:gd name="connsiteX476" fmla="*/ 145141 w 751062"/>
                      <a:gd name="connsiteY476" fmla="*/ 445785 h 723778"/>
                      <a:gd name="connsiteX477" fmla="*/ 122290 w 751062"/>
                      <a:gd name="connsiteY477" fmla="*/ 478428 h 723778"/>
                      <a:gd name="connsiteX478" fmla="*/ 119263 w 751062"/>
                      <a:gd name="connsiteY478" fmla="*/ 476940 h 723778"/>
                      <a:gd name="connsiteX479" fmla="*/ 117776 w 751062"/>
                      <a:gd name="connsiteY479" fmla="*/ 479969 h 723778"/>
                      <a:gd name="connsiteX480" fmla="*/ 136852 w 751062"/>
                      <a:gd name="connsiteY480" fmla="*/ 496745 h 723778"/>
                      <a:gd name="connsiteX481" fmla="*/ 152086 w 751062"/>
                      <a:gd name="connsiteY481" fmla="*/ 487725 h 723778"/>
                      <a:gd name="connsiteX482" fmla="*/ 145373 w 751062"/>
                      <a:gd name="connsiteY482" fmla="*/ 439601 h 723778"/>
                      <a:gd name="connsiteX483" fmla="*/ 147614 w 751062"/>
                      <a:gd name="connsiteY483" fmla="*/ 379652 h 723778"/>
                      <a:gd name="connsiteX484" fmla="*/ 171907 w 751062"/>
                      <a:gd name="connsiteY484" fmla="*/ 383356 h 723778"/>
                      <a:gd name="connsiteX485" fmla="*/ 165092 w 751062"/>
                      <a:gd name="connsiteY485" fmla="*/ 596919 h 723778"/>
                      <a:gd name="connsiteX486" fmla="*/ 163576 w 751062"/>
                      <a:gd name="connsiteY486" fmla="*/ 595708 h 723778"/>
                      <a:gd name="connsiteX487" fmla="*/ 125782 w 751062"/>
                      <a:gd name="connsiteY487" fmla="*/ 587808 h 723778"/>
                      <a:gd name="connsiteX488" fmla="*/ 97531 w 751062"/>
                      <a:gd name="connsiteY488" fmla="*/ 589601 h 723778"/>
                      <a:gd name="connsiteX489" fmla="*/ 101769 w 751062"/>
                      <a:gd name="connsiteY489" fmla="*/ 602618 h 723778"/>
                      <a:gd name="connsiteX490" fmla="*/ 113201 w 751062"/>
                      <a:gd name="connsiteY490" fmla="*/ 606267 h 723778"/>
                      <a:gd name="connsiteX491" fmla="*/ 132078 w 751062"/>
                      <a:gd name="connsiteY491" fmla="*/ 611947 h 723778"/>
                      <a:gd name="connsiteX492" fmla="*/ 149701 w 751062"/>
                      <a:gd name="connsiteY492" fmla="*/ 617021 h 723778"/>
                      <a:gd name="connsiteX493" fmla="*/ 104621 w 751062"/>
                      <a:gd name="connsiteY493" fmla="*/ 635852 h 723778"/>
                      <a:gd name="connsiteX494" fmla="*/ 104644 w 751062"/>
                      <a:gd name="connsiteY494" fmla="*/ 635817 h 723778"/>
                      <a:gd name="connsiteX495" fmla="*/ 49901 w 751062"/>
                      <a:gd name="connsiteY495" fmla="*/ 320501 h 723778"/>
                      <a:gd name="connsiteX496" fmla="*/ 49893 w 751062"/>
                      <a:gd name="connsiteY496" fmla="*/ 320498 h 723778"/>
                      <a:gd name="connsiteX497" fmla="*/ 119769 w 751062"/>
                      <a:gd name="connsiteY497" fmla="*/ 294574 h 723778"/>
                      <a:gd name="connsiteX498" fmla="*/ 119954 w 751062"/>
                      <a:gd name="connsiteY498" fmla="*/ 301427 h 723778"/>
                      <a:gd name="connsiteX499" fmla="*/ 69063 w 751062"/>
                      <a:gd name="connsiteY499" fmla="*/ 297333 h 723778"/>
                      <a:gd name="connsiteX500" fmla="*/ 119635 w 751062"/>
                      <a:gd name="connsiteY500" fmla="*/ 289084 h 723778"/>
                      <a:gd name="connsiteX501" fmla="*/ 119769 w 751062"/>
                      <a:gd name="connsiteY501" fmla="*/ 294574 h 723778"/>
                      <a:gd name="connsiteX502" fmla="*/ 158502 w 751062"/>
                      <a:gd name="connsiteY502" fmla="*/ 618151 h 723778"/>
                      <a:gd name="connsiteX503" fmla="*/ 159795 w 751062"/>
                      <a:gd name="connsiteY503" fmla="*/ 619328 h 723778"/>
                      <a:gd name="connsiteX504" fmla="*/ 179922 w 751062"/>
                      <a:gd name="connsiteY504" fmla="*/ 621643 h 723778"/>
                      <a:gd name="connsiteX505" fmla="*/ 120631 w 751062"/>
                      <a:gd name="connsiteY505" fmla="*/ 641011 h 723778"/>
                      <a:gd name="connsiteX506" fmla="*/ 158502 w 751062"/>
                      <a:gd name="connsiteY506" fmla="*/ 618151 h 723778"/>
                      <a:gd name="connsiteX507" fmla="*/ 151891 w 751062"/>
                      <a:gd name="connsiteY507" fmla="*/ 613951 h 723778"/>
                      <a:gd name="connsiteX508" fmla="*/ 133360 w 751062"/>
                      <a:gd name="connsiteY508" fmla="*/ 609163 h 723778"/>
                      <a:gd name="connsiteX509" fmla="*/ 103639 w 751062"/>
                      <a:gd name="connsiteY509" fmla="*/ 600748 h 723778"/>
                      <a:gd name="connsiteX510" fmla="*/ 101923 w 751062"/>
                      <a:gd name="connsiteY510" fmla="*/ 597356 h 723778"/>
                      <a:gd name="connsiteX511" fmla="*/ 104618 w 751062"/>
                      <a:gd name="connsiteY511" fmla="*/ 589010 h 723778"/>
                      <a:gd name="connsiteX512" fmla="*/ 121445 w 751062"/>
                      <a:gd name="connsiteY512" fmla="*/ 591442 h 723778"/>
                      <a:gd name="connsiteX513" fmla="*/ 163107 w 751062"/>
                      <a:gd name="connsiteY513" fmla="*/ 600123 h 723778"/>
                      <a:gd name="connsiteX514" fmla="*/ 152317 w 751062"/>
                      <a:gd name="connsiteY514" fmla="*/ 614279 h 723778"/>
                      <a:gd name="connsiteX515" fmla="*/ 151891 w 751062"/>
                      <a:gd name="connsiteY515" fmla="*/ 613951 h 723778"/>
                      <a:gd name="connsiteX516" fmla="*/ 178192 w 751062"/>
                      <a:gd name="connsiteY516" fmla="*/ 618839 h 723778"/>
                      <a:gd name="connsiteX517" fmla="*/ 159961 w 751062"/>
                      <a:gd name="connsiteY517" fmla="*/ 616515 h 723778"/>
                      <a:gd name="connsiteX518" fmla="*/ 171299 w 751062"/>
                      <a:gd name="connsiteY518" fmla="*/ 601108 h 723778"/>
                      <a:gd name="connsiteX519" fmla="*/ 190764 w 751062"/>
                      <a:gd name="connsiteY519" fmla="*/ 605613 h 723778"/>
                      <a:gd name="connsiteX520" fmla="*/ 181598 w 751062"/>
                      <a:gd name="connsiteY520" fmla="*/ 619365 h 723778"/>
                      <a:gd name="connsiteX521" fmla="*/ 178192 w 751062"/>
                      <a:gd name="connsiteY521" fmla="*/ 618839 h 723778"/>
                      <a:gd name="connsiteX522" fmla="*/ 190427 w 751062"/>
                      <a:gd name="connsiteY522" fmla="*/ 601439 h 723778"/>
                      <a:gd name="connsiteX523" fmla="*/ 172750 w 751062"/>
                      <a:gd name="connsiteY523" fmla="*/ 598721 h 723778"/>
                      <a:gd name="connsiteX524" fmla="*/ 182621 w 751062"/>
                      <a:gd name="connsiteY524" fmla="*/ 384898 h 723778"/>
                      <a:gd name="connsiteX525" fmla="*/ 191552 w 751062"/>
                      <a:gd name="connsiteY525" fmla="*/ 387088 h 723778"/>
                      <a:gd name="connsiteX526" fmla="*/ 200018 w 751062"/>
                      <a:gd name="connsiteY526" fmla="*/ 388487 h 723778"/>
                      <a:gd name="connsiteX527" fmla="*/ 193154 w 751062"/>
                      <a:gd name="connsiteY527" fmla="*/ 601936 h 723778"/>
                      <a:gd name="connsiteX528" fmla="*/ 190427 w 751062"/>
                      <a:gd name="connsiteY528" fmla="*/ 601439 h 723778"/>
                      <a:gd name="connsiteX529" fmla="*/ 197226 w 751062"/>
                      <a:gd name="connsiteY529" fmla="*/ 384943 h 723778"/>
                      <a:gd name="connsiteX530" fmla="*/ 182141 w 751062"/>
                      <a:gd name="connsiteY530" fmla="*/ 383607 h 723778"/>
                      <a:gd name="connsiteX531" fmla="*/ 172653 w 751062"/>
                      <a:gd name="connsiteY531" fmla="*/ 361624 h 723778"/>
                      <a:gd name="connsiteX532" fmla="*/ 190641 w 751062"/>
                      <a:gd name="connsiteY532" fmla="*/ 365207 h 723778"/>
                      <a:gd name="connsiteX533" fmla="*/ 198825 w 751062"/>
                      <a:gd name="connsiteY533" fmla="*/ 385155 h 723778"/>
                      <a:gd name="connsiteX534" fmla="*/ 197226 w 751062"/>
                      <a:gd name="connsiteY534" fmla="*/ 384943 h 723778"/>
                      <a:gd name="connsiteX535" fmla="*/ 181667 w 751062"/>
                      <a:gd name="connsiteY535" fmla="*/ 360099 h 723778"/>
                      <a:gd name="connsiteX536" fmla="*/ 171545 w 751062"/>
                      <a:gd name="connsiteY536" fmla="*/ 359425 h 723778"/>
                      <a:gd name="connsiteX537" fmla="*/ 122761 w 751062"/>
                      <a:gd name="connsiteY537" fmla="*/ 302992 h 723778"/>
                      <a:gd name="connsiteX538" fmla="*/ 122204 w 751062"/>
                      <a:gd name="connsiteY538" fmla="*/ 289937 h 723778"/>
                      <a:gd name="connsiteX539" fmla="*/ 188962 w 751062"/>
                      <a:gd name="connsiteY539" fmla="*/ 361632 h 723778"/>
                      <a:gd name="connsiteX540" fmla="*/ 181667 w 751062"/>
                      <a:gd name="connsiteY540" fmla="*/ 360099 h 723778"/>
                      <a:gd name="connsiteX541" fmla="*/ 121730 w 751062"/>
                      <a:gd name="connsiteY541" fmla="*/ 464254 h 723778"/>
                      <a:gd name="connsiteX542" fmla="*/ 120208 w 751062"/>
                      <a:gd name="connsiteY542" fmla="*/ 458115 h 723778"/>
                      <a:gd name="connsiteX543" fmla="*/ 122952 w 751062"/>
                      <a:gd name="connsiteY543" fmla="*/ 453126 h 723778"/>
                      <a:gd name="connsiteX544" fmla="*/ 126736 w 751062"/>
                      <a:gd name="connsiteY544" fmla="*/ 446208 h 723778"/>
                      <a:gd name="connsiteX545" fmla="*/ 138171 w 751062"/>
                      <a:gd name="connsiteY545" fmla="*/ 474870 h 723778"/>
                      <a:gd name="connsiteX546" fmla="*/ 130419 w 751062"/>
                      <a:gd name="connsiteY546" fmla="*/ 478496 h 723778"/>
                      <a:gd name="connsiteX547" fmla="*/ 121162 w 751062"/>
                      <a:gd name="connsiteY547" fmla="*/ 470050 h 723778"/>
                      <a:gd name="connsiteX548" fmla="*/ 121730 w 751062"/>
                      <a:gd name="connsiteY548" fmla="*/ 464254 h 723778"/>
                      <a:gd name="connsiteX549" fmla="*/ 125648 w 751062"/>
                      <a:gd name="connsiteY549" fmla="*/ 342804 h 723778"/>
                      <a:gd name="connsiteX550" fmla="*/ 123698 w 751062"/>
                      <a:gd name="connsiteY550" fmla="*/ 315924 h 723778"/>
                      <a:gd name="connsiteX551" fmla="*/ 158927 w 751062"/>
                      <a:gd name="connsiteY551" fmla="*/ 356407 h 723778"/>
                      <a:gd name="connsiteX552" fmla="*/ 126036 w 751062"/>
                      <a:gd name="connsiteY552" fmla="*/ 351259 h 723778"/>
                      <a:gd name="connsiteX553" fmla="*/ 125648 w 751062"/>
                      <a:gd name="connsiteY553" fmla="*/ 342804 h 723778"/>
                      <a:gd name="connsiteX554" fmla="*/ 139159 w 751062"/>
                      <a:gd name="connsiteY554" fmla="*/ 448364 h 723778"/>
                      <a:gd name="connsiteX555" fmla="*/ 129594 w 751062"/>
                      <a:gd name="connsiteY555" fmla="*/ 441973 h 723778"/>
                      <a:gd name="connsiteX556" fmla="*/ 131136 w 751062"/>
                      <a:gd name="connsiteY556" fmla="*/ 376372 h 723778"/>
                      <a:gd name="connsiteX557" fmla="*/ 142871 w 751062"/>
                      <a:gd name="connsiteY557" fmla="*/ 378770 h 723778"/>
                      <a:gd name="connsiteX558" fmla="*/ 140210 w 751062"/>
                      <a:gd name="connsiteY558" fmla="*/ 449948 h 723778"/>
                      <a:gd name="connsiteX559" fmla="*/ 139159 w 751062"/>
                      <a:gd name="connsiteY559" fmla="*/ 448364 h 723778"/>
                      <a:gd name="connsiteX560" fmla="*/ 141147 w 751062"/>
                      <a:gd name="connsiteY560" fmla="*/ 375409 h 723778"/>
                      <a:gd name="connsiteX561" fmla="*/ 130559 w 751062"/>
                      <a:gd name="connsiteY561" fmla="*/ 373608 h 723778"/>
                      <a:gd name="connsiteX562" fmla="*/ 129437 w 751062"/>
                      <a:gd name="connsiteY562" fmla="*/ 373005 h 723778"/>
                      <a:gd name="connsiteX563" fmla="*/ 127709 w 751062"/>
                      <a:gd name="connsiteY563" fmla="*/ 354834 h 723778"/>
                      <a:gd name="connsiteX564" fmla="*/ 158953 w 751062"/>
                      <a:gd name="connsiteY564" fmla="*/ 359742 h 723778"/>
                      <a:gd name="connsiteX565" fmla="*/ 160520 w 751062"/>
                      <a:gd name="connsiteY565" fmla="*/ 359222 h 723778"/>
                      <a:gd name="connsiteX566" fmla="*/ 170925 w 751062"/>
                      <a:gd name="connsiteY566" fmla="*/ 380926 h 723778"/>
                      <a:gd name="connsiteX567" fmla="*/ 141147 w 751062"/>
                      <a:gd name="connsiteY567" fmla="*/ 375409 h 723778"/>
                      <a:gd name="connsiteX568" fmla="*/ 110349 w 751062"/>
                      <a:gd name="connsiteY568" fmla="*/ 458243 h 723778"/>
                      <a:gd name="connsiteX569" fmla="*/ 108796 w 751062"/>
                      <a:gd name="connsiteY569" fmla="*/ 455156 h 723778"/>
                      <a:gd name="connsiteX570" fmla="*/ 117170 w 751062"/>
                      <a:gd name="connsiteY570" fmla="*/ 459731 h 723778"/>
                      <a:gd name="connsiteX571" fmla="*/ 111631 w 751062"/>
                      <a:gd name="connsiteY571" fmla="*/ 472731 h 723778"/>
                      <a:gd name="connsiteX572" fmla="*/ 110349 w 751062"/>
                      <a:gd name="connsiteY572" fmla="*/ 458243 h 723778"/>
                      <a:gd name="connsiteX573" fmla="*/ 96960 w 751062"/>
                      <a:gd name="connsiteY573" fmla="*/ 478245 h 723778"/>
                      <a:gd name="connsiteX574" fmla="*/ 93794 w 751062"/>
                      <a:gd name="connsiteY574" fmla="*/ 455005 h 723778"/>
                      <a:gd name="connsiteX575" fmla="*/ 102197 w 751062"/>
                      <a:gd name="connsiteY575" fmla="*/ 451496 h 723778"/>
                      <a:gd name="connsiteX576" fmla="*/ 109472 w 751062"/>
                      <a:gd name="connsiteY576" fmla="*/ 466130 h 723778"/>
                      <a:gd name="connsiteX577" fmla="*/ 103656 w 751062"/>
                      <a:gd name="connsiteY577" fmla="*/ 481220 h 723778"/>
                      <a:gd name="connsiteX578" fmla="*/ 96323 w 751062"/>
                      <a:gd name="connsiteY578" fmla="*/ 478185 h 723778"/>
                      <a:gd name="connsiteX579" fmla="*/ 96960 w 751062"/>
                      <a:gd name="connsiteY579" fmla="*/ 478245 h 723778"/>
                      <a:gd name="connsiteX580" fmla="*/ 92497 w 751062"/>
                      <a:gd name="connsiteY580" fmla="*/ 466001 h 723778"/>
                      <a:gd name="connsiteX581" fmla="*/ 93968 w 751062"/>
                      <a:gd name="connsiteY581" fmla="*/ 458340 h 723778"/>
                      <a:gd name="connsiteX582" fmla="*/ 99810 w 751062"/>
                      <a:gd name="connsiteY582" fmla="*/ 465085 h 723778"/>
                      <a:gd name="connsiteX583" fmla="*/ 96392 w 751062"/>
                      <a:gd name="connsiteY583" fmla="*/ 473962 h 723778"/>
                      <a:gd name="connsiteX584" fmla="*/ 92497 w 751062"/>
                      <a:gd name="connsiteY584" fmla="*/ 466001 h 723778"/>
                      <a:gd name="connsiteX585" fmla="*/ 197674 w 751062"/>
                      <a:gd name="connsiteY585" fmla="*/ 624473 h 723778"/>
                      <a:gd name="connsiteX586" fmla="*/ 79725 w 751062"/>
                      <a:gd name="connsiteY586" fmla="*/ 634604 h 723778"/>
                      <a:gd name="connsiteX587" fmla="*/ 110095 w 751062"/>
                      <a:gd name="connsiteY587" fmla="*/ 642150 h 723778"/>
                      <a:gd name="connsiteX588" fmla="*/ 196212 w 751062"/>
                      <a:gd name="connsiteY588" fmla="*/ 604563 h 723778"/>
                      <a:gd name="connsiteX589" fmla="*/ 136872 w 751062"/>
                      <a:gd name="connsiteY589" fmla="*/ 292516 h 723778"/>
                      <a:gd name="connsiteX590" fmla="*/ 53539 w 751062"/>
                      <a:gd name="connsiteY590" fmla="*/ 305725 h 723778"/>
                      <a:gd name="connsiteX591" fmla="*/ 53573 w 751062"/>
                      <a:gd name="connsiteY591" fmla="*/ 305756 h 723778"/>
                      <a:gd name="connsiteX592" fmla="*/ 27641 w 751062"/>
                      <a:gd name="connsiteY592" fmla="*/ 334606 h 723778"/>
                      <a:gd name="connsiteX593" fmla="*/ 179860 w 751062"/>
                      <a:gd name="connsiteY593" fmla="*/ 316358 h 723778"/>
                      <a:gd name="connsiteX594" fmla="*/ 197674 w 751062"/>
                      <a:gd name="connsiteY594" fmla="*/ 624473 h 723778"/>
                      <a:gd name="connsiteX595" fmla="*/ 308821 w 751062"/>
                      <a:gd name="connsiteY595" fmla="*/ 446450 h 723778"/>
                      <a:gd name="connsiteX596" fmla="*/ 311368 w 751062"/>
                      <a:gd name="connsiteY596" fmla="*/ 544792 h 723778"/>
                      <a:gd name="connsiteX597" fmla="*/ 292743 w 751062"/>
                      <a:gd name="connsiteY597" fmla="*/ 552147 h 723778"/>
                      <a:gd name="connsiteX598" fmla="*/ 290873 w 751062"/>
                      <a:gd name="connsiteY598" fmla="*/ 554585 h 723778"/>
                      <a:gd name="connsiteX599" fmla="*/ 248948 w 751062"/>
                      <a:gd name="connsiteY599" fmla="*/ 588110 h 723778"/>
                      <a:gd name="connsiteX600" fmla="*/ 236627 w 751062"/>
                      <a:gd name="connsiteY600" fmla="*/ 608163 h 723778"/>
                      <a:gd name="connsiteX601" fmla="*/ 213179 w 751062"/>
                      <a:gd name="connsiteY601" fmla="*/ 605653 h 723778"/>
                      <a:gd name="connsiteX602" fmla="*/ 229017 w 751062"/>
                      <a:gd name="connsiteY602" fmla="*/ 417757 h 723778"/>
                      <a:gd name="connsiteX603" fmla="*/ 286019 w 751062"/>
                      <a:gd name="connsiteY603" fmla="*/ 423739 h 723778"/>
                      <a:gd name="connsiteX604" fmla="*/ 289434 w 751062"/>
                      <a:gd name="connsiteY604" fmla="*/ 424361 h 723778"/>
                      <a:gd name="connsiteX605" fmla="*/ 308807 w 751062"/>
                      <a:gd name="connsiteY605" fmla="*/ 425992 h 723778"/>
                      <a:gd name="connsiteX606" fmla="*/ 308821 w 751062"/>
                      <a:gd name="connsiteY606" fmla="*/ 446450 h 723778"/>
                      <a:gd name="connsiteX607" fmla="*/ 285145 w 751062"/>
                      <a:gd name="connsiteY607" fmla="*/ 410847 h 723778"/>
                      <a:gd name="connsiteX608" fmla="*/ 283791 w 751062"/>
                      <a:gd name="connsiteY608" fmla="*/ 420430 h 723778"/>
                      <a:gd name="connsiteX609" fmla="*/ 228346 w 751062"/>
                      <a:gd name="connsiteY609" fmla="*/ 414839 h 723778"/>
                      <a:gd name="connsiteX610" fmla="*/ 222604 w 751062"/>
                      <a:gd name="connsiteY610" fmla="*/ 393632 h 723778"/>
                      <a:gd name="connsiteX611" fmla="*/ 284482 w 751062"/>
                      <a:gd name="connsiteY611" fmla="*/ 402424 h 723778"/>
                      <a:gd name="connsiteX612" fmla="*/ 286610 w 751062"/>
                      <a:gd name="connsiteY612" fmla="*/ 409642 h 723778"/>
                      <a:gd name="connsiteX613" fmla="*/ 285145 w 751062"/>
                      <a:gd name="connsiteY613" fmla="*/ 410847 h 723778"/>
                      <a:gd name="connsiteX614" fmla="*/ 236570 w 751062"/>
                      <a:gd name="connsiteY614" fmla="*/ 630626 h 723778"/>
                      <a:gd name="connsiteX615" fmla="*/ 201946 w 751062"/>
                      <a:gd name="connsiteY615" fmla="*/ 625036 h 723778"/>
                      <a:gd name="connsiteX616" fmla="*/ 211243 w 751062"/>
                      <a:gd name="connsiteY616" fmla="*/ 609131 h 723778"/>
                      <a:gd name="connsiteX617" fmla="*/ 231010 w 751062"/>
                      <a:gd name="connsiteY617" fmla="*/ 612780 h 723778"/>
                      <a:gd name="connsiteX618" fmla="*/ 243134 w 751062"/>
                      <a:gd name="connsiteY618" fmla="*/ 609605 h 723778"/>
                      <a:gd name="connsiteX619" fmla="*/ 264366 w 751062"/>
                      <a:gd name="connsiteY619" fmla="*/ 564311 h 723778"/>
                      <a:gd name="connsiteX620" fmla="*/ 290858 w 751062"/>
                      <a:gd name="connsiteY620" fmla="*/ 559217 h 723778"/>
                      <a:gd name="connsiteX621" fmla="*/ 290901 w 751062"/>
                      <a:gd name="connsiteY621" fmla="*/ 562144 h 723778"/>
                      <a:gd name="connsiteX622" fmla="*/ 292769 w 751062"/>
                      <a:gd name="connsiteY622" fmla="*/ 564371 h 723778"/>
                      <a:gd name="connsiteX623" fmla="*/ 292109 w 751062"/>
                      <a:gd name="connsiteY623" fmla="*/ 573225 h 723778"/>
                      <a:gd name="connsiteX624" fmla="*/ 261017 w 751062"/>
                      <a:gd name="connsiteY624" fmla="*/ 602484 h 723778"/>
                      <a:gd name="connsiteX625" fmla="*/ 253036 w 751062"/>
                      <a:gd name="connsiteY625" fmla="*/ 622417 h 723778"/>
                      <a:gd name="connsiteX626" fmla="*/ 242623 w 751062"/>
                      <a:gd name="connsiteY626" fmla="*/ 629664 h 723778"/>
                      <a:gd name="connsiteX627" fmla="*/ 236570 w 751062"/>
                      <a:gd name="connsiteY627" fmla="*/ 630626 h 723778"/>
                      <a:gd name="connsiteX628" fmla="*/ 296649 w 751062"/>
                      <a:gd name="connsiteY628" fmla="*/ 591539 h 723778"/>
                      <a:gd name="connsiteX629" fmla="*/ 292694 w 751062"/>
                      <a:gd name="connsiteY629" fmla="*/ 600891 h 723778"/>
                      <a:gd name="connsiteX630" fmla="*/ 284988 w 751062"/>
                      <a:gd name="connsiteY630" fmla="*/ 618300 h 723778"/>
                      <a:gd name="connsiteX631" fmla="*/ 256706 w 751062"/>
                      <a:gd name="connsiteY631" fmla="*/ 621329 h 723778"/>
                      <a:gd name="connsiteX632" fmla="*/ 271259 w 751062"/>
                      <a:gd name="connsiteY632" fmla="*/ 587276 h 723778"/>
                      <a:gd name="connsiteX633" fmla="*/ 292152 w 751062"/>
                      <a:gd name="connsiteY633" fmla="*/ 576843 h 723778"/>
                      <a:gd name="connsiteX634" fmla="*/ 296649 w 751062"/>
                      <a:gd name="connsiteY634" fmla="*/ 591539 h 723778"/>
                      <a:gd name="connsiteX635" fmla="*/ 325397 w 751062"/>
                      <a:gd name="connsiteY635" fmla="*/ 670667 h 723778"/>
                      <a:gd name="connsiteX636" fmla="*/ 227187 w 751062"/>
                      <a:gd name="connsiteY636" fmla="*/ 670664 h 723778"/>
                      <a:gd name="connsiteX637" fmla="*/ 283409 w 751062"/>
                      <a:gd name="connsiteY637" fmla="*/ 622080 h 723778"/>
                      <a:gd name="connsiteX638" fmla="*/ 278992 w 751062"/>
                      <a:gd name="connsiteY638" fmla="*/ 632731 h 723778"/>
                      <a:gd name="connsiteX639" fmla="*/ 276293 w 751062"/>
                      <a:gd name="connsiteY639" fmla="*/ 708700 h 723778"/>
                      <a:gd name="connsiteX640" fmla="*/ 301377 w 751062"/>
                      <a:gd name="connsiteY640" fmla="*/ 642088 h 723778"/>
                      <a:gd name="connsiteX641" fmla="*/ 305789 w 751062"/>
                      <a:gd name="connsiteY641" fmla="*/ 631437 h 723778"/>
                      <a:gd name="connsiteX642" fmla="*/ 325397 w 751062"/>
                      <a:gd name="connsiteY642" fmla="*/ 670667 h 723778"/>
                      <a:gd name="connsiteX643" fmla="*/ 260486 w 751062"/>
                      <a:gd name="connsiteY643" fmla="*/ 683182 h 723778"/>
                      <a:gd name="connsiteX644" fmla="*/ 264509 w 751062"/>
                      <a:gd name="connsiteY644" fmla="*/ 684056 h 723778"/>
                      <a:gd name="connsiteX645" fmla="*/ 257242 w 751062"/>
                      <a:gd name="connsiteY645" fmla="*/ 691020 h 723778"/>
                      <a:gd name="connsiteX646" fmla="*/ 247631 w 751062"/>
                      <a:gd name="connsiteY646" fmla="*/ 672186 h 723778"/>
                      <a:gd name="connsiteX647" fmla="*/ 249964 w 751062"/>
                      <a:gd name="connsiteY647" fmla="*/ 668939 h 723778"/>
                      <a:gd name="connsiteX648" fmla="*/ 262665 w 751062"/>
                      <a:gd name="connsiteY648" fmla="*/ 672263 h 723778"/>
                      <a:gd name="connsiteX649" fmla="*/ 259161 w 751062"/>
                      <a:gd name="connsiteY649" fmla="*/ 680449 h 723778"/>
                      <a:gd name="connsiteX650" fmla="*/ 260486 w 751062"/>
                      <a:gd name="connsiteY650" fmla="*/ 683182 h 723778"/>
                      <a:gd name="connsiteX651" fmla="*/ 251752 w 751062"/>
                      <a:gd name="connsiteY651" fmla="*/ 661338 h 723778"/>
                      <a:gd name="connsiteX652" fmla="*/ 249741 w 751062"/>
                      <a:gd name="connsiteY652" fmla="*/ 657895 h 723778"/>
                      <a:gd name="connsiteX653" fmla="*/ 265529 w 751062"/>
                      <a:gd name="connsiteY653" fmla="*/ 643829 h 723778"/>
                      <a:gd name="connsiteX654" fmla="*/ 269261 w 751062"/>
                      <a:gd name="connsiteY654" fmla="*/ 645266 h 723778"/>
                      <a:gd name="connsiteX655" fmla="*/ 269261 w 751062"/>
                      <a:gd name="connsiteY655" fmla="*/ 656419 h 723778"/>
                      <a:gd name="connsiteX656" fmla="*/ 266000 w 751062"/>
                      <a:gd name="connsiteY656" fmla="*/ 664319 h 723778"/>
                      <a:gd name="connsiteX657" fmla="*/ 251752 w 751062"/>
                      <a:gd name="connsiteY657" fmla="*/ 661338 h 723778"/>
                      <a:gd name="connsiteX658" fmla="*/ 292069 w 751062"/>
                      <a:gd name="connsiteY658" fmla="*/ 691271 h 723778"/>
                      <a:gd name="connsiteX659" fmla="*/ 291447 w 751062"/>
                      <a:gd name="connsiteY659" fmla="*/ 695209 h 723778"/>
                      <a:gd name="connsiteX660" fmla="*/ 270323 w 751062"/>
                      <a:gd name="connsiteY660" fmla="*/ 696125 h 723778"/>
                      <a:gd name="connsiteX661" fmla="*/ 268338 w 751062"/>
                      <a:gd name="connsiteY661" fmla="*/ 692653 h 723778"/>
                      <a:gd name="connsiteX662" fmla="*/ 275220 w 751062"/>
                      <a:gd name="connsiteY662" fmla="*/ 684221 h 723778"/>
                      <a:gd name="connsiteX663" fmla="*/ 285028 w 751062"/>
                      <a:gd name="connsiteY663" fmla="*/ 681906 h 723778"/>
                      <a:gd name="connsiteX664" fmla="*/ 292069 w 751062"/>
                      <a:gd name="connsiteY664" fmla="*/ 691271 h 723778"/>
                      <a:gd name="connsiteX665" fmla="*/ 287857 w 751062"/>
                      <a:gd name="connsiteY665" fmla="*/ 674684 h 723778"/>
                      <a:gd name="connsiteX666" fmla="*/ 290122 w 751062"/>
                      <a:gd name="connsiteY666" fmla="*/ 669139 h 723778"/>
                      <a:gd name="connsiteX667" fmla="*/ 301041 w 751062"/>
                      <a:gd name="connsiteY667" fmla="*/ 663157 h 723778"/>
                      <a:gd name="connsiteX668" fmla="*/ 304841 w 751062"/>
                      <a:gd name="connsiteY668" fmla="*/ 664362 h 723778"/>
                      <a:gd name="connsiteX669" fmla="*/ 302577 w 751062"/>
                      <a:gd name="connsiteY669" fmla="*/ 685383 h 723778"/>
                      <a:gd name="connsiteX670" fmla="*/ 298848 w 751062"/>
                      <a:gd name="connsiteY670" fmla="*/ 686825 h 723778"/>
                      <a:gd name="connsiteX671" fmla="*/ 287857 w 751062"/>
                      <a:gd name="connsiteY671" fmla="*/ 674684 h 723778"/>
                      <a:gd name="connsiteX672" fmla="*/ 312436 w 751062"/>
                      <a:gd name="connsiteY672" fmla="*/ 606082 h 723778"/>
                      <a:gd name="connsiteX673" fmla="*/ 282349 w 751062"/>
                      <a:gd name="connsiteY673" fmla="*/ 679601 h 723778"/>
                      <a:gd name="connsiteX674" fmla="*/ 262962 w 751062"/>
                      <a:gd name="connsiteY674" fmla="*/ 680972 h 723778"/>
                      <a:gd name="connsiteX675" fmla="*/ 294545 w 751062"/>
                      <a:gd name="connsiteY675" fmla="*/ 602695 h 723778"/>
                      <a:gd name="connsiteX676" fmla="*/ 312930 w 751062"/>
                      <a:gd name="connsiteY676" fmla="*/ 605191 h 723778"/>
                      <a:gd name="connsiteX677" fmla="*/ 312436 w 751062"/>
                      <a:gd name="connsiteY677" fmla="*/ 606082 h 723778"/>
                      <a:gd name="connsiteX678" fmla="*/ 314558 w 751062"/>
                      <a:gd name="connsiteY678" fmla="*/ 596368 h 723778"/>
                      <a:gd name="connsiteX679" fmla="*/ 313872 w 751062"/>
                      <a:gd name="connsiteY679" fmla="*/ 601316 h 723778"/>
                      <a:gd name="connsiteX680" fmla="*/ 296703 w 751062"/>
                      <a:gd name="connsiteY680" fmla="*/ 599189 h 723778"/>
                      <a:gd name="connsiteX681" fmla="*/ 299067 w 751062"/>
                      <a:gd name="connsiteY681" fmla="*/ 592150 h 723778"/>
                      <a:gd name="connsiteX682" fmla="*/ 315380 w 751062"/>
                      <a:gd name="connsiteY682" fmla="*/ 592684 h 723778"/>
                      <a:gd name="connsiteX683" fmla="*/ 314558 w 751062"/>
                      <a:gd name="connsiteY683" fmla="*/ 596368 h 723778"/>
                      <a:gd name="connsiteX684" fmla="*/ 316939 w 751062"/>
                      <a:gd name="connsiteY684" fmla="*/ 571506 h 723778"/>
                      <a:gd name="connsiteX685" fmla="*/ 316357 w 751062"/>
                      <a:gd name="connsiteY685" fmla="*/ 588678 h 723778"/>
                      <a:gd name="connsiteX686" fmla="*/ 300027 w 751062"/>
                      <a:gd name="connsiteY686" fmla="*/ 588778 h 723778"/>
                      <a:gd name="connsiteX687" fmla="*/ 295961 w 751062"/>
                      <a:gd name="connsiteY687" fmla="*/ 583262 h 723778"/>
                      <a:gd name="connsiteX688" fmla="*/ 294376 w 751062"/>
                      <a:gd name="connsiteY688" fmla="*/ 564745 h 723778"/>
                      <a:gd name="connsiteX689" fmla="*/ 317159 w 751062"/>
                      <a:gd name="connsiteY689" fmla="*/ 565087 h 723778"/>
                      <a:gd name="connsiteX690" fmla="*/ 316939 w 751062"/>
                      <a:gd name="connsiteY690" fmla="*/ 571506 h 723778"/>
                      <a:gd name="connsiteX691" fmla="*/ 318193 w 751062"/>
                      <a:gd name="connsiteY691" fmla="*/ 561090 h 723778"/>
                      <a:gd name="connsiteX692" fmla="*/ 293836 w 751062"/>
                      <a:gd name="connsiteY692" fmla="*/ 561924 h 723778"/>
                      <a:gd name="connsiteX693" fmla="*/ 294527 w 751062"/>
                      <a:gd name="connsiteY693" fmla="*/ 554474 h 723778"/>
                      <a:gd name="connsiteX694" fmla="*/ 318935 w 751062"/>
                      <a:gd name="connsiteY694" fmla="*/ 556273 h 723778"/>
                      <a:gd name="connsiteX695" fmla="*/ 318193 w 751062"/>
                      <a:gd name="connsiteY695" fmla="*/ 561090 h 723778"/>
                      <a:gd name="connsiteX696" fmla="*/ 386804 w 751062"/>
                      <a:gd name="connsiteY696" fmla="*/ 634253 h 723778"/>
                      <a:gd name="connsiteX697" fmla="*/ 383237 w 751062"/>
                      <a:gd name="connsiteY697" fmla="*/ 597090 h 723778"/>
                      <a:gd name="connsiteX698" fmla="*/ 389508 w 751062"/>
                      <a:gd name="connsiteY698" fmla="*/ 598281 h 723778"/>
                      <a:gd name="connsiteX699" fmla="*/ 397868 w 751062"/>
                      <a:gd name="connsiteY699" fmla="*/ 643056 h 723778"/>
                      <a:gd name="connsiteX700" fmla="*/ 387678 w 751062"/>
                      <a:gd name="connsiteY700" fmla="*/ 639843 h 723778"/>
                      <a:gd name="connsiteX701" fmla="*/ 386804 w 751062"/>
                      <a:gd name="connsiteY701" fmla="*/ 634253 h 723778"/>
                      <a:gd name="connsiteX702" fmla="*/ 390322 w 751062"/>
                      <a:gd name="connsiteY702" fmla="*/ 651953 h 723778"/>
                      <a:gd name="connsiteX703" fmla="*/ 388226 w 751062"/>
                      <a:gd name="connsiteY703" fmla="*/ 644072 h 723778"/>
                      <a:gd name="connsiteX704" fmla="*/ 398688 w 751062"/>
                      <a:gd name="connsiteY704" fmla="*/ 647501 h 723778"/>
                      <a:gd name="connsiteX705" fmla="*/ 400664 w 751062"/>
                      <a:gd name="connsiteY705" fmla="*/ 658383 h 723778"/>
                      <a:gd name="connsiteX706" fmla="*/ 390322 w 751062"/>
                      <a:gd name="connsiteY706" fmla="*/ 651953 h 723778"/>
                      <a:gd name="connsiteX707" fmla="*/ 414524 w 751062"/>
                      <a:gd name="connsiteY707" fmla="*/ 684510 h 723778"/>
                      <a:gd name="connsiteX708" fmla="*/ 413627 w 751062"/>
                      <a:gd name="connsiteY708" fmla="*/ 684572 h 723778"/>
                      <a:gd name="connsiteX709" fmla="*/ 412528 w 751062"/>
                      <a:gd name="connsiteY709" fmla="*/ 680586 h 723778"/>
                      <a:gd name="connsiteX710" fmla="*/ 416188 w 751062"/>
                      <a:gd name="connsiteY710" fmla="*/ 680475 h 723778"/>
                      <a:gd name="connsiteX711" fmla="*/ 416674 w 751062"/>
                      <a:gd name="connsiteY711" fmla="*/ 682579 h 723778"/>
                      <a:gd name="connsiteX712" fmla="*/ 414524 w 751062"/>
                      <a:gd name="connsiteY712" fmla="*/ 684510 h 723778"/>
                      <a:gd name="connsiteX713" fmla="*/ 408573 w 751062"/>
                      <a:gd name="connsiteY713" fmla="*/ 677603 h 723778"/>
                      <a:gd name="connsiteX714" fmla="*/ 380294 w 751062"/>
                      <a:gd name="connsiteY714" fmla="*/ 525464 h 723778"/>
                      <a:gd name="connsiteX715" fmla="*/ 366191 w 751062"/>
                      <a:gd name="connsiteY715" fmla="*/ 459548 h 723778"/>
                      <a:gd name="connsiteX716" fmla="*/ 328229 w 751062"/>
                      <a:gd name="connsiteY716" fmla="*/ 424627 h 723778"/>
                      <a:gd name="connsiteX717" fmla="*/ 326824 w 751062"/>
                      <a:gd name="connsiteY717" fmla="*/ 424810 h 723778"/>
                      <a:gd name="connsiteX718" fmla="*/ 326459 w 751062"/>
                      <a:gd name="connsiteY718" fmla="*/ 428153 h 723778"/>
                      <a:gd name="connsiteX719" fmla="*/ 328912 w 751062"/>
                      <a:gd name="connsiteY719" fmla="*/ 562241 h 723778"/>
                      <a:gd name="connsiteX720" fmla="*/ 330105 w 751062"/>
                      <a:gd name="connsiteY720" fmla="*/ 570007 h 723778"/>
                      <a:gd name="connsiteX721" fmla="*/ 332461 w 751062"/>
                      <a:gd name="connsiteY721" fmla="*/ 568574 h 723778"/>
                      <a:gd name="connsiteX722" fmla="*/ 357788 w 751062"/>
                      <a:gd name="connsiteY722" fmla="*/ 574750 h 723778"/>
                      <a:gd name="connsiteX723" fmla="*/ 385830 w 751062"/>
                      <a:gd name="connsiteY723" fmla="*/ 578987 h 723778"/>
                      <a:gd name="connsiteX724" fmla="*/ 388871 w 751062"/>
                      <a:gd name="connsiteY724" fmla="*/ 594957 h 723778"/>
                      <a:gd name="connsiteX725" fmla="*/ 319814 w 751062"/>
                      <a:gd name="connsiteY725" fmla="*/ 579633 h 723778"/>
                      <a:gd name="connsiteX726" fmla="*/ 319914 w 751062"/>
                      <a:gd name="connsiteY726" fmla="*/ 564619 h 723778"/>
                      <a:gd name="connsiteX727" fmla="*/ 322370 w 751062"/>
                      <a:gd name="connsiteY727" fmla="*/ 561264 h 723778"/>
                      <a:gd name="connsiteX728" fmla="*/ 322019 w 751062"/>
                      <a:gd name="connsiteY728" fmla="*/ 556142 h 723778"/>
                      <a:gd name="connsiteX729" fmla="*/ 314943 w 751062"/>
                      <a:gd name="connsiteY729" fmla="*/ 546676 h 723778"/>
                      <a:gd name="connsiteX730" fmla="*/ 312182 w 751062"/>
                      <a:gd name="connsiteY730" fmla="*/ 436465 h 723778"/>
                      <a:gd name="connsiteX731" fmla="*/ 309786 w 751062"/>
                      <a:gd name="connsiteY731" fmla="*/ 422531 h 723778"/>
                      <a:gd name="connsiteX732" fmla="*/ 288611 w 751062"/>
                      <a:gd name="connsiteY732" fmla="*/ 421469 h 723778"/>
                      <a:gd name="connsiteX733" fmla="*/ 287817 w 751062"/>
                      <a:gd name="connsiteY733" fmla="*/ 411173 h 723778"/>
                      <a:gd name="connsiteX734" fmla="*/ 289251 w 751062"/>
                      <a:gd name="connsiteY734" fmla="*/ 410279 h 723778"/>
                      <a:gd name="connsiteX735" fmla="*/ 289902 w 751062"/>
                      <a:gd name="connsiteY735" fmla="*/ 409899 h 723778"/>
                      <a:gd name="connsiteX736" fmla="*/ 305906 w 751062"/>
                      <a:gd name="connsiteY736" fmla="*/ 412175 h 723778"/>
                      <a:gd name="connsiteX737" fmla="*/ 311602 w 751062"/>
                      <a:gd name="connsiteY737" fmla="*/ 410656 h 723778"/>
                      <a:gd name="connsiteX738" fmla="*/ 311428 w 751062"/>
                      <a:gd name="connsiteY738" fmla="*/ 403969 h 723778"/>
                      <a:gd name="connsiteX739" fmla="*/ 293008 w 751062"/>
                      <a:gd name="connsiteY739" fmla="*/ 399457 h 723778"/>
                      <a:gd name="connsiteX740" fmla="*/ 221827 w 751062"/>
                      <a:gd name="connsiteY740" fmla="*/ 391177 h 723778"/>
                      <a:gd name="connsiteX741" fmla="*/ 213798 w 751062"/>
                      <a:gd name="connsiteY741" fmla="*/ 368911 h 723778"/>
                      <a:gd name="connsiteX742" fmla="*/ 305920 w 751062"/>
                      <a:gd name="connsiteY742" fmla="*/ 384292 h 723778"/>
                      <a:gd name="connsiteX743" fmla="*/ 308170 w 751062"/>
                      <a:gd name="connsiteY743" fmla="*/ 382319 h 723778"/>
                      <a:gd name="connsiteX744" fmla="*/ 310209 w 751062"/>
                      <a:gd name="connsiteY744" fmla="*/ 356544 h 723778"/>
                      <a:gd name="connsiteX745" fmla="*/ 310192 w 751062"/>
                      <a:gd name="connsiteY745" fmla="*/ 333007 h 723778"/>
                      <a:gd name="connsiteX746" fmla="*/ 310306 w 751062"/>
                      <a:gd name="connsiteY746" fmla="*/ 266192 h 723778"/>
                      <a:gd name="connsiteX747" fmla="*/ 322339 w 751062"/>
                      <a:gd name="connsiteY747" fmla="*/ 266626 h 723778"/>
                      <a:gd name="connsiteX748" fmla="*/ 321830 w 751062"/>
                      <a:gd name="connsiteY748" fmla="*/ 281842 h 723778"/>
                      <a:gd name="connsiteX749" fmla="*/ 324826 w 751062"/>
                      <a:gd name="connsiteY749" fmla="*/ 411724 h 723778"/>
                      <a:gd name="connsiteX750" fmla="*/ 326390 w 751062"/>
                      <a:gd name="connsiteY750" fmla="*/ 414388 h 723778"/>
                      <a:gd name="connsiteX751" fmla="*/ 357485 w 751062"/>
                      <a:gd name="connsiteY751" fmla="*/ 424456 h 723778"/>
                      <a:gd name="connsiteX752" fmla="*/ 374243 w 751062"/>
                      <a:gd name="connsiteY752" fmla="*/ 454203 h 723778"/>
                      <a:gd name="connsiteX753" fmla="*/ 416816 w 751062"/>
                      <a:gd name="connsiteY753" fmla="*/ 676586 h 723778"/>
                      <a:gd name="connsiteX754" fmla="*/ 408573 w 751062"/>
                      <a:gd name="connsiteY754" fmla="*/ 677603 h 723778"/>
                      <a:gd name="connsiteX755" fmla="*/ 370097 w 751062"/>
                      <a:gd name="connsiteY755" fmla="*/ 514613 h 723778"/>
                      <a:gd name="connsiteX756" fmla="*/ 360289 w 751062"/>
                      <a:gd name="connsiteY756" fmla="*/ 486611 h 723778"/>
                      <a:gd name="connsiteX757" fmla="*/ 350332 w 751062"/>
                      <a:gd name="connsiteY757" fmla="*/ 440283 h 723778"/>
                      <a:gd name="connsiteX758" fmla="*/ 361508 w 751062"/>
                      <a:gd name="connsiteY758" fmla="*/ 460025 h 723778"/>
                      <a:gd name="connsiteX759" fmla="*/ 381541 w 751062"/>
                      <a:gd name="connsiteY759" fmla="*/ 556656 h 723778"/>
                      <a:gd name="connsiteX760" fmla="*/ 368869 w 751062"/>
                      <a:gd name="connsiteY760" fmla="*/ 531891 h 723778"/>
                      <a:gd name="connsiteX761" fmla="*/ 370583 w 751062"/>
                      <a:gd name="connsiteY761" fmla="*/ 515921 h 723778"/>
                      <a:gd name="connsiteX762" fmla="*/ 370097 w 751062"/>
                      <a:gd name="connsiteY762" fmla="*/ 514613 h 723778"/>
                      <a:gd name="connsiteX763" fmla="*/ 354139 w 751062"/>
                      <a:gd name="connsiteY763" fmla="*/ 483878 h 723778"/>
                      <a:gd name="connsiteX764" fmla="*/ 368273 w 751062"/>
                      <a:gd name="connsiteY764" fmla="*/ 515025 h 723778"/>
                      <a:gd name="connsiteX765" fmla="*/ 365688 w 751062"/>
                      <a:gd name="connsiteY765" fmla="*/ 547484 h 723778"/>
                      <a:gd name="connsiteX766" fmla="*/ 382980 w 751062"/>
                      <a:gd name="connsiteY766" fmla="*/ 564111 h 723778"/>
                      <a:gd name="connsiteX767" fmla="*/ 385265 w 751062"/>
                      <a:gd name="connsiteY767" fmla="*/ 576003 h 723778"/>
                      <a:gd name="connsiteX768" fmla="*/ 344485 w 751062"/>
                      <a:gd name="connsiteY768" fmla="*/ 568194 h 723778"/>
                      <a:gd name="connsiteX769" fmla="*/ 332649 w 751062"/>
                      <a:gd name="connsiteY769" fmla="*/ 566047 h 723778"/>
                      <a:gd name="connsiteX770" fmla="*/ 328620 w 751062"/>
                      <a:gd name="connsiteY770" fmla="*/ 428296 h 723778"/>
                      <a:gd name="connsiteX771" fmla="*/ 344405 w 751062"/>
                      <a:gd name="connsiteY771" fmla="*/ 434467 h 723778"/>
                      <a:gd name="connsiteX772" fmla="*/ 354139 w 751062"/>
                      <a:gd name="connsiteY772" fmla="*/ 483878 h 723778"/>
                      <a:gd name="connsiteX773" fmla="*/ 286912 w 751062"/>
                      <a:gd name="connsiteY773" fmla="*/ 402801 h 723778"/>
                      <a:gd name="connsiteX774" fmla="*/ 308216 w 751062"/>
                      <a:gd name="connsiteY774" fmla="*/ 405927 h 723778"/>
                      <a:gd name="connsiteX775" fmla="*/ 308604 w 751062"/>
                      <a:gd name="connsiteY775" fmla="*/ 409619 h 723778"/>
                      <a:gd name="connsiteX776" fmla="*/ 288945 w 751062"/>
                      <a:gd name="connsiteY776" fmla="*/ 408400 h 723778"/>
                      <a:gd name="connsiteX777" fmla="*/ 286912 w 751062"/>
                      <a:gd name="connsiteY777" fmla="*/ 402801 h 723778"/>
                      <a:gd name="connsiteX778" fmla="*/ 440975 w 751062"/>
                      <a:gd name="connsiteY778" fmla="*/ 667686 h 723778"/>
                      <a:gd name="connsiteX779" fmla="*/ 430728 w 751062"/>
                      <a:gd name="connsiteY779" fmla="*/ 669919 h 723778"/>
                      <a:gd name="connsiteX780" fmla="*/ 419820 w 751062"/>
                      <a:gd name="connsiteY780" fmla="*/ 672574 h 723778"/>
                      <a:gd name="connsiteX781" fmla="*/ 419169 w 751062"/>
                      <a:gd name="connsiteY781" fmla="*/ 668608 h 723778"/>
                      <a:gd name="connsiteX782" fmla="*/ 419483 w 751062"/>
                      <a:gd name="connsiteY782" fmla="*/ 663606 h 723778"/>
                      <a:gd name="connsiteX783" fmla="*/ 416308 w 751062"/>
                      <a:gd name="connsiteY783" fmla="*/ 644686 h 723778"/>
                      <a:gd name="connsiteX784" fmla="*/ 449450 w 751062"/>
                      <a:gd name="connsiteY784" fmla="*/ 640634 h 723778"/>
                      <a:gd name="connsiteX785" fmla="*/ 445929 w 751062"/>
                      <a:gd name="connsiteY785" fmla="*/ 657655 h 723778"/>
                      <a:gd name="connsiteX786" fmla="*/ 448388 w 751062"/>
                      <a:gd name="connsiteY786" fmla="*/ 666295 h 723778"/>
                      <a:gd name="connsiteX787" fmla="*/ 440975 w 751062"/>
                      <a:gd name="connsiteY787" fmla="*/ 667686 h 723778"/>
                      <a:gd name="connsiteX788" fmla="*/ 450923 w 751062"/>
                      <a:gd name="connsiteY788" fmla="*/ 665730 h 723778"/>
                      <a:gd name="connsiteX789" fmla="*/ 450138 w 751062"/>
                      <a:gd name="connsiteY789" fmla="*/ 665916 h 723778"/>
                      <a:gd name="connsiteX790" fmla="*/ 448633 w 751062"/>
                      <a:gd name="connsiteY790" fmla="*/ 658123 h 723778"/>
                      <a:gd name="connsiteX791" fmla="*/ 457891 w 751062"/>
                      <a:gd name="connsiteY791" fmla="*/ 657350 h 723778"/>
                      <a:gd name="connsiteX792" fmla="*/ 458779 w 751062"/>
                      <a:gd name="connsiteY792" fmla="*/ 662849 h 723778"/>
                      <a:gd name="connsiteX793" fmla="*/ 450923 w 751062"/>
                      <a:gd name="connsiteY793" fmla="*/ 665730 h 723778"/>
                      <a:gd name="connsiteX794" fmla="*/ 485288 w 751062"/>
                      <a:gd name="connsiteY794" fmla="*/ 657387 h 723778"/>
                      <a:gd name="connsiteX795" fmla="*/ 462022 w 751062"/>
                      <a:gd name="connsiteY795" fmla="*/ 659797 h 723778"/>
                      <a:gd name="connsiteX796" fmla="*/ 460709 w 751062"/>
                      <a:gd name="connsiteY796" fmla="*/ 656753 h 723778"/>
                      <a:gd name="connsiteX797" fmla="*/ 473201 w 751062"/>
                      <a:gd name="connsiteY797" fmla="*/ 654808 h 723778"/>
                      <a:gd name="connsiteX798" fmla="*/ 478361 w 751062"/>
                      <a:gd name="connsiteY798" fmla="*/ 646045 h 723778"/>
                      <a:gd name="connsiteX799" fmla="*/ 507756 w 751062"/>
                      <a:gd name="connsiteY799" fmla="*/ 635829 h 723778"/>
                      <a:gd name="connsiteX800" fmla="*/ 535696 w 751062"/>
                      <a:gd name="connsiteY800" fmla="*/ 633019 h 723778"/>
                      <a:gd name="connsiteX801" fmla="*/ 563824 w 751062"/>
                      <a:gd name="connsiteY801" fmla="*/ 630129 h 723778"/>
                      <a:gd name="connsiteX802" fmla="*/ 564272 w 751062"/>
                      <a:gd name="connsiteY802" fmla="*/ 630141 h 723778"/>
                      <a:gd name="connsiteX803" fmla="*/ 564278 w 751062"/>
                      <a:gd name="connsiteY803" fmla="*/ 630144 h 723778"/>
                      <a:gd name="connsiteX804" fmla="*/ 569538 w 751062"/>
                      <a:gd name="connsiteY804" fmla="*/ 630626 h 723778"/>
                      <a:gd name="connsiteX805" fmla="*/ 485288 w 751062"/>
                      <a:gd name="connsiteY805" fmla="*/ 657387 h 723778"/>
                      <a:gd name="connsiteX806" fmla="*/ 573752 w 751062"/>
                      <a:gd name="connsiteY806" fmla="*/ 667380 h 723778"/>
                      <a:gd name="connsiteX807" fmla="*/ 507713 w 751062"/>
                      <a:gd name="connsiteY807" fmla="*/ 671612 h 723778"/>
                      <a:gd name="connsiteX808" fmla="*/ 507091 w 751062"/>
                      <a:gd name="connsiteY808" fmla="*/ 656613 h 723778"/>
                      <a:gd name="connsiteX809" fmla="*/ 576604 w 751062"/>
                      <a:gd name="connsiteY809" fmla="*/ 629661 h 723778"/>
                      <a:gd name="connsiteX810" fmla="*/ 564878 w 751062"/>
                      <a:gd name="connsiteY810" fmla="*/ 625224 h 723778"/>
                      <a:gd name="connsiteX811" fmla="*/ 551640 w 751062"/>
                      <a:gd name="connsiteY811" fmla="*/ 625512 h 723778"/>
                      <a:gd name="connsiteX812" fmla="*/ 493405 w 751062"/>
                      <a:gd name="connsiteY812" fmla="*/ 635897 h 723778"/>
                      <a:gd name="connsiteX813" fmla="*/ 490921 w 751062"/>
                      <a:gd name="connsiteY813" fmla="*/ 627991 h 723778"/>
                      <a:gd name="connsiteX814" fmla="*/ 483312 w 751062"/>
                      <a:gd name="connsiteY814" fmla="*/ 612769 h 723778"/>
                      <a:gd name="connsiteX815" fmla="*/ 465229 w 751062"/>
                      <a:gd name="connsiteY815" fmla="*/ 603852 h 723778"/>
                      <a:gd name="connsiteX816" fmla="*/ 451666 w 751062"/>
                      <a:gd name="connsiteY816" fmla="*/ 586234 h 723778"/>
                      <a:gd name="connsiteX817" fmla="*/ 439785 w 751062"/>
                      <a:gd name="connsiteY817" fmla="*/ 568548 h 723778"/>
                      <a:gd name="connsiteX818" fmla="*/ 438546 w 751062"/>
                      <a:gd name="connsiteY818" fmla="*/ 554585 h 723778"/>
                      <a:gd name="connsiteX819" fmla="*/ 448616 w 751062"/>
                      <a:gd name="connsiteY819" fmla="*/ 535352 h 723778"/>
                      <a:gd name="connsiteX820" fmla="*/ 442095 w 751062"/>
                      <a:gd name="connsiteY820" fmla="*/ 521643 h 723778"/>
                      <a:gd name="connsiteX821" fmla="*/ 438406 w 751062"/>
                      <a:gd name="connsiteY821" fmla="*/ 491910 h 723778"/>
                      <a:gd name="connsiteX822" fmla="*/ 440013 w 751062"/>
                      <a:gd name="connsiteY822" fmla="*/ 378987 h 723778"/>
                      <a:gd name="connsiteX823" fmla="*/ 482232 w 751062"/>
                      <a:gd name="connsiteY823" fmla="*/ 374393 h 723778"/>
                      <a:gd name="connsiteX824" fmla="*/ 491901 w 751062"/>
                      <a:gd name="connsiteY824" fmla="*/ 373676 h 723778"/>
                      <a:gd name="connsiteX825" fmla="*/ 514167 w 751062"/>
                      <a:gd name="connsiteY825" fmla="*/ 382108 h 723778"/>
                      <a:gd name="connsiteX826" fmla="*/ 513130 w 751062"/>
                      <a:gd name="connsiteY826" fmla="*/ 505599 h 723778"/>
                      <a:gd name="connsiteX827" fmla="*/ 512759 w 751062"/>
                      <a:gd name="connsiteY827" fmla="*/ 536728 h 723778"/>
                      <a:gd name="connsiteX828" fmla="*/ 516162 w 751062"/>
                      <a:gd name="connsiteY828" fmla="*/ 546219 h 723778"/>
                      <a:gd name="connsiteX829" fmla="*/ 518567 w 751062"/>
                      <a:gd name="connsiteY829" fmla="*/ 568631 h 723778"/>
                      <a:gd name="connsiteX830" fmla="*/ 522556 w 751062"/>
                      <a:gd name="connsiteY830" fmla="*/ 586060 h 723778"/>
                      <a:gd name="connsiteX831" fmla="*/ 519412 w 751062"/>
                      <a:gd name="connsiteY831" fmla="*/ 601125 h 723778"/>
                      <a:gd name="connsiteX832" fmla="*/ 502394 w 751062"/>
                      <a:gd name="connsiteY832" fmla="*/ 600280 h 723778"/>
                      <a:gd name="connsiteX833" fmla="*/ 507397 w 751062"/>
                      <a:gd name="connsiteY833" fmla="*/ 626435 h 723778"/>
                      <a:gd name="connsiteX834" fmla="*/ 512399 w 751062"/>
                      <a:gd name="connsiteY834" fmla="*/ 627788 h 723778"/>
                      <a:gd name="connsiteX835" fmla="*/ 513259 w 751062"/>
                      <a:gd name="connsiteY835" fmla="*/ 616161 h 723778"/>
                      <a:gd name="connsiteX836" fmla="*/ 507999 w 751062"/>
                      <a:gd name="connsiteY836" fmla="*/ 606042 h 723778"/>
                      <a:gd name="connsiteX837" fmla="*/ 510252 w 751062"/>
                      <a:gd name="connsiteY837" fmla="*/ 601933 h 723778"/>
                      <a:gd name="connsiteX838" fmla="*/ 519732 w 751062"/>
                      <a:gd name="connsiteY838" fmla="*/ 611141 h 723778"/>
                      <a:gd name="connsiteX839" fmla="*/ 563147 w 751062"/>
                      <a:gd name="connsiteY839" fmla="*/ 592607 h 723778"/>
                      <a:gd name="connsiteX840" fmla="*/ 573389 w 751062"/>
                      <a:gd name="connsiteY840" fmla="*/ 585732 h 723778"/>
                      <a:gd name="connsiteX841" fmla="*/ 584040 w 751062"/>
                      <a:gd name="connsiteY841" fmla="*/ 583079 h 723778"/>
                      <a:gd name="connsiteX842" fmla="*/ 585436 w 751062"/>
                      <a:gd name="connsiteY842" fmla="*/ 576383 h 723778"/>
                      <a:gd name="connsiteX843" fmla="*/ 589388 w 751062"/>
                      <a:gd name="connsiteY843" fmla="*/ 569582 h 723778"/>
                      <a:gd name="connsiteX844" fmla="*/ 600495 w 751062"/>
                      <a:gd name="connsiteY844" fmla="*/ 591879 h 723778"/>
                      <a:gd name="connsiteX845" fmla="*/ 589197 w 751062"/>
                      <a:gd name="connsiteY845" fmla="*/ 598663 h 723778"/>
                      <a:gd name="connsiteX846" fmla="*/ 592240 w 751062"/>
                      <a:gd name="connsiteY846" fmla="*/ 601014 h 723778"/>
                      <a:gd name="connsiteX847" fmla="*/ 603847 w 751062"/>
                      <a:gd name="connsiteY847" fmla="*/ 595777 h 723778"/>
                      <a:gd name="connsiteX848" fmla="*/ 607522 w 751062"/>
                      <a:gd name="connsiteY848" fmla="*/ 599323 h 723778"/>
                      <a:gd name="connsiteX849" fmla="*/ 601006 w 751062"/>
                      <a:gd name="connsiteY849" fmla="*/ 605816 h 723778"/>
                      <a:gd name="connsiteX850" fmla="*/ 603582 w 751062"/>
                      <a:gd name="connsiteY850" fmla="*/ 607803 h 723778"/>
                      <a:gd name="connsiteX851" fmla="*/ 611937 w 751062"/>
                      <a:gd name="connsiteY851" fmla="*/ 602864 h 723778"/>
                      <a:gd name="connsiteX852" fmla="*/ 618444 w 751062"/>
                      <a:gd name="connsiteY852" fmla="*/ 607058 h 723778"/>
                      <a:gd name="connsiteX853" fmla="*/ 610880 w 751062"/>
                      <a:gd name="connsiteY853" fmla="*/ 612092 h 723778"/>
                      <a:gd name="connsiteX854" fmla="*/ 613364 w 751062"/>
                      <a:gd name="connsiteY854" fmla="*/ 615313 h 723778"/>
                      <a:gd name="connsiteX855" fmla="*/ 623552 w 751062"/>
                      <a:gd name="connsiteY855" fmla="*/ 609714 h 723778"/>
                      <a:gd name="connsiteX856" fmla="*/ 684348 w 751062"/>
                      <a:gd name="connsiteY856" fmla="*/ 617003 h 723778"/>
                      <a:gd name="connsiteX857" fmla="*/ 594707 w 751062"/>
                      <a:gd name="connsiteY857" fmla="*/ 647213 h 723778"/>
                      <a:gd name="connsiteX858" fmla="*/ 524343 w 751062"/>
                      <a:gd name="connsiteY858" fmla="*/ 652327 h 723778"/>
                      <a:gd name="connsiteX859" fmla="*/ 524586 w 751062"/>
                      <a:gd name="connsiteY859" fmla="*/ 654120 h 723778"/>
                      <a:gd name="connsiteX860" fmla="*/ 592018 w 751062"/>
                      <a:gd name="connsiteY860" fmla="*/ 650836 h 723778"/>
                      <a:gd name="connsiteX861" fmla="*/ 624046 w 751062"/>
                      <a:gd name="connsiteY861" fmla="*/ 644358 h 723778"/>
                      <a:gd name="connsiteX862" fmla="*/ 688189 w 751062"/>
                      <a:gd name="connsiteY862" fmla="*/ 619579 h 723778"/>
                      <a:gd name="connsiteX863" fmla="*/ 689479 w 751062"/>
                      <a:gd name="connsiteY863" fmla="*/ 621372 h 723778"/>
                      <a:gd name="connsiteX864" fmla="*/ 657993 w 751062"/>
                      <a:gd name="connsiteY864" fmla="*/ 639975 h 723778"/>
                      <a:gd name="connsiteX865" fmla="*/ 573752 w 751062"/>
                      <a:gd name="connsiteY865" fmla="*/ 667380 h 723778"/>
                      <a:gd name="connsiteX866" fmla="*/ 732095 w 751062"/>
                      <a:gd name="connsiteY866" fmla="*/ 645580 h 723778"/>
                      <a:gd name="connsiteX867" fmla="*/ 736807 w 751062"/>
                      <a:gd name="connsiteY867" fmla="*/ 645791 h 723778"/>
                      <a:gd name="connsiteX868" fmla="*/ 586244 w 751062"/>
                      <a:gd name="connsiteY868" fmla="*/ 673708 h 723778"/>
                      <a:gd name="connsiteX869" fmla="*/ 586892 w 751062"/>
                      <a:gd name="connsiteY869" fmla="*/ 671141 h 723778"/>
                      <a:gd name="connsiteX870" fmla="*/ 643762 w 751062"/>
                      <a:gd name="connsiteY870" fmla="*/ 654112 h 723778"/>
                      <a:gd name="connsiteX871" fmla="*/ 644916 w 751062"/>
                      <a:gd name="connsiteY871" fmla="*/ 655060 h 723778"/>
                      <a:gd name="connsiteX872" fmla="*/ 654935 w 751062"/>
                      <a:gd name="connsiteY872" fmla="*/ 653746 h 723778"/>
                      <a:gd name="connsiteX873" fmla="*/ 683711 w 751062"/>
                      <a:gd name="connsiteY873" fmla="*/ 651673 h 723778"/>
                      <a:gd name="connsiteX874" fmla="*/ 732095 w 751062"/>
                      <a:gd name="connsiteY874" fmla="*/ 645580 h 723778"/>
                      <a:gd name="connsiteX875" fmla="*/ 737920 w 751062"/>
                      <a:gd name="connsiteY875" fmla="*/ 636874 h 723778"/>
                      <a:gd name="connsiteX876" fmla="*/ 729737 w 751062"/>
                      <a:gd name="connsiteY876" fmla="*/ 636885 h 723778"/>
                      <a:gd name="connsiteX877" fmla="*/ 726305 w 751062"/>
                      <a:gd name="connsiteY877" fmla="*/ 641859 h 723778"/>
                      <a:gd name="connsiteX878" fmla="*/ 685585 w 751062"/>
                      <a:gd name="connsiteY878" fmla="*/ 647424 h 723778"/>
                      <a:gd name="connsiteX879" fmla="*/ 651589 w 751062"/>
                      <a:gd name="connsiteY879" fmla="*/ 651242 h 723778"/>
                      <a:gd name="connsiteX880" fmla="*/ 700361 w 751062"/>
                      <a:gd name="connsiteY880" fmla="*/ 626752 h 723778"/>
                      <a:gd name="connsiteX881" fmla="*/ 719249 w 751062"/>
                      <a:gd name="connsiteY881" fmla="*/ 625715 h 723778"/>
                      <a:gd name="connsiteX882" fmla="*/ 721345 w 751062"/>
                      <a:gd name="connsiteY882" fmla="*/ 640826 h 723778"/>
                      <a:gd name="connsiteX883" fmla="*/ 721602 w 751062"/>
                      <a:gd name="connsiteY883" fmla="*/ 639344 h 723778"/>
                      <a:gd name="connsiteX884" fmla="*/ 724637 w 751062"/>
                      <a:gd name="connsiteY884" fmla="*/ 624590 h 723778"/>
                      <a:gd name="connsiteX885" fmla="*/ 725280 w 751062"/>
                      <a:gd name="connsiteY885" fmla="*/ 624127 h 723778"/>
                      <a:gd name="connsiteX886" fmla="*/ 726973 w 751062"/>
                      <a:gd name="connsiteY886" fmla="*/ 626121 h 723778"/>
                      <a:gd name="connsiteX887" fmla="*/ 727998 w 751062"/>
                      <a:gd name="connsiteY887" fmla="*/ 627645 h 723778"/>
                      <a:gd name="connsiteX888" fmla="*/ 741218 w 751062"/>
                      <a:gd name="connsiteY888" fmla="*/ 627457 h 723778"/>
                      <a:gd name="connsiteX889" fmla="*/ 741284 w 751062"/>
                      <a:gd name="connsiteY889" fmla="*/ 636802 h 723778"/>
                      <a:gd name="connsiteX890" fmla="*/ 737920 w 751062"/>
                      <a:gd name="connsiteY890" fmla="*/ 636874 h 723778"/>
                      <a:gd name="connsiteX891" fmla="*/ 745156 w 751062"/>
                      <a:gd name="connsiteY891" fmla="*/ 636854 h 723778"/>
                      <a:gd name="connsiteX892" fmla="*/ 743868 w 751062"/>
                      <a:gd name="connsiteY892" fmla="*/ 627902 h 723778"/>
                      <a:gd name="connsiteX893" fmla="*/ 746421 w 751062"/>
                      <a:gd name="connsiteY893" fmla="*/ 628262 h 723778"/>
                      <a:gd name="connsiteX894" fmla="*/ 745156 w 751062"/>
                      <a:gd name="connsiteY894" fmla="*/ 636854 h 72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Lst>
                    <a:rect l="l" t="t" r="r" b="b"/>
                    <a:pathLst>
                      <a:path w="751062" h="723778">
                        <a:moveTo>
                          <a:pt x="748257" y="625144"/>
                        </a:moveTo>
                        <a:cubicBezTo>
                          <a:pt x="747877" y="624970"/>
                          <a:pt x="747469" y="624950"/>
                          <a:pt x="747120" y="625078"/>
                        </a:cubicBezTo>
                        <a:cubicBezTo>
                          <a:pt x="746372" y="624661"/>
                          <a:pt x="745427" y="624510"/>
                          <a:pt x="744528" y="624544"/>
                        </a:cubicBezTo>
                        <a:cubicBezTo>
                          <a:pt x="744102" y="624230"/>
                          <a:pt x="743534" y="624122"/>
                          <a:pt x="743103" y="624444"/>
                        </a:cubicBezTo>
                        <a:cubicBezTo>
                          <a:pt x="739008" y="623345"/>
                          <a:pt x="734411" y="624693"/>
                          <a:pt x="730288" y="625070"/>
                        </a:cubicBezTo>
                        <a:cubicBezTo>
                          <a:pt x="729914" y="622320"/>
                          <a:pt x="725996" y="619742"/>
                          <a:pt x="723649" y="621843"/>
                        </a:cubicBezTo>
                        <a:cubicBezTo>
                          <a:pt x="715180" y="621178"/>
                          <a:pt x="706617" y="622905"/>
                          <a:pt x="698145" y="623485"/>
                        </a:cubicBezTo>
                        <a:cubicBezTo>
                          <a:pt x="697700" y="616706"/>
                          <a:pt x="692263" y="611250"/>
                          <a:pt x="685850" y="609137"/>
                        </a:cubicBezTo>
                        <a:cubicBezTo>
                          <a:pt x="670174" y="543076"/>
                          <a:pt x="653496" y="477260"/>
                          <a:pt x="637204" y="411350"/>
                        </a:cubicBezTo>
                        <a:cubicBezTo>
                          <a:pt x="635250" y="403526"/>
                          <a:pt x="633429" y="395200"/>
                          <a:pt x="628575" y="388570"/>
                        </a:cubicBezTo>
                        <a:cubicBezTo>
                          <a:pt x="623723" y="382188"/>
                          <a:pt x="616685" y="377385"/>
                          <a:pt x="608918" y="375355"/>
                        </a:cubicBezTo>
                        <a:cubicBezTo>
                          <a:pt x="613359" y="351773"/>
                          <a:pt x="610306" y="326249"/>
                          <a:pt x="596909" y="306844"/>
                        </a:cubicBezTo>
                        <a:cubicBezTo>
                          <a:pt x="594959" y="304023"/>
                          <a:pt x="590793" y="298789"/>
                          <a:pt x="590793" y="298789"/>
                        </a:cubicBezTo>
                        <a:cubicBezTo>
                          <a:pt x="588034" y="295914"/>
                          <a:pt x="584979" y="293241"/>
                          <a:pt x="581616" y="290808"/>
                        </a:cubicBezTo>
                        <a:cubicBezTo>
                          <a:pt x="582058" y="277028"/>
                          <a:pt x="580773" y="263083"/>
                          <a:pt x="579077" y="249394"/>
                        </a:cubicBezTo>
                        <a:cubicBezTo>
                          <a:pt x="578963" y="248706"/>
                          <a:pt x="578184" y="247904"/>
                          <a:pt x="577487" y="247804"/>
                        </a:cubicBezTo>
                        <a:cubicBezTo>
                          <a:pt x="575225" y="247475"/>
                          <a:pt x="572964" y="247150"/>
                          <a:pt x="570702" y="246824"/>
                        </a:cubicBezTo>
                        <a:cubicBezTo>
                          <a:pt x="568658" y="246530"/>
                          <a:pt x="565314" y="245302"/>
                          <a:pt x="563458" y="246545"/>
                        </a:cubicBezTo>
                        <a:cubicBezTo>
                          <a:pt x="556634" y="220898"/>
                          <a:pt x="473198" y="216321"/>
                          <a:pt x="445376" y="212891"/>
                        </a:cubicBezTo>
                        <a:lnTo>
                          <a:pt x="430285" y="181799"/>
                        </a:lnTo>
                        <a:cubicBezTo>
                          <a:pt x="428301" y="173842"/>
                          <a:pt x="423344" y="166563"/>
                          <a:pt x="419971" y="159057"/>
                        </a:cubicBezTo>
                        <a:cubicBezTo>
                          <a:pt x="410318" y="139455"/>
                          <a:pt x="400341" y="120007"/>
                          <a:pt x="390901" y="100302"/>
                        </a:cubicBezTo>
                        <a:cubicBezTo>
                          <a:pt x="390901" y="100302"/>
                          <a:pt x="384822" y="86516"/>
                          <a:pt x="381727" y="79872"/>
                        </a:cubicBezTo>
                        <a:cubicBezTo>
                          <a:pt x="374340" y="64016"/>
                          <a:pt x="364712" y="49797"/>
                          <a:pt x="349107" y="42190"/>
                        </a:cubicBezTo>
                        <a:cubicBezTo>
                          <a:pt x="339819" y="38258"/>
                          <a:pt x="328666" y="36351"/>
                          <a:pt x="319001" y="40094"/>
                        </a:cubicBezTo>
                        <a:cubicBezTo>
                          <a:pt x="317390" y="36157"/>
                          <a:pt x="307731" y="21409"/>
                          <a:pt x="303025" y="26831"/>
                        </a:cubicBezTo>
                        <a:cubicBezTo>
                          <a:pt x="299013" y="28581"/>
                          <a:pt x="297905" y="34164"/>
                          <a:pt x="297020" y="38095"/>
                        </a:cubicBezTo>
                        <a:cubicBezTo>
                          <a:pt x="296332" y="42810"/>
                          <a:pt x="297291" y="47507"/>
                          <a:pt x="299670" y="51613"/>
                        </a:cubicBezTo>
                        <a:cubicBezTo>
                          <a:pt x="300335" y="52760"/>
                          <a:pt x="302271" y="52004"/>
                          <a:pt x="301851" y="50693"/>
                        </a:cubicBezTo>
                        <a:cubicBezTo>
                          <a:pt x="300624" y="46850"/>
                          <a:pt x="300418" y="42715"/>
                          <a:pt x="301212" y="38761"/>
                        </a:cubicBezTo>
                        <a:cubicBezTo>
                          <a:pt x="306994" y="50268"/>
                          <a:pt x="306560" y="63991"/>
                          <a:pt x="303533" y="76303"/>
                        </a:cubicBezTo>
                        <a:cubicBezTo>
                          <a:pt x="302203" y="79992"/>
                          <a:pt x="300461" y="84081"/>
                          <a:pt x="301086" y="88118"/>
                        </a:cubicBezTo>
                        <a:cubicBezTo>
                          <a:pt x="295787" y="80437"/>
                          <a:pt x="287709" y="75392"/>
                          <a:pt x="280234" y="70067"/>
                        </a:cubicBezTo>
                        <a:cubicBezTo>
                          <a:pt x="274223" y="65827"/>
                          <a:pt x="268104" y="61903"/>
                          <a:pt x="261802" y="58103"/>
                        </a:cubicBezTo>
                        <a:cubicBezTo>
                          <a:pt x="251797" y="52101"/>
                          <a:pt x="241624" y="45382"/>
                          <a:pt x="235270" y="35334"/>
                        </a:cubicBezTo>
                        <a:cubicBezTo>
                          <a:pt x="238848" y="25660"/>
                          <a:pt x="238331" y="13671"/>
                          <a:pt x="237138" y="3469"/>
                        </a:cubicBezTo>
                        <a:cubicBezTo>
                          <a:pt x="237004" y="2224"/>
                          <a:pt x="236413" y="1193"/>
                          <a:pt x="235542" y="333"/>
                        </a:cubicBezTo>
                        <a:cubicBezTo>
                          <a:pt x="234500" y="-797"/>
                          <a:pt x="233920" y="1247"/>
                          <a:pt x="233620" y="2027"/>
                        </a:cubicBezTo>
                        <a:cubicBezTo>
                          <a:pt x="233300" y="6795"/>
                          <a:pt x="233671" y="11606"/>
                          <a:pt x="233292" y="16386"/>
                        </a:cubicBezTo>
                        <a:cubicBezTo>
                          <a:pt x="221585" y="19915"/>
                          <a:pt x="216736" y="32473"/>
                          <a:pt x="215137" y="43572"/>
                        </a:cubicBezTo>
                        <a:cubicBezTo>
                          <a:pt x="196763" y="51299"/>
                          <a:pt x="181878" y="65738"/>
                          <a:pt x="169152" y="80771"/>
                        </a:cubicBezTo>
                        <a:cubicBezTo>
                          <a:pt x="158670" y="79698"/>
                          <a:pt x="148371" y="78644"/>
                          <a:pt x="137929" y="77439"/>
                        </a:cubicBezTo>
                        <a:cubicBezTo>
                          <a:pt x="135410" y="77162"/>
                          <a:pt x="131681" y="76326"/>
                          <a:pt x="129126" y="77414"/>
                        </a:cubicBezTo>
                        <a:cubicBezTo>
                          <a:pt x="125003" y="69170"/>
                          <a:pt x="117976" y="60370"/>
                          <a:pt x="108293" y="58979"/>
                        </a:cubicBezTo>
                        <a:cubicBezTo>
                          <a:pt x="107776" y="53491"/>
                          <a:pt x="92186" y="54360"/>
                          <a:pt x="87766" y="54003"/>
                        </a:cubicBezTo>
                        <a:cubicBezTo>
                          <a:pt x="81878" y="54368"/>
                          <a:pt x="73078" y="53277"/>
                          <a:pt x="68235" y="56898"/>
                        </a:cubicBezTo>
                        <a:cubicBezTo>
                          <a:pt x="59838" y="59765"/>
                          <a:pt x="57060" y="71574"/>
                          <a:pt x="64943" y="76700"/>
                        </a:cubicBezTo>
                        <a:cubicBezTo>
                          <a:pt x="70371" y="79549"/>
                          <a:pt x="76913" y="77950"/>
                          <a:pt x="82803" y="78864"/>
                        </a:cubicBezTo>
                        <a:cubicBezTo>
                          <a:pt x="89653" y="78958"/>
                          <a:pt x="96452" y="81234"/>
                          <a:pt x="103228" y="81166"/>
                        </a:cubicBezTo>
                        <a:cubicBezTo>
                          <a:pt x="111448" y="86528"/>
                          <a:pt x="111000" y="97921"/>
                          <a:pt x="111977" y="106644"/>
                        </a:cubicBezTo>
                        <a:cubicBezTo>
                          <a:pt x="116371" y="158380"/>
                          <a:pt x="117941" y="210330"/>
                          <a:pt x="121810" y="262089"/>
                        </a:cubicBezTo>
                        <a:cubicBezTo>
                          <a:pt x="121896" y="262920"/>
                          <a:pt x="122170" y="263751"/>
                          <a:pt x="122453" y="264530"/>
                        </a:cubicBezTo>
                        <a:cubicBezTo>
                          <a:pt x="123167" y="266946"/>
                          <a:pt x="127107" y="266863"/>
                          <a:pt x="127264" y="264233"/>
                        </a:cubicBezTo>
                        <a:cubicBezTo>
                          <a:pt x="128104" y="262021"/>
                          <a:pt x="127638" y="258586"/>
                          <a:pt x="127618" y="256747"/>
                        </a:cubicBezTo>
                        <a:cubicBezTo>
                          <a:pt x="125605" y="220852"/>
                          <a:pt x="123147" y="184958"/>
                          <a:pt x="120671" y="149083"/>
                        </a:cubicBezTo>
                        <a:cubicBezTo>
                          <a:pt x="119343" y="131377"/>
                          <a:pt x="118247" y="113639"/>
                          <a:pt x="116180" y="96002"/>
                        </a:cubicBezTo>
                        <a:cubicBezTo>
                          <a:pt x="115326" y="88527"/>
                          <a:pt x="112034" y="80120"/>
                          <a:pt x="104950" y="76600"/>
                        </a:cubicBezTo>
                        <a:cubicBezTo>
                          <a:pt x="100218" y="71477"/>
                          <a:pt x="102308" y="67854"/>
                          <a:pt x="106529" y="63377"/>
                        </a:cubicBezTo>
                        <a:cubicBezTo>
                          <a:pt x="128826" y="69950"/>
                          <a:pt x="130134" y="98266"/>
                          <a:pt x="131087" y="117691"/>
                        </a:cubicBezTo>
                        <a:cubicBezTo>
                          <a:pt x="132101" y="138561"/>
                          <a:pt x="133189" y="159425"/>
                          <a:pt x="133971" y="180306"/>
                        </a:cubicBezTo>
                        <a:cubicBezTo>
                          <a:pt x="132612" y="205659"/>
                          <a:pt x="132481" y="231100"/>
                          <a:pt x="132669" y="256467"/>
                        </a:cubicBezTo>
                        <a:cubicBezTo>
                          <a:pt x="131576" y="257469"/>
                          <a:pt x="131304" y="259231"/>
                          <a:pt x="131950" y="260753"/>
                        </a:cubicBezTo>
                        <a:cubicBezTo>
                          <a:pt x="132067" y="263545"/>
                          <a:pt x="131433" y="268282"/>
                          <a:pt x="132407" y="271637"/>
                        </a:cubicBezTo>
                        <a:cubicBezTo>
                          <a:pt x="129217" y="270255"/>
                          <a:pt x="126022" y="269085"/>
                          <a:pt x="122821" y="268134"/>
                        </a:cubicBezTo>
                        <a:cubicBezTo>
                          <a:pt x="122861" y="266341"/>
                          <a:pt x="122281" y="264844"/>
                          <a:pt x="121833" y="263183"/>
                        </a:cubicBezTo>
                        <a:cubicBezTo>
                          <a:pt x="121473" y="262426"/>
                          <a:pt x="120191" y="262426"/>
                          <a:pt x="119832" y="263183"/>
                        </a:cubicBezTo>
                        <a:cubicBezTo>
                          <a:pt x="119478" y="264490"/>
                          <a:pt x="119052" y="265707"/>
                          <a:pt x="118884" y="267077"/>
                        </a:cubicBezTo>
                        <a:cubicBezTo>
                          <a:pt x="85493" y="259379"/>
                          <a:pt x="60497" y="273028"/>
                          <a:pt x="38391" y="306230"/>
                        </a:cubicBezTo>
                        <a:cubicBezTo>
                          <a:pt x="-17462" y="388021"/>
                          <a:pt x="-12816" y="548484"/>
                          <a:pt x="55244" y="616010"/>
                        </a:cubicBezTo>
                        <a:lnTo>
                          <a:pt x="55121" y="616118"/>
                        </a:lnTo>
                        <a:cubicBezTo>
                          <a:pt x="99136" y="666989"/>
                          <a:pt x="157999" y="689072"/>
                          <a:pt x="200638" y="627174"/>
                        </a:cubicBezTo>
                        <a:cubicBezTo>
                          <a:pt x="213110" y="629930"/>
                          <a:pt x="226031" y="631868"/>
                          <a:pt x="238677" y="633256"/>
                        </a:cubicBezTo>
                        <a:cubicBezTo>
                          <a:pt x="205526" y="664279"/>
                          <a:pt x="230174" y="725335"/>
                          <a:pt x="276296" y="723748"/>
                        </a:cubicBezTo>
                        <a:cubicBezTo>
                          <a:pt x="327021" y="724770"/>
                          <a:pt x="348599" y="655933"/>
                          <a:pt x="307374" y="627671"/>
                        </a:cubicBezTo>
                        <a:cubicBezTo>
                          <a:pt x="310512" y="619116"/>
                          <a:pt x="315860" y="610759"/>
                          <a:pt x="317262" y="601839"/>
                        </a:cubicBezTo>
                        <a:cubicBezTo>
                          <a:pt x="317944" y="598144"/>
                          <a:pt x="320291" y="594035"/>
                          <a:pt x="319092" y="590286"/>
                        </a:cubicBezTo>
                        <a:cubicBezTo>
                          <a:pt x="320114" y="587876"/>
                          <a:pt x="319557" y="584904"/>
                          <a:pt x="319766" y="582311"/>
                        </a:cubicBezTo>
                        <a:cubicBezTo>
                          <a:pt x="338982" y="588281"/>
                          <a:pt x="358907" y="591631"/>
                          <a:pt x="378509" y="596082"/>
                        </a:cubicBezTo>
                        <a:cubicBezTo>
                          <a:pt x="372915" y="609134"/>
                          <a:pt x="379568" y="624681"/>
                          <a:pt x="381173" y="638079"/>
                        </a:cubicBezTo>
                        <a:cubicBezTo>
                          <a:pt x="382147" y="644817"/>
                          <a:pt x="381713" y="651899"/>
                          <a:pt x="386096" y="657567"/>
                        </a:cubicBezTo>
                        <a:cubicBezTo>
                          <a:pt x="389682" y="662204"/>
                          <a:pt x="395864" y="665624"/>
                          <a:pt x="401851" y="665087"/>
                        </a:cubicBezTo>
                        <a:cubicBezTo>
                          <a:pt x="402705" y="669528"/>
                          <a:pt x="403245" y="674050"/>
                          <a:pt x="404264" y="678456"/>
                        </a:cubicBezTo>
                        <a:cubicBezTo>
                          <a:pt x="404307" y="678636"/>
                          <a:pt x="404476" y="679424"/>
                          <a:pt x="404496" y="679487"/>
                        </a:cubicBezTo>
                        <a:cubicBezTo>
                          <a:pt x="405155" y="681774"/>
                          <a:pt x="407439" y="680952"/>
                          <a:pt x="409178" y="680803"/>
                        </a:cubicBezTo>
                        <a:cubicBezTo>
                          <a:pt x="409515" y="682616"/>
                          <a:pt x="409784" y="684804"/>
                          <a:pt x="410595" y="686468"/>
                        </a:cubicBezTo>
                        <a:cubicBezTo>
                          <a:pt x="412642" y="689629"/>
                          <a:pt x="417727" y="687999"/>
                          <a:pt x="419320" y="685212"/>
                        </a:cubicBezTo>
                        <a:cubicBezTo>
                          <a:pt x="421339" y="684458"/>
                          <a:pt x="419846" y="681880"/>
                          <a:pt x="419523" y="680332"/>
                        </a:cubicBezTo>
                        <a:cubicBezTo>
                          <a:pt x="421945" y="678996"/>
                          <a:pt x="420337" y="675458"/>
                          <a:pt x="420014" y="673345"/>
                        </a:cubicBezTo>
                        <a:cubicBezTo>
                          <a:pt x="426727" y="675270"/>
                          <a:pt x="435008" y="671803"/>
                          <a:pt x="441855" y="670875"/>
                        </a:cubicBezTo>
                        <a:cubicBezTo>
                          <a:pt x="448711" y="669011"/>
                          <a:pt x="456666" y="668268"/>
                          <a:pt x="462196" y="663580"/>
                        </a:cubicBezTo>
                        <a:cubicBezTo>
                          <a:pt x="471659" y="669151"/>
                          <a:pt x="490581" y="660096"/>
                          <a:pt x="501235" y="658178"/>
                        </a:cubicBezTo>
                        <a:cubicBezTo>
                          <a:pt x="491381" y="673482"/>
                          <a:pt x="500135" y="679901"/>
                          <a:pt x="515857" y="679621"/>
                        </a:cubicBezTo>
                        <a:cubicBezTo>
                          <a:pt x="538403" y="681709"/>
                          <a:pt x="561086" y="679964"/>
                          <a:pt x="582549" y="672434"/>
                        </a:cubicBezTo>
                        <a:cubicBezTo>
                          <a:pt x="577107" y="681126"/>
                          <a:pt x="593974" y="677328"/>
                          <a:pt x="598071" y="677043"/>
                        </a:cubicBezTo>
                        <a:cubicBezTo>
                          <a:pt x="603573" y="676340"/>
                          <a:pt x="609076" y="675638"/>
                          <a:pt x="614578" y="674936"/>
                        </a:cubicBezTo>
                        <a:cubicBezTo>
                          <a:pt x="646638" y="671555"/>
                          <a:pt x="678318" y="666287"/>
                          <a:pt x="709358" y="657475"/>
                        </a:cubicBezTo>
                        <a:cubicBezTo>
                          <a:pt x="720480" y="654803"/>
                          <a:pt x="731610" y="652096"/>
                          <a:pt x="742469" y="648481"/>
                        </a:cubicBezTo>
                        <a:cubicBezTo>
                          <a:pt x="744259" y="647884"/>
                          <a:pt x="744293" y="645745"/>
                          <a:pt x="743285" y="644749"/>
                        </a:cubicBezTo>
                        <a:cubicBezTo>
                          <a:pt x="743782" y="641925"/>
                          <a:pt x="732778" y="642613"/>
                          <a:pt x="730610" y="642102"/>
                        </a:cubicBezTo>
                        <a:cubicBezTo>
                          <a:pt x="730862" y="641482"/>
                          <a:pt x="730982" y="640823"/>
                          <a:pt x="731059" y="640157"/>
                        </a:cubicBezTo>
                        <a:cubicBezTo>
                          <a:pt x="735096" y="640132"/>
                          <a:pt x="742474" y="642208"/>
                          <a:pt x="745661" y="639812"/>
                        </a:cubicBezTo>
                        <a:cubicBezTo>
                          <a:pt x="751931" y="639541"/>
                          <a:pt x="752668" y="627977"/>
                          <a:pt x="748257" y="625144"/>
                        </a:cubicBezTo>
                        <a:close/>
                        <a:moveTo>
                          <a:pt x="96509" y="73656"/>
                        </a:moveTo>
                        <a:cubicBezTo>
                          <a:pt x="88740" y="72508"/>
                          <a:pt x="80910" y="71786"/>
                          <a:pt x="73058" y="71623"/>
                        </a:cubicBezTo>
                        <a:cubicBezTo>
                          <a:pt x="71465" y="71586"/>
                          <a:pt x="69323" y="71820"/>
                          <a:pt x="68081" y="70624"/>
                        </a:cubicBezTo>
                        <a:cubicBezTo>
                          <a:pt x="64681" y="66412"/>
                          <a:pt x="69340" y="62848"/>
                          <a:pt x="73098" y="61387"/>
                        </a:cubicBezTo>
                        <a:cubicBezTo>
                          <a:pt x="81707" y="61132"/>
                          <a:pt x="90050" y="61375"/>
                          <a:pt x="98576" y="62397"/>
                        </a:cubicBezTo>
                        <a:cubicBezTo>
                          <a:pt x="96035" y="65798"/>
                          <a:pt x="95373" y="69724"/>
                          <a:pt x="96509" y="73656"/>
                        </a:cubicBezTo>
                        <a:close/>
                        <a:moveTo>
                          <a:pt x="607379" y="388147"/>
                        </a:moveTo>
                        <a:cubicBezTo>
                          <a:pt x="607699" y="385212"/>
                          <a:pt x="608062" y="382268"/>
                          <a:pt x="608427" y="379318"/>
                        </a:cubicBezTo>
                        <a:cubicBezTo>
                          <a:pt x="623464" y="389635"/>
                          <a:pt x="626630" y="392162"/>
                          <a:pt x="630927" y="410622"/>
                        </a:cubicBezTo>
                        <a:cubicBezTo>
                          <a:pt x="647311" y="476126"/>
                          <a:pt x="662710" y="541868"/>
                          <a:pt x="678660" y="607478"/>
                        </a:cubicBezTo>
                        <a:cubicBezTo>
                          <a:pt x="676025" y="607135"/>
                          <a:pt x="673369" y="607115"/>
                          <a:pt x="670720" y="607295"/>
                        </a:cubicBezTo>
                        <a:cubicBezTo>
                          <a:pt x="651283" y="540654"/>
                          <a:pt x="642777" y="470744"/>
                          <a:pt x="617376" y="405836"/>
                        </a:cubicBezTo>
                        <a:cubicBezTo>
                          <a:pt x="615129" y="400736"/>
                          <a:pt x="611839" y="395425"/>
                          <a:pt x="606900" y="392630"/>
                        </a:cubicBezTo>
                        <a:cubicBezTo>
                          <a:pt x="607062" y="391137"/>
                          <a:pt x="607217" y="389640"/>
                          <a:pt x="607379" y="388147"/>
                        </a:cubicBezTo>
                        <a:close/>
                        <a:moveTo>
                          <a:pt x="617108" y="538895"/>
                        </a:moveTo>
                        <a:cubicBezTo>
                          <a:pt x="628315" y="540334"/>
                          <a:pt x="639616" y="542496"/>
                          <a:pt x="650852" y="543107"/>
                        </a:cubicBezTo>
                        <a:cubicBezTo>
                          <a:pt x="656103" y="564611"/>
                          <a:pt x="659001" y="586862"/>
                          <a:pt x="666588" y="607692"/>
                        </a:cubicBezTo>
                        <a:cubicBezTo>
                          <a:pt x="648108" y="611478"/>
                          <a:pt x="634445" y="608417"/>
                          <a:pt x="618649" y="598198"/>
                        </a:cubicBezTo>
                        <a:cubicBezTo>
                          <a:pt x="616534" y="587927"/>
                          <a:pt x="615000" y="577517"/>
                          <a:pt x="615429" y="566981"/>
                        </a:cubicBezTo>
                        <a:cubicBezTo>
                          <a:pt x="615437" y="557569"/>
                          <a:pt x="617690" y="548335"/>
                          <a:pt x="617108" y="538895"/>
                        </a:cubicBezTo>
                        <a:close/>
                        <a:moveTo>
                          <a:pt x="614098" y="407752"/>
                        </a:moveTo>
                        <a:cubicBezTo>
                          <a:pt x="630528" y="450120"/>
                          <a:pt x="640173" y="494752"/>
                          <a:pt x="649961" y="539024"/>
                        </a:cubicBezTo>
                        <a:cubicBezTo>
                          <a:pt x="636375" y="537416"/>
                          <a:pt x="622764" y="535500"/>
                          <a:pt x="609324" y="533927"/>
                        </a:cubicBezTo>
                        <a:cubicBezTo>
                          <a:pt x="612014" y="522537"/>
                          <a:pt x="600527" y="521515"/>
                          <a:pt x="599236" y="509908"/>
                        </a:cubicBezTo>
                        <a:cubicBezTo>
                          <a:pt x="601900" y="510228"/>
                          <a:pt x="604615" y="510399"/>
                          <a:pt x="607294" y="510356"/>
                        </a:cubicBezTo>
                        <a:cubicBezTo>
                          <a:pt x="606971" y="513388"/>
                          <a:pt x="607374" y="516698"/>
                          <a:pt x="607459" y="519764"/>
                        </a:cubicBezTo>
                        <a:cubicBezTo>
                          <a:pt x="604173" y="523973"/>
                          <a:pt x="640793" y="524681"/>
                          <a:pt x="644647" y="525735"/>
                        </a:cubicBezTo>
                        <a:cubicBezTo>
                          <a:pt x="647052" y="525712"/>
                          <a:pt x="647106" y="522052"/>
                          <a:pt x="644647" y="522012"/>
                        </a:cubicBezTo>
                        <a:cubicBezTo>
                          <a:pt x="633189" y="521027"/>
                          <a:pt x="621665" y="519419"/>
                          <a:pt x="610152" y="519290"/>
                        </a:cubicBezTo>
                        <a:cubicBezTo>
                          <a:pt x="610552" y="516281"/>
                          <a:pt x="611451" y="513012"/>
                          <a:pt x="610717" y="510025"/>
                        </a:cubicBezTo>
                        <a:cubicBezTo>
                          <a:pt x="611200" y="509594"/>
                          <a:pt x="611811" y="509405"/>
                          <a:pt x="611954" y="508669"/>
                        </a:cubicBezTo>
                        <a:cubicBezTo>
                          <a:pt x="611991" y="506616"/>
                          <a:pt x="612999" y="502161"/>
                          <a:pt x="610849" y="501116"/>
                        </a:cubicBezTo>
                        <a:cubicBezTo>
                          <a:pt x="610455" y="498104"/>
                          <a:pt x="608624" y="495314"/>
                          <a:pt x="607551" y="492519"/>
                        </a:cubicBezTo>
                        <a:cubicBezTo>
                          <a:pt x="606617" y="488593"/>
                          <a:pt x="602622" y="487610"/>
                          <a:pt x="599110" y="487059"/>
                        </a:cubicBezTo>
                        <a:cubicBezTo>
                          <a:pt x="600849" y="456881"/>
                          <a:pt x="603328" y="426746"/>
                          <a:pt x="606471" y="396682"/>
                        </a:cubicBezTo>
                        <a:cubicBezTo>
                          <a:pt x="609909" y="399588"/>
                          <a:pt x="612211" y="403460"/>
                          <a:pt x="614098" y="407752"/>
                        </a:cubicBezTo>
                        <a:close/>
                        <a:moveTo>
                          <a:pt x="602380" y="576372"/>
                        </a:moveTo>
                        <a:cubicBezTo>
                          <a:pt x="601857" y="566598"/>
                          <a:pt x="601446" y="556924"/>
                          <a:pt x="602083" y="547127"/>
                        </a:cubicBezTo>
                        <a:cubicBezTo>
                          <a:pt x="604610" y="544252"/>
                          <a:pt x="606717" y="541037"/>
                          <a:pt x="608179" y="537425"/>
                        </a:cubicBezTo>
                        <a:cubicBezTo>
                          <a:pt x="610052" y="537879"/>
                          <a:pt x="612002" y="538176"/>
                          <a:pt x="613924" y="538444"/>
                        </a:cubicBezTo>
                        <a:cubicBezTo>
                          <a:pt x="614052" y="548367"/>
                          <a:pt x="612051" y="558203"/>
                          <a:pt x="611865" y="568126"/>
                        </a:cubicBezTo>
                        <a:cubicBezTo>
                          <a:pt x="611677" y="577154"/>
                          <a:pt x="612753" y="586080"/>
                          <a:pt x="614355" y="594960"/>
                        </a:cubicBezTo>
                        <a:cubicBezTo>
                          <a:pt x="609332" y="590771"/>
                          <a:pt x="604901" y="585663"/>
                          <a:pt x="602334" y="579604"/>
                        </a:cubicBezTo>
                        <a:cubicBezTo>
                          <a:pt x="602611" y="578576"/>
                          <a:pt x="602431" y="577531"/>
                          <a:pt x="602380" y="576372"/>
                        </a:cubicBezTo>
                        <a:close/>
                        <a:moveTo>
                          <a:pt x="598833" y="507229"/>
                        </a:moveTo>
                        <a:cubicBezTo>
                          <a:pt x="598202" y="501479"/>
                          <a:pt x="598616" y="495680"/>
                          <a:pt x="598942" y="489923"/>
                        </a:cubicBezTo>
                        <a:cubicBezTo>
                          <a:pt x="602437" y="490357"/>
                          <a:pt x="604119" y="491585"/>
                          <a:pt x="604510" y="495123"/>
                        </a:cubicBezTo>
                        <a:cubicBezTo>
                          <a:pt x="605486" y="497681"/>
                          <a:pt x="605763" y="502301"/>
                          <a:pt x="608596" y="503398"/>
                        </a:cubicBezTo>
                        <a:cubicBezTo>
                          <a:pt x="608653" y="504523"/>
                          <a:pt x="608724" y="505668"/>
                          <a:pt x="608896" y="506787"/>
                        </a:cubicBezTo>
                        <a:cubicBezTo>
                          <a:pt x="605541" y="506910"/>
                          <a:pt x="602188" y="507092"/>
                          <a:pt x="598833" y="507229"/>
                        </a:cubicBezTo>
                        <a:close/>
                        <a:moveTo>
                          <a:pt x="579003" y="296887"/>
                        </a:moveTo>
                        <a:cubicBezTo>
                          <a:pt x="579003" y="296887"/>
                          <a:pt x="585199" y="302946"/>
                          <a:pt x="588243" y="306398"/>
                        </a:cubicBezTo>
                        <a:cubicBezTo>
                          <a:pt x="596692" y="315981"/>
                          <a:pt x="602483" y="327696"/>
                          <a:pt x="603919" y="341259"/>
                        </a:cubicBezTo>
                        <a:cubicBezTo>
                          <a:pt x="605418" y="353891"/>
                          <a:pt x="603145" y="366641"/>
                          <a:pt x="601654" y="379167"/>
                        </a:cubicBezTo>
                        <a:cubicBezTo>
                          <a:pt x="597183" y="418157"/>
                          <a:pt x="593088" y="457272"/>
                          <a:pt x="591081" y="496476"/>
                        </a:cubicBezTo>
                        <a:cubicBezTo>
                          <a:pt x="590599" y="506676"/>
                          <a:pt x="591332" y="517780"/>
                          <a:pt x="598562" y="525698"/>
                        </a:cubicBezTo>
                        <a:cubicBezTo>
                          <a:pt x="600013" y="527288"/>
                          <a:pt x="602180" y="528682"/>
                          <a:pt x="601929" y="531094"/>
                        </a:cubicBezTo>
                        <a:cubicBezTo>
                          <a:pt x="600292" y="544049"/>
                          <a:pt x="579420" y="549620"/>
                          <a:pt x="580411" y="555625"/>
                        </a:cubicBezTo>
                        <a:cubicBezTo>
                          <a:pt x="562585" y="560108"/>
                          <a:pt x="543782" y="558994"/>
                          <a:pt x="525694" y="556718"/>
                        </a:cubicBezTo>
                        <a:cubicBezTo>
                          <a:pt x="525477" y="546365"/>
                          <a:pt x="519346" y="537585"/>
                          <a:pt x="518472" y="527400"/>
                        </a:cubicBezTo>
                        <a:cubicBezTo>
                          <a:pt x="523112" y="479036"/>
                          <a:pt x="527453" y="430158"/>
                          <a:pt x="519343" y="381802"/>
                        </a:cubicBezTo>
                        <a:cubicBezTo>
                          <a:pt x="521719" y="379227"/>
                          <a:pt x="521485" y="375629"/>
                          <a:pt x="520685" y="372417"/>
                        </a:cubicBezTo>
                        <a:cubicBezTo>
                          <a:pt x="520037" y="367649"/>
                          <a:pt x="519812" y="362829"/>
                          <a:pt x="519903" y="358020"/>
                        </a:cubicBezTo>
                        <a:cubicBezTo>
                          <a:pt x="520000" y="353015"/>
                          <a:pt x="512256" y="353021"/>
                          <a:pt x="512131" y="358020"/>
                        </a:cubicBezTo>
                        <a:cubicBezTo>
                          <a:pt x="511997" y="363648"/>
                          <a:pt x="512333" y="368993"/>
                          <a:pt x="512956" y="374653"/>
                        </a:cubicBezTo>
                        <a:cubicBezTo>
                          <a:pt x="486915" y="368151"/>
                          <a:pt x="465020" y="345163"/>
                          <a:pt x="437084" y="346425"/>
                        </a:cubicBezTo>
                        <a:cubicBezTo>
                          <a:pt x="435131" y="333781"/>
                          <a:pt x="431324" y="320649"/>
                          <a:pt x="424980" y="309182"/>
                        </a:cubicBezTo>
                        <a:cubicBezTo>
                          <a:pt x="422958" y="305528"/>
                          <a:pt x="418664" y="298797"/>
                          <a:pt x="418664" y="298797"/>
                        </a:cubicBezTo>
                        <a:cubicBezTo>
                          <a:pt x="411066" y="289175"/>
                          <a:pt x="401129" y="281900"/>
                          <a:pt x="388477" y="279307"/>
                        </a:cubicBezTo>
                        <a:cubicBezTo>
                          <a:pt x="385196" y="278787"/>
                          <a:pt x="383906" y="283159"/>
                          <a:pt x="387095" y="284321"/>
                        </a:cubicBezTo>
                        <a:cubicBezTo>
                          <a:pt x="393405" y="286479"/>
                          <a:pt x="398856" y="289406"/>
                          <a:pt x="403568" y="292941"/>
                        </a:cubicBezTo>
                        <a:cubicBezTo>
                          <a:pt x="405221" y="294183"/>
                          <a:pt x="407719" y="296887"/>
                          <a:pt x="407719" y="296887"/>
                        </a:cubicBezTo>
                        <a:cubicBezTo>
                          <a:pt x="421185" y="309873"/>
                          <a:pt x="428546" y="329070"/>
                          <a:pt x="430525" y="347870"/>
                        </a:cubicBezTo>
                        <a:cubicBezTo>
                          <a:pt x="434765" y="381266"/>
                          <a:pt x="435065" y="415104"/>
                          <a:pt x="434362" y="448723"/>
                        </a:cubicBezTo>
                        <a:cubicBezTo>
                          <a:pt x="434440" y="469884"/>
                          <a:pt x="430117" y="491100"/>
                          <a:pt x="432792" y="512186"/>
                        </a:cubicBezTo>
                        <a:cubicBezTo>
                          <a:pt x="435148" y="533150"/>
                          <a:pt x="453293" y="534187"/>
                          <a:pt x="429388" y="551462"/>
                        </a:cubicBezTo>
                        <a:cubicBezTo>
                          <a:pt x="424557" y="555008"/>
                          <a:pt x="419001" y="557518"/>
                          <a:pt x="414215" y="561093"/>
                        </a:cubicBezTo>
                        <a:cubicBezTo>
                          <a:pt x="410931" y="561256"/>
                          <a:pt x="407645" y="561256"/>
                          <a:pt x="404358" y="561207"/>
                        </a:cubicBezTo>
                        <a:cubicBezTo>
                          <a:pt x="402994" y="561281"/>
                          <a:pt x="401743" y="561261"/>
                          <a:pt x="400584" y="560596"/>
                        </a:cubicBezTo>
                        <a:cubicBezTo>
                          <a:pt x="393697" y="525441"/>
                          <a:pt x="387261" y="490177"/>
                          <a:pt x="379308" y="455245"/>
                        </a:cubicBezTo>
                        <a:cubicBezTo>
                          <a:pt x="375325" y="438087"/>
                          <a:pt x="365577" y="420250"/>
                          <a:pt x="347771" y="414650"/>
                        </a:cubicBezTo>
                        <a:cubicBezTo>
                          <a:pt x="349182" y="403515"/>
                          <a:pt x="348731" y="391813"/>
                          <a:pt x="345755" y="380949"/>
                        </a:cubicBezTo>
                        <a:cubicBezTo>
                          <a:pt x="345119" y="374787"/>
                          <a:pt x="345530" y="368728"/>
                          <a:pt x="345093" y="362586"/>
                        </a:cubicBezTo>
                        <a:cubicBezTo>
                          <a:pt x="344956" y="360556"/>
                          <a:pt x="341655" y="359776"/>
                          <a:pt x="341287" y="362072"/>
                        </a:cubicBezTo>
                        <a:cubicBezTo>
                          <a:pt x="340387" y="367486"/>
                          <a:pt x="340490" y="372922"/>
                          <a:pt x="340419" y="378405"/>
                        </a:cubicBezTo>
                        <a:cubicBezTo>
                          <a:pt x="337272" y="376763"/>
                          <a:pt x="334006" y="374401"/>
                          <a:pt x="330368" y="374356"/>
                        </a:cubicBezTo>
                        <a:cubicBezTo>
                          <a:pt x="327844" y="374284"/>
                          <a:pt x="327110" y="378419"/>
                          <a:pt x="329643" y="378921"/>
                        </a:cubicBezTo>
                        <a:cubicBezTo>
                          <a:pt x="333069" y="381020"/>
                          <a:pt x="336444" y="383187"/>
                          <a:pt x="339922" y="385166"/>
                        </a:cubicBezTo>
                        <a:cubicBezTo>
                          <a:pt x="339973" y="386739"/>
                          <a:pt x="340253" y="388327"/>
                          <a:pt x="340424" y="389897"/>
                        </a:cubicBezTo>
                        <a:cubicBezTo>
                          <a:pt x="336201" y="390074"/>
                          <a:pt x="332144" y="392053"/>
                          <a:pt x="328044" y="393004"/>
                        </a:cubicBezTo>
                        <a:cubicBezTo>
                          <a:pt x="326776" y="356664"/>
                          <a:pt x="325611" y="320310"/>
                          <a:pt x="325445" y="283947"/>
                        </a:cubicBezTo>
                        <a:cubicBezTo>
                          <a:pt x="325445" y="283650"/>
                          <a:pt x="325217" y="268776"/>
                          <a:pt x="324868" y="266586"/>
                        </a:cubicBezTo>
                        <a:cubicBezTo>
                          <a:pt x="326359" y="266549"/>
                          <a:pt x="327772" y="266498"/>
                          <a:pt x="329177" y="266364"/>
                        </a:cubicBezTo>
                        <a:cubicBezTo>
                          <a:pt x="329177" y="266364"/>
                          <a:pt x="333272" y="266207"/>
                          <a:pt x="335368" y="265969"/>
                        </a:cubicBezTo>
                        <a:cubicBezTo>
                          <a:pt x="341527" y="269227"/>
                          <a:pt x="347243" y="273268"/>
                          <a:pt x="352463" y="277871"/>
                        </a:cubicBezTo>
                        <a:cubicBezTo>
                          <a:pt x="355346" y="280146"/>
                          <a:pt x="357117" y="280715"/>
                          <a:pt x="359038" y="279338"/>
                        </a:cubicBezTo>
                        <a:cubicBezTo>
                          <a:pt x="362388" y="276494"/>
                          <a:pt x="361257" y="271001"/>
                          <a:pt x="359432" y="267534"/>
                        </a:cubicBezTo>
                        <a:cubicBezTo>
                          <a:pt x="362099" y="270238"/>
                          <a:pt x="366556" y="272328"/>
                          <a:pt x="369620" y="268982"/>
                        </a:cubicBezTo>
                        <a:cubicBezTo>
                          <a:pt x="369934" y="268539"/>
                          <a:pt x="370146" y="268077"/>
                          <a:pt x="370283" y="267606"/>
                        </a:cubicBezTo>
                        <a:cubicBezTo>
                          <a:pt x="370557" y="267863"/>
                          <a:pt x="370862" y="268065"/>
                          <a:pt x="370979" y="268148"/>
                        </a:cubicBezTo>
                        <a:cubicBezTo>
                          <a:pt x="372567" y="269256"/>
                          <a:pt x="379982" y="267471"/>
                          <a:pt x="377081" y="260450"/>
                        </a:cubicBezTo>
                        <a:cubicBezTo>
                          <a:pt x="377769" y="259728"/>
                          <a:pt x="378175" y="258754"/>
                          <a:pt x="378489" y="257900"/>
                        </a:cubicBezTo>
                        <a:cubicBezTo>
                          <a:pt x="396332" y="267075"/>
                          <a:pt x="410352" y="259499"/>
                          <a:pt x="426416" y="251841"/>
                        </a:cubicBezTo>
                        <a:cubicBezTo>
                          <a:pt x="426793" y="251901"/>
                          <a:pt x="427176" y="251827"/>
                          <a:pt x="427521" y="251656"/>
                        </a:cubicBezTo>
                        <a:cubicBezTo>
                          <a:pt x="434628" y="254411"/>
                          <a:pt x="450035" y="258400"/>
                          <a:pt x="449227" y="258080"/>
                        </a:cubicBezTo>
                        <a:cubicBezTo>
                          <a:pt x="469989" y="261909"/>
                          <a:pt x="489836" y="266306"/>
                          <a:pt x="509826" y="272380"/>
                        </a:cubicBezTo>
                        <a:cubicBezTo>
                          <a:pt x="530388" y="277705"/>
                          <a:pt x="552163" y="280189"/>
                          <a:pt x="570708" y="291368"/>
                        </a:cubicBezTo>
                        <a:cubicBezTo>
                          <a:pt x="573692" y="293092"/>
                          <a:pt x="576453" y="294934"/>
                          <a:pt x="579003" y="296887"/>
                        </a:cubicBezTo>
                        <a:close/>
                        <a:moveTo>
                          <a:pt x="598351" y="569867"/>
                        </a:moveTo>
                        <a:cubicBezTo>
                          <a:pt x="597083" y="567126"/>
                          <a:pt x="594944" y="563374"/>
                          <a:pt x="592283" y="561584"/>
                        </a:cubicBezTo>
                        <a:cubicBezTo>
                          <a:pt x="593223" y="559397"/>
                          <a:pt x="593163" y="557001"/>
                          <a:pt x="593602" y="554691"/>
                        </a:cubicBezTo>
                        <a:cubicBezTo>
                          <a:pt x="595293" y="553472"/>
                          <a:pt x="596926" y="552173"/>
                          <a:pt x="598465" y="550782"/>
                        </a:cubicBezTo>
                        <a:cubicBezTo>
                          <a:pt x="598219" y="557141"/>
                          <a:pt x="598174" y="563506"/>
                          <a:pt x="598351" y="569867"/>
                        </a:cubicBezTo>
                        <a:close/>
                        <a:moveTo>
                          <a:pt x="588289" y="560659"/>
                        </a:moveTo>
                        <a:cubicBezTo>
                          <a:pt x="582658" y="562695"/>
                          <a:pt x="579654" y="570578"/>
                          <a:pt x="579348" y="576172"/>
                        </a:cubicBezTo>
                        <a:cubicBezTo>
                          <a:pt x="576008" y="576612"/>
                          <a:pt x="572944" y="577905"/>
                          <a:pt x="569992" y="579590"/>
                        </a:cubicBezTo>
                        <a:cubicBezTo>
                          <a:pt x="566868" y="579832"/>
                          <a:pt x="563573" y="581143"/>
                          <a:pt x="560666" y="581803"/>
                        </a:cubicBezTo>
                        <a:cubicBezTo>
                          <a:pt x="550133" y="584321"/>
                          <a:pt x="539174" y="584230"/>
                          <a:pt x="528489" y="583170"/>
                        </a:cubicBezTo>
                        <a:cubicBezTo>
                          <a:pt x="527889" y="580495"/>
                          <a:pt x="525371" y="578722"/>
                          <a:pt x="525731" y="575558"/>
                        </a:cubicBezTo>
                        <a:cubicBezTo>
                          <a:pt x="525745" y="570627"/>
                          <a:pt x="526142" y="565710"/>
                          <a:pt x="525925" y="560770"/>
                        </a:cubicBezTo>
                        <a:cubicBezTo>
                          <a:pt x="537009" y="563685"/>
                          <a:pt x="548591" y="564722"/>
                          <a:pt x="560046" y="564088"/>
                        </a:cubicBezTo>
                        <a:cubicBezTo>
                          <a:pt x="569732" y="563192"/>
                          <a:pt x="579585" y="563597"/>
                          <a:pt x="588309" y="558160"/>
                        </a:cubicBezTo>
                        <a:cubicBezTo>
                          <a:pt x="588223" y="558988"/>
                          <a:pt x="588171" y="559854"/>
                          <a:pt x="588289" y="560659"/>
                        </a:cubicBezTo>
                        <a:close/>
                        <a:moveTo>
                          <a:pt x="527887" y="586457"/>
                        </a:moveTo>
                        <a:cubicBezTo>
                          <a:pt x="538351" y="588847"/>
                          <a:pt x="549216" y="588344"/>
                          <a:pt x="559658" y="586431"/>
                        </a:cubicBezTo>
                        <a:cubicBezTo>
                          <a:pt x="553353" y="590603"/>
                          <a:pt x="547586" y="595534"/>
                          <a:pt x="541695" y="600260"/>
                        </a:cubicBezTo>
                        <a:cubicBezTo>
                          <a:pt x="537086" y="603855"/>
                          <a:pt x="530331" y="610093"/>
                          <a:pt x="524417" y="605965"/>
                        </a:cubicBezTo>
                        <a:cubicBezTo>
                          <a:pt x="528186" y="601876"/>
                          <a:pt x="528172" y="591845"/>
                          <a:pt x="527887" y="586457"/>
                        </a:cubicBezTo>
                        <a:close/>
                        <a:moveTo>
                          <a:pt x="451752" y="357586"/>
                        </a:moveTo>
                        <a:cubicBezTo>
                          <a:pt x="458096" y="356010"/>
                          <a:pt x="462222" y="358768"/>
                          <a:pt x="467779" y="361364"/>
                        </a:cubicBezTo>
                        <a:cubicBezTo>
                          <a:pt x="473355" y="364051"/>
                          <a:pt x="478803" y="366995"/>
                          <a:pt x="484297" y="369844"/>
                        </a:cubicBezTo>
                        <a:cubicBezTo>
                          <a:pt x="469266" y="369216"/>
                          <a:pt x="454042" y="370752"/>
                          <a:pt x="439862" y="375915"/>
                        </a:cubicBezTo>
                        <a:cubicBezTo>
                          <a:pt x="439579" y="370441"/>
                          <a:pt x="439231" y="364953"/>
                          <a:pt x="438714" y="359485"/>
                        </a:cubicBezTo>
                        <a:cubicBezTo>
                          <a:pt x="443037" y="358708"/>
                          <a:pt x="447389" y="358097"/>
                          <a:pt x="451752" y="357586"/>
                        </a:cubicBezTo>
                        <a:close/>
                        <a:moveTo>
                          <a:pt x="438488" y="357232"/>
                        </a:moveTo>
                        <a:cubicBezTo>
                          <a:pt x="438297" y="355382"/>
                          <a:pt x="438080" y="353535"/>
                          <a:pt x="437840" y="351693"/>
                        </a:cubicBezTo>
                        <a:cubicBezTo>
                          <a:pt x="442349" y="352667"/>
                          <a:pt x="446880" y="353449"/>
                          <a:pt x="451312" y="354748"/>
                        </a:cubicBezTo>
                        <a:cubicBezTo>
                          <a:pt x="446989" y="355336"/>
                          <a:pt x="442726" y="356204"/>
                          <a:pt x="438488" y="357232"/>
                        </a:cubicBezTo>
                        <a:close/>
                        <a:moveTo>
                          <a:pt x="469806" y="652932"/>
                        </a:moveTo>
                        <a:cubicBezTo>
                          <a:pt x="464221" y="653632"/>
                          <a:pt x="458587" y="654057"/>
                          <a:pt x="453139" y="655628"/>
                        </a:cubicBezTo>
                        <a:cubicBezTo>
                          <a:pt x="451580" y="655948"/>
                          <a:pt x="449841" y="655988"/>
                          <a:pt x="448285" y="656430"/>
                        </a:cubicBezTo>
                        <a:cubicBezTo>
                          <a:pt x="446620" y="651145"/>
                          <a:pt x="446238" y="643618"/>
                          <a:pt x="452968" y="642119"/>
                        </a:cubicBezTo>
                        <a:cubicBezTo>
                          <a:pt x="458187" y="642422"/>
                          <a:pt x="463393" y="642376"/>
                          <a:pt x="468638" y="642296"/>
                        </a:cubicBezTo>
                        <a:cubicBezTo>
                          <a:pt x="466174" y="645326"/>
                          <a:pt x="466973" y="650197"/>
                          <a:pt x="469806" y="652932"/>
                        </a:cubicBezTo>
                        <a:close/>
                        <a:moveTo>
                          <a:pt x="470460" y="642416"/>
                        </a:moveTo>
                        <a:cubicBezTo>
                          <a:pt x="472590" y="642319"/>
                          <a:pt x="474589" y="642382"/>
                          <a:pt x="475205" y="644912"/>
                        </a:cubicBezTo>
                        <a:cubicBezTo>
                          <a:pt x="475665" y="646548"/>
                          <a:pt x="475928" y="649906"/>
                          <a:pt x="474857" y="651388"/>
                        </a:cubicBezTo>
                        <a:cubicBezTo>
                          <a:pt x="472099" y="654654"/>
                          <a:pt x="467287" y="645668"/>
                          <a:pt x="470460" y="642416"/>
                        </a:cubicBezTo>
                        <a:close/>
                        <a:moveTo>
                          <a:pt x="472119" y="639703"/>
                        </a:moveTo>
                        <a:cubicBezTo>
                          <a:pt x="469292" y="638441"/>
                          <a:pt x="465637" y="639469"/>
                          <a:pt x="462565" y="639372"/>
                        </a:cubicBezTo>
                        <a:cubicBezTo>
                          <a:pt x="460754" y="639432"/>
                          <a:pt x="458950" y="639546"/>
                          <a:pt x="457145" y="639678"/>
                        </a:cubicBezTo>
                        <a:cubicBezTo>
                          <a:pt x="454147" y="634318"/>
                          <a:pt x="439845" y="640012"/>
                          <a:pt x="434240" y="639835"/>
                        </a:cubicBezTo>
                        <a:cubicBezTo>
                          <a:pt x="444191" y="636757"/>
                          <a:pt x="451726" y="628128"/>
                          <a:pt x="461957" y="625552"/>
                        </a:cubicBezTo>
                        <a:cubicBezTo>
                          <a:pt x="469912" y="623682"/>
                          <a:pt x="481567" y="624302"/>
                          <a:pt x="486513" y="631500"/>
                        </a:cubicBezTo>
                        <a:cubicBezTo>
                          <a:pt x="487466" y="634121"/>
                          <a:pt x="486281" y="636186"/>
                          <a:pt x="485490" y="638624"/>
                        </a:cubicBezTo>
                        <a:cubicBezTo>
                          <a:pt x="482669" y="639709"/>
                          <a:pt x="479908" y="640937"/>
                          <a:pt x="477218" y="642387"/>
                        </a:cubicBezTo>
                        <a:cubicBezTo>
                          <a:pt x="476199" y="640797"/>
                          <a:pt x="473998" y="639429"/>
                          <a:pt x="472119" y="639703"/>
                        </a:cubicBezTo>
                        <a:close/>
                        <a:moveTo>
                          <a:pt x="476876" y="619876"/>
                        </a:moveTo>
                        <a:cubicBezTo>
                          <a:pt x="455626" y="615287"/>
                          <a:pt x="446161" y="629481"/>
                          <a:pt x="429703" y="638050"/>
                        </a:cubicBezTo>
                        <a:cubicBezTo>
                          <a:pt x="428603" y="638527"/>
                          <a:pt x="428814" y="639772"/>
                          <a:pt x="429554" y="640406"/>
                        </a:cubicBezTo>
                        <a:cubicBezTo>
                          <a:pt x="425063" y="641197"/>
                          <a:pt x="420266" y="641248"/>
                          <a:pt x="415934" y="642633"/>
                        </a:cubicBezTo>
                        <a:cubicBezTo>
                          <a:pt x="411994" y="620850"/>
                          <a:pt x="407908" y="599095"/>
                          <a:pt x="403773" y="577348"/>
                        </a:cubicBezTo>
                        <a:cubicBezTo>
                          <a:pt x="414041" y="580055"/>
                          <a:pt x="425445" y="578142"/>
                          <a:pt x="433988" y="571575"/>
                        </a:cubicBezTo>
                        <a:cubicBezTo>
                          <a:pt x="434548" y="572597"/>
                          <a:pt x="435739" y="572960"/>
                          <a:pt x="436841" y="572740"/>
                        </a:cubicBezTo>
                        <a:cubicBezTo>
                          <a:pt x="439505" y="578248"/>
                          <a:pt x="442760" y="583165"/>
                          <a:pt x="446106" y="588210"/>
                        </a:cubicBezTo>
                        <a:cubicBezTo>
                          <a:pt x="452243" y="596502"/>
                          <a:pt x="457271" y="607030"/>
                          <a:pt x="466982" y="611615"/>
                        </a:cubicBezTo>
                        <a:cubicBezTo>
                          <a:pt x="472990" y="614068"/>
                          <a:pt x="480465" y="615436"/>
                          <a:pt x="483414" y="621975"/>
                        </a:cubicBezTo>
                        <a:cubicBezTo>
                          <a:pt x="481319" y="621015"/>
                          <a:pt x="479080" y="620338"/>
                          <a:pt x="476876" y="619876"/>
                        </a:cubicBezTo>
                        <a:close/>
                        <a:moveTo>
                          <a:pt x="403153" y="574096"/>
                        </a:moveTo>
                        <a:cubicBezTo>
                          <a:pt x="402628" y="571338"/>
                          <a:pt x="402100" y="568580"/>
                          <a:pt x="401574" y="565821"/>
                        </a:cubicBezTo>
                        <a:cubicBezTo>
                          <a:pt x="407762" y="566575"/>
                          <a:pt x="411819" y="565836"/>
                          <a:pt x="417484" y="566310"/>
                        </a:cubicBezTo>
                        <a:cubicBezTo>
                          <a:pt x="423746" y="564708"/>
                          <a:pt x="429137" y="561692"/>
                          <a:pt x="434322" y="557878"/>
                        </a:cubicBezTo>
                        <a:cubicBezTo>
                          <a:pt x="434437" y="560665"/>
                          <a:pt x="434400" y="563337"/>
                          <a:pt x="433857" y="566118"/>
                        </a:cubicBezTo>
                        <a:cubicBezTo>
                          <a:pt x="422656" y="573231"/>
                          <a:pt x="416922" y="575775"/>
                          <a:pt x="403153" y="574096"/>
                        </a:cubicBezTo>
                        <a:close/>
                        <a:moveTo>
                          <a:pt x="328540" y="407589"/>
                        </a:moveTo>
                        <a:cubicBezTo>
                          <a:pt x="328403" y="403620"/>
                          <a:pt x="328286" y="399651"/>
                          <a:pt x="328138" y="395682"/>
                        </a:cubicBezTo>
                        <a:cubicBezTo>
                          <a:pt x="332378" y="395257"/>
                          <a:pt x="336821" y="395060"/>
                          <a:pt x="340781" y="393218"/>
                        </a:cubicBezTo>
                        <a:cubicBezTo>
                          <a:pt x="341421" y="399765"/>
                          <a:pt x="341704" y="406333"/>
                          <a:pt x="342355" y="412872"/>
                        </a:cubicBezTo>
                        <a:cubicBezTo>
                          <a:pt x="337783" y="411644"/>
                          <a:pt x="333118" y="410530"/>
                          <a:pt x="328406" y="410656"/>
                        </a:cubicBezTo>
                        <a:cubicBezTo>
                          <a:pt x="328663" y="409642"/>
                          <a:pt x="328569" y="408394"/>
                          <a:pt x="328540" y="407589"/>
                        </a:cubicBezTo>
                        <a:close/>
                        <a:moveTo>
                          <a:pt x="569677" y="251276"/>
                        </a:moveTo>
                        <a:cubicBezTo>
                          <a:pt x="571416" y="251521"/>
                          <a:pt x="573152" y="251767"/>
                          <a:pt x="574891" y="252013"/>
                        </a:cubicBezTo>
                        <a:cubicBezTo>
                          <a:pt x="574920" y="252201"/>
                          <a:pt x="574946" y="252392"/>
                          <a:pt x="574971" y="252581"/>
                        </a:cubicBezTo>
                        <a:cubicBezTo>
                          <a:pt x="576476" y="263731"/>
                          <a:pt x="577335" y="276412"/>
                          <a:pt x="577818" y="288113"/>
                        </a:cubicBezTo>
                        <a:cubicBezTo>
                          <a:pt x="575020" y="286245"/>
                          <a:pt x="572122" y="284572"/>
                          <a:pt x="569143" y="283062"/>
                        </a:cubicBezTo>
                        <a:cubicBezTo>
                          <a:pt x="568629" y="278656"/>
                          <a:pt x="568113" y="274239"/>
                          <a:pt x="567350" y="269873"/>
                        </a:cubicBezTo>
                        <a:cubicBezTo>
                          <a:pt x="565666" y="263403"/>
                          <a:pt x="563938" y="256924"/>
                          <a:pt x="563630" y="250125"/>
                        </a:cubicBezTo>
                        <a:cubicBezTo>
                          <a:pt x="565203" y="251179"/>
                          <a:pt x="567961" y="251033"/>
                          <a:pt x="569677" y="251276"/>
                        </a:cubicBezTo>
                        <a:close/>
                        <a:moveTo>
                          <a:pt x="559809" y="257518"/>
                        </a:moveTo>
                        <a:cubicBezTo>
                          <a:pt x="560729" y="265387"/>
                          <a:pt x="563887" y="272662"/>
                          <a:pt x="564144" y="280712"/>
                        </a:cubicBezTo>
                        <a:cubicBezTo>
                          <a:pt x="550652" y="274827"/>
                          <a:pt x="535822" y="271883"/>
                          <a:pt x="521305" y="269667"/>
                        </a:cubicBezTo>
                        <a:cubicBezTo>
                          <a:pt x="490022" y="260250"/>
                          <a:pt x="462071" y="253069"/>
                          <a:pt x="428689" y="249217"/>
                        </a:cubicBezTo>
                        <a:cubicBezTo>
                          <a:pt x="427898" y="247495"/>
                          <a:pt x="426890" y="245856"/>
                          <a:pt x="426062" y="244149"/>
                        </a:cubicBezTo>
                        <a:cubicBezTo>
                          <a:pt x="454718" y="249023"/>
                          <a:pt x="483449" y="253560"/>
                          <a:pt x="512328" y="256898"/>
                        </a:cubicBezTo>
                        <a:cubicBezTo>
                          <a:pt x="525539" y="257889"/>
                          <a:pt x="547797" y="262063"/>
                          <a:pt x="559809" y="257518"/>
                        </a:cubicBezTo>
                        <a:close/>
                        <a:moveTo>
                          <a:pt x="444713" y="218028"/>
                        </a:moveTo>
                        <a:cubicBezTo>
                          <a:pt x="470865" y="220064"/>
                          <a:pt x="514820" y="225675"/>
                          <a:pt x="535799" y="232773"/>
                        </a:cubicBezTo>
                        <a:cubicBezTo>
                          <a:pt x="550084" y="237330"/>
                          <a:pt x="558108" y="242656"/>
                          <a:pt x="558396" y="247767"/>
                        </a:cubicBezTo>
                        <a:lnTo>
                          <a:pt x="558504" y="247761"/>
                        </a:lnTo>
                        <a:cubicBezTo>
                          <a:pt x="558165" y="249743"/>
                          <a:pt x="557528" y="251293"/>
                          <a:pt x="557068" y="253583"/>
                        </a:cubicBezTo>
                        <a:cubicBezTo>
                          <a:pt x="543437" y="256367"/>
                          <a:pt x="529103" y="253554"/>
                          <a:pt x="515369" y="252469"/>
                        </a:cubicBezTo>
                        <a:cubicBezTo>
                          <a:pt x="484574" y="249026"/>
                          <a:pt x="453964" y="244106"/>
                          <a:pt x="423432" y="238861"/>
                        </a:cubicBezTo>
                        <a:cubicBezTo>
                          <a:pt x="422233" y="236365"/>
                          <a:pt x="421074" y="233850"/>
                          <a:pt x="419946" y="231311"/>
                        </a:cubicBezTo>
                        <a:cubicBezTo>
                          <a:pt x="458901" y="235694"/>
                          <a:pt x="497683" y="241585"/>
                          <a:pt x="536630" y="245996"/>
                        </a:cubicBezTo>
                        <a:cubicBezTo>
                          <a:pt x="537592" y="246051"/>
                          <a:pt x="536690" y="246011"/>
                          <a:pt x="537178" y="245959"/>
                        </a:cubicBezTo>
                        <a:cubicBezTo>
                          <a:pt x="537423" y="245934"/>
                          <a:pt x="537669" y="245916"/>
                          <a:pt x="537912" y="245896"/>
                        </a:cubicBezTo>
                        <a:cubicBezTo>
                          <a:pt x="540147" y="245537"/>
                          <a:pt x="539474" y="243030"/>
                          <a:pt x="537535" y="242747"/>
                        </a:cubicBezTo>
                        <a:cubicBezTo>
                          <a:pt x="498014" y="236311"/>
                          <a:pt x="457659" y="231608"/>
                          <a:pt x="417779" y="226320"/>
                        </a:cubicBezTo>
                        <a:cubicBezTo>
                          <a:pt x="416305" y="222857"/>
                          <a:pt x="414858" y="219350"/>
                          <a:pt x="413476" y="215838"/>
                        </a:cubicBezTo>
                        <a:cubicBezTo>
                          <a:pt x="418961" y="216132"/>
                          <a:pt x="429046" y="216735"/>
                          <a:pt x="441432" y="217754"/>
                        </a:cubicBezTo>
                        <a:cubicBezTo>
                          <a:pt x="442352" y="218488"/>
                          <a:pt x="443674" y="218619"/>
                          <a:pt x="444713" y="218028"/>
                        </a:cubicBezTo>
                        <a:close/>
                        <a:moveTo>
                          <a:pt x="438466" y="212329"/>
                        </a:moveTo>
                        <a:cubicBezTo>
                          <a:pt x="425622" y="211312"/>
                          <a:pt x="415669" y="210767"/>
                          <a:pt x="411428" y="210556"/>
                        </a:cubicBezTo>
                        <a:cubicBezTo>
                          <a:pt x="409318" y="204996"/>
                          <a:pt x="407325" y="199391"/>
                          <a:pt x="405401" y="193763"/>
                        </a:cubicBezTo>
                        <a:cubicBezTo>
                          <a:pt x="412291" y="191610"/>
                          <a:pt x="418958" y="188655"/>
                          <a:pt x="425597" y="185817"/>
                        </a:cubicBezTo>
                        <a:lnTo>
                          <a:pt x="438466" y="212329"/>
                        </a:lnTo>
                        <a:close/>
                        <a:moveTo>
                          <a:pt x="305909" y="79267"/>
                        </a:moveTo>
                        <a:cubicBezTo>
                          <a:pt x="310894" y="65278"/>
                          <a:pt x="312633" y="46202"/>
                          <a:pt x="302677" y="34049"/>
                        </a:cubicBezTo>
                        <a:cubicBezTo>
                          <a:pt x="303136" y="32956"/>
                          <a:pt x="303884" y="32031"/>
                          <a:pt x="304524" y="30951"/>
                        </a:cubicBezTo>
                        <a:cubicBezTo>
                          <a:pt x="321839" y="45808"/>
                          <a:pt x="321730" y="73365"/>
                          <a:pt x="315640" y="93669"/>
                        </a:cubicBezTo>
                        <a:cubicBezTo>
                          <a:pt x="314529" y="89529"/>
                          <a:pt x="314989" y="84438"/>
                          <a:pt x="311471" y="81448"/>
                        </a:cubicBezTo>
                        <a:cubicBezTo>
                          <a:pt x="308804" y="79361"/>
                          <a:pt x="306232" y="80820"/>
                          <a:pt x="304524" y="83033"/>
                        </a:cubicBezTo>
                        <a:cubicBezTo>
                          <a:pt x="304890" y="81762"/>
                          <a:pt x="305361" y="80512"/>
                          <a:pt x="305909" y="79267"/>
                        </a:cubicBezTo>
                        <a:close/>
                        <a:moveTo>
                          <a:pt x="221059" y="47744"/>
                        </a:moveTo>
                        <a:cubicBezTo>
                          <a:pt x="221602" y="38221"/>
                          <a:pt x="223655" y="26728"/>
                          <a:pt x="232966" y="21948"/>
                        </a:cubicBezTo>
                        <a:cubicBezTo>
                          <a:pt x="232769" y="24373"/>
                          <a:pt x="232486" y="26785"/>
                          <a:pt x="232072" y="29181"/>
                        </a:cubicBezTo>
                        <a:cubicBezTo>
                          <a:pt x="231578" y="28170"/>
                          <a:pt x="230191" y="24016"/>
                          <a:pt x="229100" y="26426"/>
                        </a:cubicBezTo>
                        <a:cubicBezTo>
                          <a:pt x="234083" y="56184"/>
                          <a:pt x="282349" y="66632"/>
                          <a:pt x="298651" y="90248"/>
                        </a:cubicBezTo>
                        <a:cubicBezTo>
                          <a:pt x="282072" y="81645"/>
                          <a:pt x="272661" y="77205"/>
                          <a:pt x="265360" y="99197"/>
                        </a:cubicBezTo>
                        <a:cubicBezTo>
                          <a:pt x="253984" y="82488"/>
                          <a:pt x="235190" y="72976"/>
                          <a:pt x="223406" y="56590"/>
                        </a:cubicBezTo>
                        <a:cubicBezTo>
                          <a:pt x="220545" y="53980"/>
                          <a:pt x="220354" y="51387"/>
                          <a:pt x="221059" y="47744"/>
                        </a:cubicBezTo>
                        <a:close/>
                        <a:moveTo>
                          <a:pt x="279785" y="87958"/>
                        </a:moveTo>
                        <a:cubicBezTo>
                          <a:pt x="279585" y="87927"/>
                          <a:pt x="279428" y="87876"/>
                          <a:pt x="279785" y="87958"/>
                        </a:cubicBezTo>
                        <a:lnTo>
                          <a:pt x="279785" y="87958"/>
                        </a:lnTo>
                        <a:close/>
                        <a:moveTo>
                          <a:pt x="187329" y="69898"/>
                        </a:moveTo>
                        <a:cubicBezTo>
                          <a:pt x="195413" y="61735"/>
                          <a:pt x="204650" y="55239"/>
                          <a:pt x="214352" y="49166"/>
                        </a:cubicBezTo>
                        <a:cubicBezTo>
                          <a:pt x="213347" y="54479"/>
                          <a:pt x="216160" y="58757"/>
                          <a:pt x="219612" y="62474"/>
                        </a:cubicBezTo>
                        <a:cubicBezTo>
                          <a:pt x="232284" y="79235"/>
                          <a:pt x="251894" y="89121"/>
                          <a:pt x="264269" y="106181"/>
                        </a:cubicBezTo>
                        <a:cubicBezTo>
                          <a:pt x="265397" y="107680"/>
                          <a:pt x="268421" y="107940"/>
                          <a:pt x="268826" y="105584"/>
                        </a:cubicBezTo>
                        <a:cubicBezTo>
                          <a:pt x="270083" y="99288"/>
                          <a:pt x="272687" y="91805"/>
                          <a:pt x="278415" y="88275"/>
                        </a:cubicBezTo>
                        <a:cubicBezTo>
                          <a:pt x="281973" y="87447"/>
                          <a:pt x="288226" y="91525"/>
                          <a:pt x="291766" y="92884"/>
                        </a:cubicBezTo>
                        <a:cubicBezTo>
                          <a:pt x="293919" y="93949"/>
                          <a:pt x="296044" y="95088"/>
                          <a:pt x="297991" y="96496"/>
                        </a:cubicBezTo>
                        <a:cubicBezTo>
                          <a:pt x="299022" y="97307"/>
                          <a:pt x="300218" y="98335"/>
                          <a:pt x="301566" y="97747"/>
                        </a:cubicBezTo>
                        <a:cubicBezTo>
                          <a:pt x="313458" y="122314"/>
                          <a:pt x="320320" y="149331"/>
                          <a:pt x="329491" y="175189"/>
                        </a:cubicBezTo>
                        <a:cubicBezTo>
                          <a:pt x="331387" y="180532"/>
                          <a:pt x="335536" y="189532"/>
                          <a:pt x="335536" y="189532"/>
                        </a:cubicBezTo>
                        <a:cubicBezTo>
                          <a:pt x="341572" y="204437"/>
                          <a:pt x="348868" y="218713"/>
                          <a:pt x="358930" y="231623"/>
                        </a:cubicBezTo>
                        <a:cubicBezTo>
                          <a:pt x="360318" y="233170"/>
                          <a:pt x="362882" y="231169"/>
                          <a:pt x="361799" y="229410"/>
                        </a:cubicBezTo>
                        <a:cubicBezTo>
                          <a:pt x="348799" y="211701"/>
                          <a:pt x="340501" y="191816"/>
                          <a:pt x="333343" y="171389"/>
                        </a:cubicBezTo>
                        <a:cubicBezTo>
                          <a:pt x="331918" y="167323"/>
                          <a:pt x="329174" y="161061"/>
                          <a:pt x="329174" y="161061"/>
                        </a:cubicBezTo>
                        <a:cubicBezTo>
                          <a:pt x="321845" y="139203"/>
                          <a:pt x="315149" y="117032"/>
                          <a:pt x="304815" y="96490"/>
                        </a:cubicBezTo>
                        <a:cubicBezTo>
                          <a:pt x="305858" y="92970"/>
                          <a:pt x="305983" y="89095"/>
                          <a:pt x="308613" y="86128"/>
                        </a:cubicBezTo>
                        <a:cubicBezTo>
                          <a:pt x="310469" y="91602"/>
                          <a:pt x="309521" y="98118"/>
                          <a:pt x="314843" y="101810"/>
                        </a:cubicBezTo>
                        <a:cubicBezTo>
                          <a:pt x="316040" y="102669"/>
                          <a:pt x="318013" y="102047"/>
                          <a:pt x="318675" y="100805"/>
                        </a:cubicBezTo>
                        <a:cubicBezTo>
                          <a:pt x="326976" y="83561"/>
                          <a:pt x="326939" y="62386"/>
                          <a:pt x="320848" y="44426"/>
                        </a:cubicBezTo>
                        <a:cubicBezTo>
                          <a:pt x="324660" y="44380"/>
                          <a:pt x="328438" y="43983"/>
                          <a:pt x="332287" y="44323"/>
                        </a:cubicBezTo>
                        <a:cubicBezTo>
                          <a:pt x="354433" y="46927"/>
                          <a:pt x="366351" y="62937"/>
                          <a:pt x="375040" y="81671"/>
                        </a:cubicBezTo>
                        <a:cubicBezTo>
                          <a:pt x="378129" y="88335"/>
                          <a:pt x="384351" y="102215"/>
                          <a:pt x="384351" y="102215"/>
                        </a:cubicBezTo>
                        <a:cubicBezTo>
                          <a:pt x="396483" y="128282"/>
                          <a:pt x="410006" y="153694"/>
                          <a:pt x="422210" y="179732"/>
                        </a:cubicBezTo>
                        <a:cubicBezTo>
                          <a:pt x="416037" y="182633"/>
                          <a:pt x="409595" y="184926"/>
                          <a:pt x="403293" y="187499"/>
                        </a:cubicBezTo>
                        <a:cubicBezTo>
                          <a:pt x="393571" y="159565"/>
                          <a:pt x="386681" y="130523"/>
                          <a:pt x="378463" y="102215"/>
                        </a:cubicBezTo>
                        <a:cubicBezTo>
                          <a:pt x="378463" y="102215"/>
                          <a:pt x="378055" y="99408"/>
                          <a:pt x="377512" y="98009"/>
                        </a:cubicBezTo>
                        <a:cubicBezTo>
                          <a:pt x="376827" y="96247"/>
                          <a:pt x="376245" y="93332"/>
                          <a:pt x="374780" y="92024"/>
                        </a:cubicBezTo>
                        <a:cubicBezTo>
                          <a:pt x="372116" y="89652"/>
                          <a:pt x="368270" y="93112"/>
                          <a:pt x="370051" y="95691"/>
                        </a:cubicBezTo>
                        <a:cubicBezTo>
                          <a:pt x="370720" y="97218"/>
                          <a:pt x="371348" y="98760"/>
                          <a:pt x="371967" y="100308"/>
                        </a:cubicBezTo>
                        <a:lnTo>
                          <a:pt x="371907" y="100308"/>
                        </a:lnTo>
                        <a:cubicBezTo>
                          <a:pt x="382481" y="140220"/>
                          <a:pt x="392966" y="180326"/>
                          <a:pt x="408062" y="218808"/>
                        </a:cubicBezTo>
                        <a:cubicBezTo>
                          <a:pt x="412054" y="228901"/>
                          <a:pt x="416185" y="239386"/>
                          <a:pt x="422807" y="248098"/>
                        </a:cubicBezTo>
                        <a:cubicBezTo>
                          <a:pt x="404844" y="256941"/>
                          <a:pt x="398428" y="258608"/>
                          <a:pt x="378823" y="256575"/>
                        </a:cubicBezTo>
                        <a:cubicBezTo>
                          <a:pt x="379762" y="248580"/>
                          <a:pt x="372587" y="241953"/>
                          <a:pt x="366488" y="237836"/>
                        </a:cubicBezTo>
                        <a:cubicBezTo>
                          <a:pt x="361206" y="233347"/>
                          <a:pt x="353493" y="230398"/>
                          <a:pt x="345073" y="228933"/>
                        </a:cubicBezTo>
                        <a:cubicBezTo>
                          <a:pt x="341961" y="228390"/>
                          <a:pt x="335536" y="227474"/>
                          <a:pt x="335536" y="227474"/>
                        </a:cubicBezTo>
                        <a:cubicBezTo>
                          <a:pt x="324597" y="226808"/>
                          <a:pt x="313496" y="228707"/>
                          <a:pt x="303719" y="233281"/>
                        </a:cubicBezTo>
                        <a:cubicBezTo>
                          <a:pt x="274589" y="243378"/>
                          <a:pt x="244796" y="227551"/>
                          <a:pt x="215234" y="227682"/>
                        </a:cubicBezTo>
                        <a:cubicBezTo>
                          <a:pt x="217079" y="223956"/>
                          <a:pt x="217367" y="219639"/>
                          <a:pt x="218067" y="215587"/>
                        </a:cubicBezTo>
                        <a:cubicBezTo>
                          <a:pt x="220334" y="191827"/>
                          <a:pt x="220377" y="167683"/>
                          <a:pt x="219552" y="143832"/>
                        </a:cubicBezTo>
                        <a:cubicBezTo>
                          <a:pt x="219146" y="136391"/>
                          <a:pt x="218444" y="129821"/>
                          <a:pt x="217342" y="122662"/>
                        </a:cubicBezTo>
                        <a:cubicBezTo>
                          <a:pt x="216891" y="119747"/>
                          <a:pt x="212293" y="120521"/>
                          <a:pt x="212291" y="123345"/>
                        </a:cubicBezTo>
                        <a:cubicBezTo>
                          <a:pt x="211374" y="145665"/>
                          <a:pt x="210626" y="168002"/>
                          <a:pt x="210003" y="190340"/>
                        </a:cubicBezTo>
                        <a:cubicBezTo>
                          <a:pt x="209652" y="202364"/>
                          <a:pt x="208404" y="214502"/>
                          <a:pt x="210203" y="226463"/>
                        </a:cubicBezTo>
                        <a:cubicBezTo>
                          <a:pt x="189999" y="223616"/>
                          <a:pt x="170340" y="231023"/>
                          <a:pt x="151289" y="236742"/>
                        </a:cubicBezTo>
                        <a:cubicBezTo>
                          <a:pt x="148659" y="237736"/>
                          <a:pt x="145678" y="238156"/>
                          <a:pt x="143354" y="239723"/>
                        </a:cubicBezTo>
                        <a:cubicBezTo>
                          <a:pt x="142546" y="240551"/>
                          <a:pt x="143777" y="241770"/>
                          <a:pt x="144619" y="240988"/>
                        </a:cubicBezTo>
                        <a:cubicBezTo>
                          <a:pt x="165106" y="238801"/>
                          <a:pt x="185116" y="229478"/>
                          <a:pt x="206149" y="230794"/>
                        </a:cubicBezTo>
                        <a:cubicBezTo>
                          <a:pt x="213433" y="231654"/>
                          <a:pt x="220848" y="231371"/>
                          <a:pt x="228118" y="232553"/>
                        </a:cubicBezTo>
                        <a:cubicBezTo>
                          <a:pt x="247586" y="234863"/>
                          <a:pt x="266636" y="241611"/>
                          <a:pt x="286378" y="241334"/>
                        </a:cubicBezTo>
                        <a:cubicBezTo>
                          <a:pt x="293006" y="241288"/>
                          <a:pt x="299476" y="239817"/>
                          <a:pt x="305635" y="237567"/>
                        </a:cubicBezTo>
                        <a:cubicBezTo>
                          <a:pt x="312916" y="233781"/>
                          <a:pt x="320994" y="232091"/>
                          <a:pt x="329177" y="231994"/>
                        </a:cubicBezTo>
                        <a:cubicBezTo>
                          <a:pt x="329177" y="231994"/>
                          <a:pt x="341015" y="232890"/>
                          <a:pt x="346675" y="234261"/>
                        </a:cubicBezTo>
                        <a:cubicBezTo>
                          <a:pt x="352828" y="235646"/>
                          <a:pt x="359221" y="237385"/>
                          <a:pt x="363930" y="241836"/>
                        </a:cubicBezTo>
                        <a:cubicBezTo>
                          <a:pt x="368978" y="245262"/>
                          <a:pt x="374280" y="250234"/>
                          <a:pt x="375057" y="256515"/>
                        </a:cubicBezTo>
                        <a:cubicBezTo>
                          <a:pt x="370508" y="249814"/>
                          <a:pt x="364349" y="244106"/>
                          <a:pt x="357719" y="239629"/>
                        </a:cubicBezTo>
                        <a:cubicBezTo>
                          <a:pt x="356132" y="238727"/>
                          <a:pt x="354707" y="241165"/>
                          <a:pt x="356289" y="242076"/>
                        </a:cubicBezTo>
                        <a:cubicBezTo>
                          <a:pt x="362528" y="246308"/>
                          <a:pt x="372236" y="255216"/>
                          <a:pt x="374617" y="262403"/>
                        </a:cubicBezTo>
                        <a:cubicBezTo>
                          <a:pt x="375268" y="264936"/>
                          <a:pt x="373572" y="265758"/>
                          <a:pt x="371468" y="266595"/>
                        </a:cubicBezTo>
                        <a:cubicBezTo>
                          <a:pt x="371145" y="266746"/>
                          <a:pt x="370754" y="266809"/>
                          <a:pt x="370437" y="266855"/>
                        </a:cubicBezTo>
                        <a:cubicBezTo>
                          <a:pt x="370988" y="261661"/>
                          <a:pt x="362536" y="255276"/>
                          <a:pt x="359324" y="252435"/>
                        </a:cubicBezTo>
                        <a:cubicBezTo>
                          <a:pt x="356306" y="249982"/>
                          <a:pt x="353162" y="247513"/>
                          <a:pt x="349767" y="245594"/>
                        </a:cubicBezTo>
                        <a:cubicBezTo>
                          <a:pt x="348177" y="244697"/>
                          <a:pt x="346752" y="247136"/>
                          <a:pt x="348337" y="248041"/>
                        </a:cubicBezTo>
                        <a:cubicBezTo>
                          <a:pt x="353094" y="250719"/>
                          <a:pt x="367059" y="261058"/>
                          <a:pt x="367579" y="266412"/>
                        </a:cubicBezTo>
                        <a:cubicBezTo>
                          <a:pt x="367510" y="267640"/>
                          <a:pt x="365763" y="267880"/>
                          <a:pt x="364709" y="267608"/>
                        </a:cubicBezTo>
                        <a:cubicBezTo>
                          <a:pt x="363615" y="267329"/>
                          <a:pt x="362776" y="266483"/>
                          <a:pt x="361919" y="265801"/>
                        </a:cubicBezTo>
                        <a:cubicBezTo>
                          <a:pt x="359649" y="264014"/>
                          <a:pt x="356825" y="261698"/>
                          <a:pt x="354484" y="260473"/>
                        </a:cubicBezTo>
                        <a:cubicBezTo>
                          <a:pt x="354247" y="260282"/>
                          <a:pt x="353984" y="260227"/>
                          <a:pt x="353739" y="260262"/>
                        </a:cubicBezTo>
                        <a:cubicBezTo>
                          <a:pt x="350215" y="256955"/>
                          <a:pt x="345907" y="254380"/>
                          <a:pt x="341338" y="253029"/>
                        </a:cubicBezTo>
                        <a:cubicBezTo>
                          <a:pt x="339199" y="252395"/>
                          <a:pt x="338369" y="255607"/>
                          <a:pt x="340427" y="256336"/>
                        </a:cubicBezTo>
                        <a:cubicBezTo>
                          <a:pt x="348396" y="259508"/>
                          <a:pt x="358133" y="267574"/>
                          <a:pt x="356948" y="277023"/>
                        </a:cubicBezTo>
                        <a:cubicBezTo>
                          <a:pt x="351974" y="271812"/>
                          <a:pt x="345944" y="267700"/>
                          <a:pt x="339756" y="264062"/>
                        </a:cubicBezTo>
                        <a:cubicBezTo>
                          <a:pt x="338440" y="263317"/>
                          <a:pt x="337589" y="262243"/>
                          <a:pt x="335999" y="261866"/>
                        </a:cubicBezTo>
                        <a:lnTo>
                          <a:pt x="335542" y="261781"/>
                        </a:lnTo>
                        <a:cubicBezTo>
                          <a:pt x="334137" y="261578"/>
                          <a:pt x="332789" y="261704"/>
                          <a:pt x="331601" y="262335"/>
                        </a:cubicBezTo>
                        <a:cubicBezTo>
                          <a:pt x="325802" y="262769"/>
                          <a:pt x="320003" y="263003"/>
                          <a:pt x="314189" y="262712"/>
                        </a:cubicBezTo>
                        <a:cubicBezTo>
                          <a:pt x="312485" y="262629"/>
                          <a:pt x="310646" y="262620"/>
                          <a:pt x="309001" y="262101"/>
                        </a:cubicBezTo>
                        <a:cubicBezTo>
                          <a:pt x="308327" y="261886"/>
                          <a:pt x="307771" y="262046"/>
                          <a:pt x="307374" y="262395"/>
                        </a:cubicBezTo>
                        <a:cubicBezTo>
                          <a:pt x="298191" y="263014"/>
                          <a:pt x="289028" y="264176"/>
                          <a:pt x="279825" y="264667"/>
                        </a:cubicBezTo>
                        <a:cubicBezTo>
                          <a:pt x="276230" y="265161"/>
                          <a:pt x="272261" y="264699"/>
                          <a:pt x="268744" y="264836"/>
                        </a:cubicBezTo>
                        <a:cubicBezTo>
                          <a:pt x="264906" y="265176"/>
                          <a:pt x="261080" y="265644"/>
                          <a:pt x="257248" y="266052"/>
                        </a:cubicBezTo>
                        <a:cubicBezTo>
                          <a:pt x="222707" y="268556"/>
                          <a:pt x="170234" y="278173"/>
                          <a:pt x="139990" y="259111"/>
                        </a:cubicBezTo>
                        <a:cubicBezTo>
                          <a:pt x="141364" y="256321"/>
                          <a:pt x="141033" y="252238"/>
                          <a:pt x="141004" y="249457"/>
                        </a:cubicBezTo>
                        <a:cubicBezTo>
                          <a:pt x="141432" y="215141"/>
                          <a:pt x="141389" y="180632"/>
                          <a:pt x="146061" y="146573"/>
                        </a:cubicBezTo>
                        <a:cubicBezTo>
                          <a:pt x="150829" y="117543"/>
                          <a:pt x="167539" y="91179"/>
                          <a:pt x="187329" y="69898"/>
                        </a:cubicBezTo>
                        <a:close/>
                        <a:moveTo>
                          <a:pt x="137952" y="266409"/>
                        </a:moveTo>
                        <a:cubicBezTo>
                          <a:pt x="137786" y="264656"/>
                          <a:pt x="137358" y="262883"/>
                          <a:pt x="137549" y="261127"/>
                        </a:cubicBezTo>
                        <a:cubicBezTo>
                          <a:pt x="165243" y="284549"/>
                          <a:pt x="218615" y="274010"/>
                          <a:pt x="252582" y="271903"/>
                        </a:cubicBezTo>
                        <a:cubicBezTo>
                          <a:pt x="259404" y="271023"/>
                          <a:pt x="266228" y="271021"/>
                          <a:pt x="272918" y="269193"/>
                        </a:cubicBezTo>
                        <a:cubicBezTo>
                          <a:pt x="275788" y="269844"/>
                          <a:pt x="278732" y="270321"/>
                          <a:pt x="281673" y="270741"/>
                        </a:cubicBezTo>
                        <a:cubicBezTo>
                          <a:pt x="277738" y="290237"/>
                          <a:pt x="256563" y="285937"/>
                          <a:pt x="241801" y="283501"/>
                        </a:cubicBezTo>
                        <a:cubicBezTo>
                          <a:pt x="214509" y="280518"/>
                          <a:pt x="186809" y="281314"/>
                          <a:pt x="159727" y="276346"/>
                        </a:cubicBezTo>
                        <a:cubicBezTo>
                          <a:pt x="152514" y="275027"/>
                          <a:pt x="145407" y="273037"/>
                          <a:pt x="138120" y="272211"/>
                        </a:cubicBezTo>
                        <a:cubicBezTo>
                          <a:pt x="138334" y="270278"/>
                          <a:pt x="138129" y="268379"/>
                          <a:pt x="137952" y="266409"/>
                        </a:cubicBezTo>
                        <a:close/>
                        <a:moveTo>
                          <a:pt x="240464" y="289900"/>
                        </a:moveTo>
                        <a:cubicBezTo>
                          <a:pt x="255749" y="292250"/>
                          <a:pt x="277995" y="295945"/>
                          <a:pt x="285230" y="278070"/>
                        </a:cubicBezTo>
                        <a:cubicBezTo>
                          <a:pt x="292417" y="279224"/>
                          <a:pt x="299382" y="280580"/>
                          <a:pt x="306608" y="281220"/>
                        </a:cubicBezTo>
                        <a:cubicBezTo>
                          <a:pt x="306149" y="309839"/>
                          <a:pt x="305364" y="338467"/>
                          <a:pt x="305466" y="367095"/>
                        </a:cubicBezTo>
                        <a:cubicBezTo>
                          <a:pt x="305475" y="371675"/>
                          <a:pt x="305352" y="376206"/>
                          <a:pt x="303765" y="380538"/>
                        </a:cubicBezTo>
                        <a:cubicBezTo>
                          <a:pt x="273349" y="375718"/>
                          <a:pt x="243074" y="369730"/>
                          <a:pt x="212528" y="365827"/>
                        </a:cubicBezTo>
                        <a:cubicBezTo>
                          <a:pt x="198491" y="332636"/>
                          <a:pt x="177872" y="300990"/>
                          <a:pt x="149893" y="281445"/>
                        </a:cubicBezTo>
                        <a:cubicBezTo>
                          <a:pt x="179605" y="288113"/>
                          <a:pt x="210272" y="287522"/>
                          <a:pt x="240464" y="289900"/>
                        </a:cubicBezTo>
                        <a:close/>
                        <a:moveTo>
                          <a:pt x="286344" y="274541"/>
                        </a:moveTo>
                        <a:cubicBezTo>
                          <a:pt x="286592" y="273528"/>
                          <a:pt x="286787" y="272500"/>
                          <a:pt x="286944" y="271466"/>
                        </a:cubicBezTo>
                        <a:cubicBezTo>
                          <a:pt x="293460" y="272397"/>
                          <a:pt x="300018" y="273268"/>
                          <a:pt x="306534" y="274147"/>
                        </a:cubicBezTo>
                        <a:cubicBezTo>
                          <a:pt x="306563" y="275238"/>
                          <a:pt x="306583" y="276297"/>
                          <a:pt x="306586" y="277374"/>
                        </a:cubicBezTo>
                        <a:cubicBezTo>
                          <a:pt x="299850" y="276129"/>
                          <a:pt x="293068" y="276000"/>
                          <a:pt x="286344" y="274541"/>
                        </a:cubicBezTo>
                        <a:close/>
                        <a:moveTo>
                          <a:pt x="306483" y="269896"/>
                        </a:moveTo>
                        <a:cubicBezTo>
                          <a:pt x="300735" y="269168"/>
                          <a:pt x="295001" y="268202"/>
                          <a:pt x="289242" y="267531"/>
                        </a:cubicBezTo>
                        <a:cubicBezTo>
                          <a:pt x="295090" y="267055"/>
                          <a:pt x="300961" y="266709"/>
                          <a:pt x="306766" y="265830"/>
                        </a:cubicBezTo>
                        <a:cubicBezTo>
                          <a:pt x="306580" y="267163"/>
                          <a:pt x="306503" y="268525"/>
                          <a:pt x="306483" y="269896"/>
                        </a:cubicBezTo>
                        <a:close/>
                        <a:moveTo>
                          <a:pt x="133175" y="88758"/>
                        </a:moveTo>
                        <a:cubicBezTo>
                          <a:pt x="132575" y="86325"/>
                          <a:pt x="131833" y="83927"/>
                          <a:pt x="130936" y="81591"/>
                        </a:cubicBezTo>
                        <a:cubicBezTo>
                          <a:pt x="142377" y="83493"/>
                          <a:pt x="153679" y="84292"/>
                          <a:pt x="165140" y="85837"/>
                        </a:cubicBezTo>
                        <a:cubicBezTo>
                          <a:pt x="152859" y="102940"/>
                          <a:pt x="142389" y="122123"/>
                          <a:pt x="138237" y="142932"/>
                        </a:cubicBezTo>
                        <a:cubicBezTo>
                          <a:pt x="137029" y="124875"/>
                          <a:pt x="137135" y="106484"/>
                          <a:pt x="133175" y="88758"/>
                        </a:cubicBezTo>
                        <a:close/>
                        <a:moveTo>
                          <a:pt x="7014" y="477659"/>
                        </a:moveTo>
                        <a:cubicBezTo>
                          <a:pt x="2223" y="420201"/>
                          <a:pt x="14132" y="368231"/>
                          <a:pt x="36153" y="336451"/>
                        </a:cubicBezTo>
                        <a:cubicBezTo>
                          <a:pt x="-5812" y="429570"/>
                          <a:pt x="18124" y="567212"/>
                          <a:pt x="96323" y="634644"/>
                        </a:cubicBezTo>
                        <a:cubicBezTo>
                          <a:pt x="52197" y="624696"/>
                          <a:pt x="13835" y="559462"/>
                          <a:pt x="7014" y="477659"/>
                        </a:cubicBezTo>
                        <a:close/>
                        <a:moveTo>
                          <a:pt x="49893" y="320498"/>
                        </a:moveTo>
                        <a:cubicBezTo>
                          <a:pt x="69797" y="301616"/>
                          <a:pt x="97226" y="298840"/>
                          <a:pt x="120251" y="313662"/>
                        </a:cubicBezTo>
                        <a:cubicBezTo>
                          <a:pt x="120468" y="323610"/>
                          <a:pt x="121048" y="333550"/>
                          <a:pt x="121779" y="343475"/>
                        </a:cubicBezTo>
                        <a:cubicBezTo>
                          <a:pt x="122273" y="346245"/>
                          <a:pt x="121365" y="350074"/>
                          <a:pt x="123224" y="352290"/>
                        </a:cubicBezTo>
                        <a:cubicBezTo>
                          <a:pt x="123132" y="353383"/>
                          <a:pt x="124183" y="353877"/>
                          <a:pt x="125083" y="354114"/>
                        </a:cubicBezTo>
                        <a:cubicBezTo>
                          <a:pt x="124571" y="360933"/>
                          <a:pt x="124275" y="368488"/>
                          <a:pt x="126405" y="375050"/>
                        </a:cubicBezTo>
                        <a:cubicBezTo>
                          <a:pt x="125856" y="398101"/>
                          <a:pt x="125280" y="421155"/>
                          <a:pt x="124791" y="444203"/>
                        </a:cubicBezTo>
                        <a:cubicBezTo>
                          <a:pt x="121134" y="446982"/>
                          <a:pt x="120488" y="451490"/>
                          <a:pt x="118918" y="455528"/>
                        </a:cubicBezTo>
                        <a:cubicBezTo>
                          <a:pt x="116665" y="451299"/>
                          <a:pt x="111317" y="451739"/>
                          <a:pt x="107205" y="452507"/>
                        </a:cubicBezTo>
                        <a:cubicBezTo>
                          <a:pt x="96461" y="436862"/>
                          <a:pt x="89117" y="455850"/>
                          <a:pt x="88785" y="466001"/>
                        </a:cubicBezTo>
                        <a:cubicBezTo>
                          <a:pt x="88905" y="468651"/>
                          <a:pt x="89919" y="472548"/>
                          <a:pt x="91906" y="475232"/>
                        </a:cubicBezTo>
                        <a:cubicBezTo>
                          <a:pt x="92883" y="479564"/>
                          <a:pt x="96426" y="484475"/>
                          <a:pt x="100361" y="485437"/>
                        </a:cubicBezTo>
                        <a:cubicBezTo>
                          <a:pt x="105489" y="486437"/>
                          <a:pt x="108624" y="478819"/>
                          <a:pt x="110689" y="475152"/>
                        </a:cubicBezTo>
                        <a:cubicBezTo>
                          <a:pt x="113904" y="476612"/>
                          <a:pt x="118073" y="475184"/>
                          <a:pt x="120017" y="472297"/>
                        </a:cubicBezTo>
                        <a:cubicBezTo>
                          <a:pt x="122279" y="475058"/>
                          <a:pt x="124529" y="477762"/>
                          <a:pt x="127267" y="480129"/>
                        </a:cubicBezTo>
                        <a:cubicBezTo>
                          <a:pt x="127076" y="481420"/>
                          <a:pt x="127827" y="482988"/>
                          <a:pt x="129514" y="483173"/>
                        </a:cubicBezTo>
                        <a:cubicBezTo>
                          <a:pt x="134180" y="483681"/>
                          <a:pt x="139265" y="483293"/>
                          <a:pt x="141752" y="478687"/>
                        </a:cubicBezTo>
                        <a:cubicBezTo>
                          <a:pt x="143834" y="473967"/>
                          <a:pt x="144493" y="468528"/>
                          <a:pt x="144448" y="463400"/>
                        </a:cubicBezTo>
                        <a:lnTo>
                          <a:pt x="144482" y="463400"/>
                        </a:lnTo>
                        <a:lnTo>
                          <a:pt x="145141" y="445785"/>
                        </a:lnTo>
                        <a:cubicBezTo>
                          <a:pt x="167370" y="468160"/>
                          <a:pt x="138977" y="515638"/>
                          <a:pt x="122290" y="478428"/>
                        </a:cubicBezTo>
                        <a:cubicBezTo>
                          <a:pt x="121865" y="477180"/>
                          <a:pt x="120508" y="476514"/>
                          <a:pt x="119263" y="476940"/>
                        </a:cubicBezTo>
                        <a:cubicBezTo>
                          <a:pt x="118016" y="477365"/>
                          <a:pt x="117350" y="478722"/>
                          <a:pt x="117776" y="479969"/>
                        </a:cubicBezTo>
                        <a:cubicBezTo>
                          <a:pt x="121311" y="490317"/>
                          <a:pt x="128620" y="496745"/>
                          <a:pt x="136852" y="496745"/>
                        </a:cubicBezTo>
                        <a:cubicBezTo>
                          <a:pt x="142674" y="496745"/>
                          <a:pt x="148085" y="493541"/>
                          <a:pt x="152086" y="487725"/>
                        </a:cubicBezTo>
                        <a:cubicBezTo>
                          <a:pt x="163824" y="471523"/>
                          <a:pt x="156023" y="445974"/>
                          <a:pt x="145373" y="439601"/>
                        </a:cubicBezTo>
                        <a:lnTo>
                          <a:pt x="147614" y="379652"/>
                        </a:lnTo>
                        <a:cubicBezTo>
                          <a:pt x="155695" y="380837"/>
                          <a:pt x="163733" y="383282"/>
                          <a:pt x="171907" y="383356"/>
                        </a:cubicBezTo>
                        <a:cubicBezTo>
                          <a:pt x="198402" y="443926"/>
                          <a:pt x="197220" y="547992"/>
                          <a:pt x="165092" y="596919"/>
                        </a:cubicBezTo>
                        <a:cubicBezTo>
                          <a:pt x="164880" y="596348"/>
                          <a:pt x="164395" y="595880"/>
                          <a:pt x="163576" y="595708"/>
                        </a:cubicBezTo>
                        <a:cubicBezTo>
                          <a:pt x="151026" y="592899"/>
                          <a:pt x="138183" y="591185"/>
                          <a:pt x="125782" y="587808"/>
                        </a:cubicBezTo>
                        <a:cubicBezTo>
                          <a:pt x="117056" y="586100"/>
                          <a:pt x="103011" y="579110"/>
                          <a:pt x="97531" y="589601"/>
                        </a:cubicBezTo>
                        <a:cubicBezTo>
                          <a:pt x="95644" y="593827"/>
                          <a:pt x="96492" y="601485"/>
                          <a:pt x="101769" y="602618"/>
                        </a:cubicBezTo>
                        <a:cubicBezTo>
                          <a:pt x="105178" y="604520"/>
                          <a:pt x="109527" y="605119"/>
                          <a:pt x="113201" y="606267"/>
                        </a:cubicBezTo>
                        <a:cubicBezTo>
                          <a:pt x="119475" y="608220"/>
                          <a:pt x="125785" y="610085"/>
                          <a:pt x="132078" y="611947"/>
                        </a:cubicBezTo>
                        <a:cubicBezTo>
                          <a:pt x="137700" y="614245"/>
                          <a:pt x="143497" y="616592"/>
                          <a:pt x="149701" y="617021"/>
                        </a:cubicBezTo>
                        <a:cubicBezTo>
                          <a:pt x="136792" y="629921"/>
                          <a:pt x="121608" y="636914"/>
                          <a:pt x="104621" y="635852"/>
                        </a:cubicBezTo>
                        <a:lnTo>
                          <a:pt x="104644" y="635817"/>
                        </a:lnTo>
                        <a:cubicBezTo>
                          <a:pt x="18241" y="573982"/>
                          <a:pt x="-5707" y="401116"/>
                          <a:pt x="49901" y="320501"/>
                        </a:cubicBezTo>
                        <a:lnTo>
                          <a:pt x="49893" y="320498"/>
                        </a:lnTo>
                        <a:close/>
                        <a:moveTo>
                          <a:pt x="119769" y="294574"/>
                        </a:moveTo>
                        <a:cubicBezTo>
                          <a:pt x="119823" y="296859"/>
                          <a:pt x="119897" y="299143"/>
                          <a:pt x="119954" y="301427"/>
                        </a:cubicBezTo>
                        <a:cubicBezTo>
                          <a:pt x="103873" y="292784"/>
                          <a:pt x="85770" y="290931"/>
                          <a:pt x="69063" y="297333"/>
                        </a:cubicBezTo>
                        <a:cubicBezTo>
                          <a:pt x="83963" y="287111"/>
                          <a:pt x="102380" y="283561"/>
                          <a:pt x="119635" y="289084"/>
                        </a:cubicBezTo>
                        <a:cubicBezTo>
                          <a:pt x="119523" y="290905"/>
                          <a:pt x="119726" y="292830"/>
                          <a:pt x="119769" y="294574"/>
                        </a:cubicBezTo>
                        <a:close/>
                        <a:moveTo>
                          <a:pt x="158502" y="618151"/>
                        </a:moveTo>
                        <a:cubicBezTo>
                          <a:pt x="158641" y="618722"/>
                          <a:pt x="159070" y="619242"/>
                          <a:pt x="159795" y="619328"/>
                        </a:cubicBezTo>
                        <a:cubicBezTo>
                          <a:pt x="166505" y="620093"/>
                          <a:pt x="173198" y="621021"/>
                          <a:pt x="179922" y="621643"/>
                        </a:cubicBezTo>
                        <a:cubicBezTo>
                          <a:pt x="163453" y="640689"/>
                          <a:pt x="144739" y="647873"/>
                          <a:pt x="120631" y="641011"/>
                        </a:cubicBezTo>
                        <a:cubicBezTo>
                          <a:pt x="134682" y="638179"/>
                          <a:pt x="147483" y="630178"/>
                          <a:pt x="158502" y="618151"/>
                        </a:cubicBezTo>
                        <a:close/>
                        <a:moveTo>
                          <a:pt x="151891" y="613951"/>
                        </a:moveTo>
                        <a:cubicBezTo>
                          <a:pt x="146195" y="611041"/>
                          <a:pt x="139611" y="609974"/>
                          <a:pt x="133360" y="609163"/>
                        </a:cubicBezTo>
                        <a:cubicBezTo>
                          <a:pt x="123307" y="606853"/>
                          <a:pt x="113550" y="603583"/>
                          <a:pt x="103639" y="600748"/>
                        </a:cubicBezTo>
                        <a:cubicBezTo>
                          <a:pt x="103422" y="599460"/>
                          <a:pt x="102437" y="598532"/>
                          <a:pt x="101923" y="597356"/>
                        </a:cubicBezTo>
                        <a:cubicBezTo>
                          <a:pt x="100601" y="594415"/>
                          <a:pt x="101215" y="590137"/>
                          <a:pt x="104618" y="589010"/>
                        </a:cubicBezTo>
                        <a:cubicBezTo>
                          <a:pt x="110226" y="587536"/>
                          <a:pt x="115931" y="590626"/>
                          <a:pt x="121445" y="591442"/>
                        </a:cubicBezTo>
                        <a:cubicBezTo>
                          <a:pt x="135433" y="593695"/>
                          <a:pt x="149056" y="598172"/>
                          <a:pt x="163107" y="600123"/>
                        </a:cubicBezTo>
                        <a:cubicBezTo>
                          <a:pt x="159758" y="605348"/>
                          <a:pt x="156154" y="610088"/>
                          <a:pt x="152317" y="614279"/>
                        </a:cubicBezTo>
                        <a:cubicBezTo>
                          <a:pt x="152203" y="614154"/>
                          <a:pt x="152063" y="614040"/>
                          <a:pt x="151891" y="613951"/>
                        </a:cubicBezTo>
                        <a:close/>
                        <a:moveTo>
                          <a:pt x="178192" y="618839"/>
                        </a:moveTo>
                        <a:cubicBezTo>
                          <a:pt x="172127" y="617988"/>
                          <a:pt x="166037" y="617309"/>
                          <a:pt x="159961" y="616515"/>
                        </a:cubicBezTo>
                        <a:cubicBezTo>
                          <a:pt x="163998" y="611909"/>
                          <a:pt x="167787" y="606756"/>
                          <a:pt x="171299" y="601108"/>
                        </a:cubicBezTo>
                        <a:cubicBezTo>
                          <a:pt x="177364" y="603880"/>
                          <a:pt x="184337" y="603983"/>
                          <a:pt x="190764" y="605613"/>
                        </a:cubicBezTo>
                        <a:lnTo>
                          <a:pt x="181598" y="619365"/>
                        </a:lnTo>
                        <a:cubicBezTo>
                          <a:pt x="180476" y="619088"/>
                          <a:pt x="179254" y="619008"/>
                          <a:pt x="178192" y="618839"/>
                        </a:cubicBezTo>
                        <a:close/>
                        <a:moveTo>
                          <a:pt x="190427" y="601439"/>
                        </a:moveTo>
                        <a:cubicBezTo>
                          <a:pt x="184585" y="600708"/>
                          <a:pt x="178735" y="598618"/>
                          <a:pt x="172750" y="598721"/>
                        </a:cubicBezTo>
                        <a:cubicBezTo>
                          <a:pt x="204924" y="549060"/>
                          <a:pt x="207705" y="447407"/>
                          <a:pt x="182621" y="384898"/>
                        </a:cubicBezTo>
                        <a:cubicBezTo>
                          <a:pt x="185248" y="386382"/>
                          <a:pt x="188625" y="386402"/>
                          <a:pt x="191552" y="387088"/>
                        </a:cubicBezTo>
                        <a:cubicBezTo>
                          <a:pt x="194368" y="387487"/>
                          <a:pt x="197189" y="388321"/>
                          <a:pt x="200018" y="388487"/>
                        </a:cubicBezTo>
                        <a:cubicBezTo>
                          <a:pt x="223980" y="452512"/>
                          <a:pt x="225154" y="553877"/>
                          <a:pt x="193154" y="601936"/>
                        </a:cubicBezTo>
                        <a:cubicBezTo>
                          <a:pt x="192277" y="601719"/>
                          <a:pt x="191355" y="601604"/>
                          <a:pt x="190427" y="601439"/>
                        </a:cubicBezTo>
                        <a:close/>
                        <a:moveTo>
                          <a:pt x="197226" y="384943"/>
                        </a:moveTo>
                        <a:cubicBezTo>
                          <a:pt x="193517" y="384769"/>
                          <a:pt x="184888" y="381800"/>
                          <a:pt x="182141" y="383607"/>
                        </a:cubicBezTo>
                        <a:cubicBezTo>
                          <a:pt x="179269" y="375898"/>
                          <a:pt x="176093" y="368551"/>
                          <a:pt x="172653" y="361624"/>
                        </a:cubicBezTo>
                        <a:cubicBezTo>
                          <a:pt x="178472" y="363434"/>
                          <a:pt x="184697" y="363828"/>
                          <a:pt x="190641" y="365207"/>
                        </a:cubicBezTo>
                        <a:cubicBezTo>
                          <a:pt x="193565" y="371569"/>
                          <a:pt x="196301" y="378228"/>
                          <a:pt x="198825" y="385155"/>
                        </a:cubicBezTo>
                        <a:cubicBezTo>
                          <a:pt x="198285" y="385078"/>
                          <a:pt x="197740" y="385026"/>
                          <a:pt x="197226" y="384943"/>
                        </a:cubicBezTo>
                        <a:close/>
                        <a:moveTo>
                          <a:pt x="181667" y="360099"/>
                        </a:moveTo>
                        <a:cubicBezTo>
                          <a:pt x="178706" y="359602"/>
                          <a:pt x="174209" y="357509"/>
                          <a:pt x="171545" y="359425"/>
                        </a:cubicBezTo>
                        <a:cubicBezTo>
                          <a:pt x="158362" y="333650"/>
                          <a:pt x="141452" y="313894"/>
                          <a:pt x="122761" y="302992"/>
                        </a:cubicBezTo>
                        <a:cubicBezTo>
                          <a:pt x="122456" y="298612"/>
                          <a:pt x="122330" y="294355"/>
                          <a:pt x="122204" y="289937"/>
                        </a:cubicBezTo>
                        <a:cubicBezTo>
                          <a:pt x="147600" y="298972"/>
                          <a:pt x="171442" y="325092"/>
                          <a:pt x="188962" y="361632"/>
                        </a:cubicBezTo>
                        <a:cubicBezTo>
                          <a:pt x="186518" y="361190"/>
                          <a:pt x="184120" y="360619"/>
                          <a:pt x="181667" y="360099"/>
                        </a:cubicBezTo>
                        <a:close/>
                        <a:moveTo>
                          <a:pt x="121730" y="464254"/>
                        </a:moveTo>
                        <a:cubicBezTo>
                          <a:pt x="121499" y="462423"/>
                          <a:pt x="121017" y="460170"/>
                          <a:pt x="120208" y="458115"/>
                        </a:cubicBezTo>
                        <a:cubicBezTo>
                          <a:pt x="121670" y="456875"/>
                          <a:pt x="122316" y="454985"/>
                          <a:pt x="122952" y="453126"/>
                        </a:cubicBezTo>
                        <a:cubicBezTo>
                          <a:pt x="123695" y="450556"/>
                          <a:pt x="125205" y="448346"/>
                          <a:pt x="126736" y="446208"/>
                        </a:cubicBezTo>
                        <a:cubicBezTo>
                          <a:pt x="139334" y="448144"/>
                          <a:pt x="141749" y="464722"/>
                          <a:pt x="138171" y="474870"/>
                        </a:cubicBezTo>
                        <a:cubicBezTo>
                          <a:pt x="137021" y="478704"/>
                          <a:pt x="133774" y="478813"/>
                          <a:pt x="130419" y="478496"/>
                        </a:cubicBezTo>
                        <a:cubicBezTo>
                          <a:pt x="127844" y="475270"/>
                          <a:pt x="124046" y="473025"/>
                          <a:pt x="121162" y="470050"/>
                        </a:cubicBezTo>
                        <a:cubicBezTo>
                          <a:pt x="121819" y="468203"/>
                          <a:pt x="121970" y="466150"/>
                          <a:pt x="121730" y="464254"/>
                        </a:cubicBezTo>
                        <a:close/>
                        <a:moveTo>
                          <a:pt x="125648" y="342804"/>
                        </a:moveTo>
                        <a:cubicBezTo>
                          <a:pt x="125008" y="333844"/>
                          <a:pt x="124412" y="324878"/>
                          <a:pt x="123698" y="315924"/>
                        </a:cubicBezTo>
                        <a:cubicBezTo>
                          <a:pt x="136758" y="324978"/>
                          <a:pt x="148773" y="338884"/>
                          <a:pt x="158927" y="356407"/>
                        </a:cubicBezTo>
                        <a:cubicBezTo>
                          <a:pt x="147911" y="355039"/>
                          <a:pt x="137118" y="352044"/>
                          <a:pt x="126036" y="351259"/>
                        </a:cubicBezTo>
                        <a:cubicBezTo>
                          <a:pt x="126490" y="348515"/>
                          <a:pt x="125768" y="345577"/>
                          <a:pt x="125648" y="342804"/>
                        </a:cubicBezTo>
                        <a:close/>
                        <a:moveTo>
                          <a:pt x="139159" y="448364"/>
                        </a:moveTo>
                        <a:cubicBezTo>
                          <a:pt x="136761" y="445066"/>
                          <a:pt x="133420" y="442941"/>
                          <a:pt x="129594" y="441973"/>
                        </a:cubicBezTo>
                        <a:cubicBezTo>
                          <a:pt x="130108" y="420107"/>
                          <a:pt x="130622" y="398238"/>
                          <a:pt x="131136" y="376372"/>
                        </a:cubicBezTo>
                        <a:cubicBezTo>
                          <a:pt x="134996" y="377385"/>
                          <a:pt x="138962" y="378016"/>
                          <a:pt x="142871" y="378770"/>
                        </a:cubicBezTo>
                        <a:lnTo>
                          <a:pt x="140210" y="449948"/>
                        </a:lnTo>
                        <a:cubicBezTo>
                          <a:pt x="139879" y="449397"/>
                          <a:pt x="139528" y="448869"/>
                          <a:pt x="139159" y="448364"/>
                        </a:cubicBezTo>
                        <a:close/>
                        <a:moveTo>
                          <a:pt x="141147" y="375409"/>
                        </a:moveTo>
                        <a:cubicBezTo>
                          <a:pt x="137632" y="374773"/>
                          <a:pt x="134103" y="374070"/>
                          <a:pt x="130559" y="373608"/>
                        </a:cubicBezTo>
                        <a:cubicBezTo>
                          <a:pt x="130254" y="373302"/>
                          <a:pt x="129862" y="373102"/>
                          <a:pt x="129437" y="373005"/>
                        </a:cubicBezTo>
                        <a:cubicBezTo>
                          <a:pt x="128492" y="366992"/>
                          <a:pt x="127575" y="360944"/>
                          <a:pt x="127709" y="354834"/>
                        </a:cubicBezTo>
                        <a:cubicBezTo>
                          <a:pt x="138169" y="356541"/>
                          <a:pt x="148551" y="357780"/>
                          <a:pt x="158953" y="359742"/>
                        </a:cubicBezTo>
                        <a:cubicBezTo>
                          <a:pt x="159618" y="359865"/>
                          <a:pt x="160158" y="359622"/>
                          <a:pt x="160520" y="359222"/>
                        </a:cubicBezTo>
                        <a:cubicBezTo>
                          <a:pt x="164272" y="365975"/>
                          <a:pt x="167756" y="373231"/>
                          <a:pt x="170925" y="380926"/>
                        </a:cubicBezTo>
                        <a:cubicBezTo>
                          <a:pt x="161243" y="378185"/>
                          <a:pt x="150978" y="377577"/>
                          <a:pt x="141147" y="375409"/>
                        </a:cubicBezTo>
                        <a:close/>
                        <a:moveTo>
                          <a:pt x="110349" y="458243"/>
                        </a:moveTo>
                        <a:cubicBezTo>
                          <a:pt x="109855" y="457207"/>
                          <a:pt x="109347" y="456170"/>
                          <a:pt x="108796" y="455156"/>
                        </a:cubicBezTo>
                        <a:cubicBezTo>
                          <a:pt x="113144" y="454591"/>
                          <a:pt x="116180" y="455391"/>
                          <a:pt x="117170" y="459731"/>
                        </a:cubicBezTo>
                        <a:cubicBezTo>
                          <a:pt x="119926" y="465953"/>
                          <a:pt x="119783" y="472109"/>
                          <a:pt x="111631" y="472731"/>
                        </a:cubicBezTo>
                        <a:cubicBezTo>
                          <a:pt x="113210" y="467826"/>
                          <a:pt x="112682" y="463154"/>
                          <a:pt x="110349" y="458243"/>
                        </a:cubicBezTo>
                        <a:close/>
                        <a:moveTo>
                          <a:pt x="96960" y="478245"/>
                        </a:moveTo>
                        <a:cubicBezTo>
                          <a:pt x="107442" y="478456"/>
                          <a:pt x="106728" y="451653"/>
                          <a:pt x="93794" y="455005"/>
                        </a:cubicBezTo>
                        <a:cubicBezTo>
                          <a:pt x="95370" y="451633"/>
                          <a:pt x="98831" y="447241"/>
                          <a:pt x="102197" y="451496"/>
                        </a:cubicBezTo>
                        <a:cubicBezTo>
                          <a:pt x="105772" y="455550"/>
                          <a:pt x="108710" y="460730"/>
                          <a:pt x="109472" y="466130"/>
                        </a:cubicBezTo>
                        <a:cubicBezTo>
                          <a:pt x="109861" y="471729"/>
                          <a:pt x="107088" y="476997"/>
                          <a:pt x="103656" y="481220"/>
                        </a:cubicBezTo>
                        <a:cubicBezTo>
                          <a:pt x="101263" y="484949"/>
                          <a:pt x="97640" y="480706"/>
                          <a:pt x="96323" y="478185"/>
                        </a:cubicBezTo>
                        <a:cubicBezTo>
                          <a:pt x="96532" y="478216"/>
                          <a:pt x="96743" y="478239"/>
                          <a:pt x="96960" y="478245"/>
                        </a:cubicBezTo>
                        <a:close/>
                        <a:moveTo>
                          <a:pt x="92497" y="466001"/>
                        </a:moveTo>
                        <a:cubicBezTo>
                          <a:pt x="92292" y="463169"/>
                          <a:pt x="92669" y="461144"/>
                          <a:pt x="93968" y="458340"/>
                        </a:cubicBezTo>
                        <a:cubicBezTo>
                          <a:pt x="98337" y="458160"/>
                          <a:pt x="99693" y="461170"/>
                          <a:pt x="99810" y="465085"/>
                        </a:cubicBezTo>
                        <a:cubicBezTo>
                          <a:pt x="99930" y="466669"/>
                          <a:pt x="99847" y="475923"/>
                          <a:pt x="96392" y="473962"/>
                        </a:cubicBezTo>
                        <a:cubicBezTo>
                          <a:pt x="93948" y="472577"/>
                          <a:pt x="92749" y="468588"/>
                          <a:pt x="92497" y="466001"/>
                        </a:cubicBezTo>
                        <a:close/>
                        <a:moveTo>
                          <a:pt x="197674" y="624473"/>
                        </a:moveTo>
                        <a:cubicBezTo>
                          <a:pt x="165757" y="671712"/>
                          <a:pt x="120228" y="670664"/>
                          <a:pt x="79725" y="634604"/>
                        </a:cubicBezTo>
                        <a:cubicBezTo>
                          <a:pt x="89496" y="639661"/>
                          <a:pt x="99707" y="642310"/>
                          <a:pt x="110095" y="642150"/>
                        </a:cubicBezTo>
                        <a:cubicBezTo>
                          <a:pt x="149253" y="656519"/>
                          <a:pt x="175302" y="641020"/>
                          <a:pt x="196212" y="604563"/>
                        </a:cubicBezTo>
                        <a:cubicBezTo>
                          <a:pt x="245201" y="523799"/>
                          <a:pt x="223521" y="348892"/>
                          <a:pt x="136872" y="292516"/>
                        </a:cubicBezTo>
                        <a:cubicBezTo>
                          <a:pt x="108373" y="274967"/>
                          <a:pt x="75305" y="281445"/>
                          <a:pt x="53539" y="305725"/>
                        </a:cubicBezTo>
                        <a:lnTo>
                          <a:pt x="53573" y="305756"/>
                        </a:lnTo>
                        <a:cubicBezTo>
                          <a:pt x="43848" y="312769"/>
                          <a:pt x="35116" y="322574"/>
                          <a:pt x="27641" y="334606"/>
                        </a:cubicBezTo>
                        <a:cubicBezTo>
                          <a:pt x="59352" y="256752"/>
                          <a:pt x="125871" y="245582"/>
                          <a:pt x="179860" y="316358"/>
                        </a:cubicBezTo>
                        <a:cubicBezTo>
                          <a:pt x="239562" y="393484"/>
                          <a:pt x="254815" y="542990"/>
                          <a:pt x="197674" y="624473"/>
                        </a:cubicBezTo>
                        <a:close/>
                        <a:moveTo>
                          <a:pt x="308821" y="446450"/>
                        </a:moveTo>
                        <a:cubicBezTo>
                          <a:pt x="309729" y="479221"/>
                          <a:pt x="309864" y="512049"/>
                          <a:pt x="311368" y="544792"/>
                        </a:cubicBezTo>
                        <a:cubicBezTo>
                          <a:pt x="304370" y="542293"/>
                          <a:pt x="297903" y="548035"/>
                          <a:pt x="292743" y="552147"/>
                        </a:cubicBezTo>
                        <a:cubicBezTo>
                          <a:pt x="291541" y="552244"/>
                          <a:pt x="290967" y="553546"/>
                          <a:pt x="290873" y="554585"/>
                        </a:cubicBezTo>
                        <a:cubicBezTo>
                          <a:pt x="262585" y="544860"/>
                          <a:pt x="257488" y="567243"/>
                          <a:pt x="248948" y="588110"/>
                        </a:cubicBezTo>
                        <a:cubicBezTo>
                          <a:pt x="245832" y="594583"/>
                          <a:pt x="243834" y="605442"/>
                          <a:pt x="236627" y="608163"/>
                        </a:cubicBezTo>
                        <a:cubicBezTo>
                          <a:pt x="228777" y="608763"/>
                          <a:pt x="221011" y="606110"/>
                          <a:pt x="213179" y="605653"/>
                        </a:cubicBezTo>
                        <a:cubicBezTo>
                          <a:pt x="241475" y="549997"/>
                          <a:pt x="243057" y="479967"/>
                          <a:pt x="229017" y="417757"/>
                        </a:cubicBezTo>
                        <a:cubicBezTo>
                          <a:pt x="247863" y="420635"/>
                          <a:pt x="266962" y="423228"/>
                          <a:pt x="286019" y="423739"/>
                        </a:cubicBezTo>
                        <a:cubicBezTo>
                          <a:pt x="286938" y="424470"/>
                          <a:pt x="288209" y="424850"/>
                          <a:pt x="289434" y="424361"/>
                        </a:cubicBezTo>
                        <a:cubicBezTo>
                          <a:pt x="295915" y="424541"/>
                          <a:pt x="302354" y="425549"/>
                          <a:pt x="308807" y="425992"/>
                        </a:cubicBezTo>
                        <a:cubicBezTo>
                          <a:pt x="308062" y="432733"/>
                          <a:pt x="308696" y="439712"/>
                          <a:pt x="308821" y="446450"/>
                        </a:cubicBezTo>
                        <a:close/>
                        <a:moveTo>
                          <a:pt x="285145" y="410847"/>
                        </a:moveTo>
                        <a:cubicBezTo>
                          <a:pt x="283414" y="413623"/>
                          <a:pt x="282615" y="417229"/>
                          <a:pt x="283791" y="420430"/>
                        </a:cubicBezTo>
                        <a:cubicBezTo>
                          <a:pt x="265386" y="418157"/>
                          <a:pt x="246758" y="417006"/>
                          <a:pt x="228346" y="414839"/>
                        </a:cubicBezTo>
                        <a:cubicBezTo>
                          <a:pt x="226647" y="407626"/>
                          <a:pt x="224731" y="400545"/>
                          <a:pt x="222604" y="393632"/>
                        </a:cubicBezTo>
                        <a:cubicBezTo>
                          <a:pt x="243134" y="397161"/>
                          <a:pt x="263921" y="399046"/>
                          <a:pt x="284482" y="402424"/>
                        </a:cubicBezTo>
                        <a:cubicBezTo>
                          <a:pt x="285676" y="404825"/>
                          <a:pt x="285756" y="407178"/>
                          <a:pt x="286610" y="409642"/>
                        </a:cubicBezTo>
                        <a:cubicBezTo>
                          <a:pt x="286041" y="409928"/>
                          <a:pt x="285530" y="410313"/>
                          <a:pt x="285145" y="410847"/>
                        </a:cubicBezTo>
                        <a:close/>
                        <a:moveTo>
                          <a:pt x="236570" y="630626"/>
                        </a:moveTo>
                        <a:cubicBezTo>
                          <a:pt x="224940" y="629456"/>
                          <a:pt x="213530" y="626612"/>
                          <a:pt x="201946" y="625036"/>
                        </a:cubicBezTo>
                        <a:lnTo>
                          <a:pt x="211243" y="609131"/>
                        </a:lnTo>
                        <a:cubicBezTo>
                          <a:pt x="217456" y="611547"/>
                          <a:pt x="224446" y="611755"/>
                          <a:pt x="231010" y="612780"/>
                        </a:cubicBezTo>
                        <a:cubicBezTo>
                          <a:pt x="235402" y="613640"/>
                          <a:pt x="239816" y="612735"/>
                          <a:pt x="243134" y="609605"/>
                        </a:cubicBezTo>
                        <a:cubicBezTo>
                          <a:pt x="254373" y="596922"/>
                          <a:pt x="254061" y="577682"/>
                          <a:pt x="264366" y="564311"/>
                        </a:cubicBezTo>
                        <a:cubicBezTo>
                          <a:pt x="271656" y="554440"/>
                          <a:pt x="280511" y="555942"/>
                          <a:pt x="290858" y="559217"/>
                        </a:cubicBezTo>
                        <a:cubicBezTo>
                          <a:pt x="290875" y="560193"/>
                          <a:pt x="290893" y="561167"/>
                          <a:pt x="290901" y="562144"/>
                        </a:cubicBezTo>
                        <a:cubicBezTo>
                          <a:pt x="289245" y="563314"/>
                          <a:pt x="291686" y="564199"/>
                          <a:pt x="292769" y="564371"/>
                        </a:cubicBezTo>
                        <a:cubicBezTo>
                          <a:pt x="291369" y="565247"/>
                          <a:pt x="292443" y="571298"/>
                          <a:pt x="292109" y="573225"/>
                        </a:cubicBezTo>
                        <a:cubicBezTo>
                          <a:pt x="269386" y="567255"/>
                          <a:pt x="266942" y="586134"/>
                          <a:pt x="261017" y="602484"/>
                        </a:cubicBezTo>
                        <a:cubicBezTo>
                          <a:pt x="258025" y="608968"/>
                          <a:pt x="256303" y="616073"/>
                          <a:pt x="253036" y="622417"/>
                        </a:cubicBezTo>
                        <a:cubicBezTo>
                          <a:pt x="250001" y="625227"/>
                          <a:pt x="245667" y="626697"/>
                          <a:pt x="242623" y="629664"/>
                        </a:cubicBezTo>
                        <a:cubicBezTo>
                          <a:pt x="240741" y="630369"/>
                          <a:pt x="238751" y="630758"/>
                          <a:pt x="236570" y="630626"/>
                        </a:cubicBezTo>
                        <a:close/>
                        <a:moveTo>
                          <a:pt x="296649" y="591539"/>
                        </a:moveTo>
                        <a:cubicBezTo>
                          <a:pt x="294819" y="594349"/>
                          <a:pt x="293165" y="597516"/>
                          <a:pt x="292694" y="600891"/>
                        </a:cubicBezTo>
                        <a:cubicBezTo>
                          <a:pt x="289822" y="606564"/>
                          <a:pt x="287412" y="612429"/>
                          <a:pt x="284988" y="618300"/>
                        </a:cubicBezTo>
                        <a:cubicBezTo>
                          <a:pt x="275622" y="616689"/>
                          <a:pt x="265283" y="617843"/>
                          <a:pt x="256706" y="621329"/>
                        </a:cubicBezTo>
                        <a:cubicBezTo>
                          <a:pt x="261031" y="609688"/>
                          <a:pt x="265888" y="598449"/>
                          <a:pt x="271259" y="587276"/>
                        </a:cubicBezTo>
                        <a:cubicBezTo>
                          <a:pt x="275040" y="576717"/>
                          <a:pt x="281824" y="575292"/>
                          <a:pt x="292152" y="576843"/>
                        </a:cubicBezTo>
                        <a:cubicBezTo>
                          <a:pt x="292734" y="581708"/>
                          <a:pt x="290447" y="589829"/>
                          <a:pt x="296649" y="591539"/>
                        </a:cubicBezTo>
                        <a:close/>
                        <a:moveTo>
                          <a:pt x="325397" y="670667"/>
                        </a:moveTo>
                        <a:cubicBezTo>
                          <a:pt x="324237" y="735201"/>
                          <a:pt x="228338" y="735192"/>
                          <a:pt x="227187" y="670664"/>
                        </a:cubicBezTo>
                        <a:cubicBezTo>
                          <a:pt x="226936" y="641048"/>
                          <a:pt x="254167" y="617563"/>
                          <a:pt x="283409" y="622080"/>
                        </a:cubicBezTo>
                        <a:cubicBezTo>
                          <a:pt x="281930" y="625627"/>
                          <a:pt x="280456" y="629179"/>
                          <a:pt x="278992" y="632731"/>
                        </a:cubicBezTo>
                        <a:cubicBezTo>
                          <a:pt x="227307" y="630178"/>
                          <a:pt x="224563" y="707581"/>
                          <a:pt x="276293" y="708700"/>
                        </a:cubicBezTo>
                        <a:cubicBezTo>
                          <a:pt x="310849" y="709468"/>
                          <a:pt x="327532" y="663883"/>
                          <a:pt x="301377" y="642088"/>
                        </a:cubicBezTo>
                        <a:cubicBezTo>
                          <a:pt x="302839" y="638536"/>
                          <a:pt x="304307" y="634984"/>
                          <a:pt x="305789" y="631437"/>
                        </a:cubicBezTo>
                        <a:cubicBezTo>
                          <a:pt x="317690" y="640406"/>
                          <a:pt x="325397" y="654651"/>
                          <a:pt x="325397" y="670667"/>
                        </a:cubicBezTo>
                        <a:close/>
                        <a:moveTo>
                          <a:pt x="260486" y="683182"/>
                        </a:moveTo>
                        <a:cubicBezTo>
                          <a:pt x="261757" y="683693"/>
                          <a:pt x="263164" y="683847"/>
                          <a:pt x="264509" y="684056"/>
                        </a:cubicBezTo>
                        <a:cubicBezTo>
                          <a:pt x="262773" y="686651"/>
                          <a:pt x="259578" y="694840"/>
                          <a:pt x="257242" y="691020"/>
                        </a:cubicBezTo>
                        <a:cubicBezTo>
                          <a:pt x="257242" y="691020"/>
                          <a:pt x="248365" y="675050"/>
                          <a:pt x="247631" y="672186"/>
                        </a:cubicBezTo>
                        <a:cubicBezTo>
                          <a:pt x="246897" y="669322"/>
                          <a:pt x="249964" y="668939"/>
                          <a:pt x="249964" y="668939"/>
                        </a:cubicBezTo>
                        <a:lnTo>
                          <a:pt x="262665" y="672263"/>
                        </a:lnTo>
                        <a:cubicBezTo>
                          <a:pt x="261508" y="674996"/>
                          <a:pt x="260343" y="677725"/>
                          <a:pt x="259161" y="680449"/>
                        </a:cubicBezTo>
                        <a:cubicBezTo>
                          <a:pt x="258544" y="681868"/>
                          <a:pt x="259430" y="682968"/>
                          <a:pt x="260486" y="683182"/>
                        </a:cubicBezTo>
                        <a:close/>
                        <a:moveTo>
                          <a:pt x="251752" y="661338"/>
                        </a:moveTo>
                        <a:cubicBezTo>
                          <a:pt x="247446" y="660191"/>
                          <a:pt x="249741" y="657895"/>
                          <a:pt x="249741" y="657895"/>
                        </a:cubicBezTo>
                        <a:cubicBezTo>
                          <a:pt x="249741" y="657895"/>
                          <a:pt x="262944" y="645266"/>
                          <a:pt x="265529" y="643829"/>
                        </a:cubicBezTo>
                        <a:cubicBezTo>
                          <a:pt x="268113" y="642393"/>
                          <a:pt x="269261" y="645266"/>
                          <a:pt x="269261" y="645266"/>
                        </a:cubicBezTo>
                        <a:lnTo>
                          <a:pt x="269261" y="656419"/>
                        </a:lnTo>
                        <a:cubicBezTo>
                          <a:pt x="268178" y="659054"/>
                          <a:pt x="267090" y="661690"/>
                          <a:pt x="266000" y="664319"/>
                        </a:cubicBezTo>
                        <a:cubicBezTo>
                          <a:pt x="261897" y="664485"/>
                          <a:pt x="255398" y="662309"/>
                          <a:pt x="251752" y="661338"/>
                        </a:cubicBezTo>
                        <a:close/>
                        <a:moveTo>
                          <a:pt x="292069" y="691271"/>
                        </a:moveTo>
                        <a:cubicBezTo>
                          <a:pt x="294679" y="694883"/>
                          <a:pt x="291447" y="695209"/>
                          <a:pt x="291447" y="695209"/>
                        </a:cubicBezTo>
                        <a:cubicBezTo>
                          <a:pt x="291447" y="695209"/>
                          <a:pt x="273232" y="696645"/>
                          <a:pt x="270323" y="696125"/>
                        </a:cubicBezTo>
                        <a:cubicBezTo>
                          <a:pt x="267413" y="695603"/>
                          <a:pt x="268338" y="692653"/>
                          <a:pt x="268338" y="692653"/>
                        </a:cubicBezTo>
                        <a:lnTo>
                          <a:pt x="275220" y="684221"/>
                        </a:lnTo>
                        <a:cubicBezTo>
                          <a:pt x="278629" y="684121"/>
                          <a:pt x="282484" y="684033"/>
                          <a:pt x="285028" y="681906"/>
                        </a:cubicBezTo>
                        <a:cubicBezTo>
                          <a:pt x="287678" y="684747"/>
                          <a:pt x="290324" y="688858"/>
                          <a:pt x="292069" y="691271"/>
                        </a:cubicBezTo>
                        <a:close/>
                        <a:moveTo>
                          <a:pt x="287857" y="674684"/>
                        </a:moveTo>
                        <a:cubicBezTo>
                          <a:pt x="288608" y="672834"/>
                          <a:pt x="289362" y="670987"/>
                          <a:pt x="290122" y="669139"/>
                        </a:cubicBezTo>
                        <a:cubicBezTo>
                          <a:pt x="293348" y="666778"/>
                          <a:pt x="298222" y="664608"/>
                          <a:pt x="301041" y="663157"/>
                        </a:cubicBezTo>
                        <a:cubicBezTo>
                          <a:pt x="305004" y="661119"/>
                          <a:pt x="304841" y="664362"/>
                          <a:pt x="304841" y="664362"/>
                        </a:cubicBezTo>
                        <a:cubicBezTo>
                          <a:pt x="304841" y="664362"/>
                          <a:pt x="303530" y="682588"/>
                          <a:pt x="302577" y="685383"/>
                        </a:cubicBezTo>
                        <a:cubicBezTo>
                          <a:pt x="301626" y="688182"/>
                          <a:pt x="298848" y="686825"/>
                          <a:pt x="298848" y="686825"/>
                        </a:cubicBezTo>
                        <a:lnTo>
                          <a:pt x="287857" y="674684"/>
                        </a:lnTo>
                        <a:close/>
                        <a:moveTo>
                          <a:pt x="312436" y="606082"/>
                        </a:moveTo>
                        <a:cubicBezTo>
                          <a:pt x="301155" y="630058"/>
                          <a:pt x="292080" y="654982"/>
                          <a:pt x="282349" y="679601"/>
                        </a:cubicBezTo>
                        <a:cubicBezTo>
                          <a:pt x="275882" y="679721"/>
                          <a:pt x="269420" y="680772"/>
                          <a:pt x="262962" y="680972"/>
                        </a:cubicBezTo>
                        <a:cubicBezTo>
                          <a:pt x="273032" y="654697"/>
                          <a:pt x="284968" y="629153"/>
                          <a:pt x="294545" y="602695"/>
                        </a:cubicBezTo>
                        <a:cubicBezTo>
                          <a:pt x="300432" y="604548"/>
                          <a:pt x="306874" y="604420"/>
                          <a:pt x="312930" y="605191"/>
                        </a:cubicBezTo>
                        <a:cubicBezTo>
                          <a:pt x="312762" y="605482"/>
                          <a:pt x="312593" y="605776"/>
                          <a:pt x="312436" y="606082"/>
                        </a:cubicBezTo>
                        <a:close/>
                        <a:moveTo>
                          <a:pt x="314558" y="596368"/>
                        </a:moveTo>
                        <a:cubicBezTo>
                          <a:pt x="314272" y="598012"/>
                          <a:pt x="314064" y="599663"/>
                          <a:pt x="313872" y="601316"/>
                        </a:cubicBezTo>
                        <a:cubicBezTo>
                          <a:pt x="308199" y="600234"/>
                          <a:pt x="302611" y="599260"/>
                          <a:pt x="296703" y="599189"/>
                        </a:cubicBezTo>
                        <a:cubicBezTo>
                          <a:pt x="297677" y="596856"/>
                          <a:pt x="298753" y="594677"/>
                          <a:pt x="299067" y="592150"/>
                        </a:cubicBezTo>
                        <a:cubicBezTo>
                          <a:pt x="304487" y="593167"/>
                          <a:pt x="309801" y="593547"/>
                          <a:pt x="315380" y="592684"/>
                        </a:cubicBezTo>
                        <a:cubicBezTo>
                          <a:pt x="314958" y="593926"/>
                          <a:pt x="314746" y="595289"/>
                          <a:pt x="314558" y="596368"/>
                        </a:cubicBezTo>
                        <a:close/>
                        <a:moveTo>
                          <a:pt x="316939" y="571506"/>
                        </a:moveTo>
                        <a:cubicBezTo>
                          <a:pt x="316565" y="577157"/>
                          <a:pt x="317030" y="583133"/>
                          <a:pt x="316357" y="588678"/>
                        </a:cubicBezTo>
                        <a:cubicBezTo>
                          <a:pt x="313573" y="590760"/>
                          <a:pt x="303562" y="589509"/>
                          <a:pt x="300027" y="588778"/>
                        </a:cubicBezTo>
                        <a:cubicBezTo>
                          <a:pt x="295927" y="588350"/>
                          <a:pt x="295792" y="587082"/>
                          <a:pt x="295961" y="583262"/>
                        </a:cubicBezTo>
                        <a:cubicBezTo>
                          <a:pt x="295467" y="577111"/>
                          <a:pt x="295441" y="570761"/>
                          <a:pt x="294376" y="564745"/>
                        </a:cubicBezTo>
                        <a:cubicBezTo>
                          <a:pt x="301966" y="565961"/>
                          <a:pt x="309507" y="565778"/>
                          <a:pt x="317159" y="565087"/>
                        </a:cubicBezTo>
                        <a:cubicBezTo>
                          <a:pt x="316625" y="567072"/>
                          <a:pt x="316988" y="569685"/>
                          <a:pt x="316939" y="571506"/>
                        </a:cubicBezTo>
                        <a:close/>
                        <a:moveTo>
                          <a:pt x="318193" y="561090"/>
                        </a:moveTo>
                        <a:cubicBezTo>
                          <a:pt x="310109" y="562244"/>
                          <a:pt x="301983" y="562218"/>
                          <a:pt x="293836" y="561924"/>
                        </a:cubicBezTo>
                        <a:cubicBezTo>
                          <a:pt x="294325" y="559514"/>
                          <a:pt x="294787" y="556927"/>
                          <a:pt x="294527" y="554474"/>
                        </a:cubicBezTo>
                        <a:cubicBezTo>
                          <a:pt x="306163" y="547724"/>
                          <a:pt x="309130" y="543058"/>
                          <a:pt x="318935" y="556273"/>
                        </a:cubicBezTo>
                        <a:cubicBezTo>
                          <a:pt x="318555" y="557835"/>
                          <a:pt x="318141" y="559520"/>
                          <a:pt x="318193" y="561090"/>
                        </a:cubicBezTo>
                        <a:close/>
                        <a:moveTo>
                          <a:pt x="386804" y="634253"/>
                        </a:moveTo>
                        <a:cubicBezTo>
                          <a:pt x="384271" y="621986"/>
                          <a:pt x="381476" y="609645"/>
                          <a:pt x="383237" y="597090"/>
                        </a:cubicBezTo>
                        <a:cubicBezTo>
                          <a:pt x="385316" y="597424"/>
                          <a:pt x="387415" y="598212"/>
                          <a:pt x="389508" y="598281"/>
                        </a:cubicBezTo>
                        <a:cubicBezTo>
                          <a:pt x="392335" y="613197"/>
                          <a:pt x="395127" y="628122"/>
                          <a:pt x="397868" y="643056"/>
                        </a:cubicBezTo>
                        <a:cubicBezTo>
                          <a:pt x="394276" y="642710"/>
                          <a:pt x="390776" y="641642"/>
                          <a:pt x="387678" y="639843"/>
                        </a:cubicBezTo>
                        <a:cubicBezTo>
                          <a:pt x="387418" y="637976"/>
                          <a:pt x="387132" y="636114"/>
                          <a:pt x="386804" y="634253"/>
                        </a:cubicBezTo>
                        <a:close/>
                        <a:moveTo>
                          <a:pt x="390322" y="651953"/>
                        </a:moveTo>
                        <a:cubicBezTo>
                          <a:pt x="388980" y="649557"/>
                          <a:pt x="388546" y="646765"/>
                          <a:pt x="388226" y="644072"/>
                        </a:cubicBezTo>
                        <a:cubicBezTo>
                          <a:pt x="391387" y="645917"/>
                          <a:pt x="394916" y="647441"/>
                          <a:pt x="398688" y="647501"/>
                        </a:cubicBezTo>
                        <a:cubicBezTo>
                          <a:pt x="399353" y="651128"/>
                          <a:pt x="400013" y="654757"/>
                          <a:pt x="400664" y="658383"/>
                        </a:cubicBezTo>
                        <a:cubicBezTo>
                          <a:pt x="396398" y="657892"/>
                          <a:pt x="392520" y="655873"/>
                          <a:pt x="390322" y="651953"/>
                        </a:cubicBezTo>
                        <a:close/>
                        <a:moveTo>
                          <a:pt x="414524" y="684510"/>
                        </a:moveTo>
                        <a:cubicBezTo>
                          <a:pt x="414244" y="684578"/>
                          <a:pt x="413915" y="684638"/>
                          <a:pt x="413627" y="684572"/>
                        </a:cubicBezTo>
                        <a:cubicBezTo>
                          <a:pt x="413261" y="683245"/>
                          <a:pt x="412893" y="681914"/>
                          <a:pt x="412528" y="680586"/>
                        </a:cubicBezTo>
                        <a:cubicBezTo>
                          <a:pt x="413747" y="680529"/>
                          <a:pt x="414966" y="680489"/>
                          <a:pt x="416188" y="680475"/>
                        </a:cubicBezTo>
                        <a:cubicBezTo>
                          <a:pt x="416291" y="681166"/>
                          <a:pt x="416482" y="681897"/>
                          <a:pt x="416674" y="682579"/>
                        </a:cubicBezTo>
                        <a:cubicBezTo>
                          <a:pt x="416074" y="683310"/>
                          <a:pt x="415649" y="684236"/>
                          <a:pt x="414524" y="684510"/>
                        </a:cubicBezTo>
                        <a:close/>
                        <a:moveTo>
                          <a:pt x="408573" y="677603"/>
                        </a:moveTo>
                        <a:cubicBezTo>
                          <a:pt x="400484" y="626652"/>
                          <a:pt x="389956" y="576106"/>
                          <a:pt x="380294" y="525464"/>
                        </a:cubicBezTo>
                        <a:cubicBezTo>
                          <a:pt x="375788" y="503460"/>
                          <a:pt x="371879" y="481277"/>
                          <a:pt x="366191" y="459548"/>
                        </a:cubicBezTo>
                        <a:cubicBezTo>
                          <a:pt x="360178" y="443572"/>
                          <a:pt x="347394" y="423805"/>
                          <a:pt x="328229" y="424627"/>
                        </a:cubicBezTo>
                        <a:cubicBezTo>
                          <a:pt x="327818" y="424324"/>
                          <a:pt x="327161" y="424384"/>
                          <a:pt x="326824" y="424810"/>
                        </a:cubicBezTo>
                        <a:cubicBezTo>
                          <a:pt x="325037" y="424987"/>
                          <a:pt x="325080" y="427511"/>
                          <a:pt x="326459" y="428153"/>
                        </a:cubicBezTo>
                        <a:cubicBezTo>
                          <a:pt x="323598" y="472820"/>
                          <a:pt x="326347" y="517623"/>
                          <a:pt x="328912" y="562241"/>
                        </a:cubicBezTo>
                        <a:cubicBezTo>
                          <a:pt x="329091" y="564836"/>
                          <a:pt x="329114" y="567577"/>
                          <a:pt x="330105" y="570007"/>
                        </a:cubicBezTo>
                        <a:cubicBezTo>
                          <a:pt x="331342" y="571818"/>
                          <a:pt x="332469" y="570213"/>
                          <a:pt x="332461" y="568574"/>
                        </a:cubicBezTo>
                        <a:cubicBezTo>
                          <a:pt x="340499" y="571818"/>
                          <a:pt x="349339" y="572883"/>
                          <a:pt x="357788" y="574750"/>
                        </a:cubicBezTo>
                        <a:cubicBezTo>
                          <a:pt x="367070" y="576486"/>
                          <a:pt x="376447" y="578054"/>
                          <a:pt x="385830" y="578987"/>
                        </a:cubicBezTo>
                        <a:cubicBezTo>
                          <a:pt x="386849" y="584310"/>
                          <a:pt x="387866" y="589632"/>
                          <a:pt x="388871" y="594957"/>
                        </a:cubicBezTo>
                        <a:cubicBezTo>
                          <a:pt x="365911" y="589609"/>
                          <a:pt x="342874" y="584518"/>
                          <a:pt x="319814" y="579633"/>
                        </a:cubicBezTo>
                        <a:cubicBezTo>
                          <a:pt x="319723" y="574659"/>
                          <a:pt x="320428" y="569542"/>
                          <a:pt x="319914" y="564619"/>
                        </a:cubicBezTo>
                        <a:cubicBezTo>
                          <a:pt x="321776" y="564434"/>
                          <a:pt x="324169" y="563291"/>
                          <a:pt x="322370" y="561264"/>
                        </a:cubicBezTo>
                        <a:cubicBezTo>
                          <a:pt x="322593" y="559634"/>
                          <a:pt x="322256" y="557789"/>
                          <a:pt x="322019" y="556142"/>
                        </a:cubicBezTo>
                        <a:cubicBezTo>
                          <a:pt x="323683" y="554348"/>
                          <a:pt x="316517" y="547847"/>
                          <a:pt x="314943" y="546676"/>
                        </a:cubicBezTo>
                        <a:cubicBezTo>
                          <a:pt x="314849" y="509956"/>
                          <a:pt x="313150" y="473185"/>
                          <a:pt x="312182" y="436465"/>
                        </a:cubicBezTo>
                        <a:cubicBezTo>
                          <a:pt x="311882" y="434207"/>
                          <a:pt x="312282" y="422186"/>
                          <a:pt x="309786" y="422531"/>
                        </a:cubicBezTo>
                        <a:cubicBezTo>
                          <a:pt x="302908" y="421349"/>
                          <a:pt x="295530" y="420361"/>
                          <a:pt x="288611" y="421469"/>
                        </a:cubicBezTo>
                        <a:cubicBezTo>
                          <a:pt x="285165" y="418876"/>
                          <a:pt x="285961" y="414516"/>
                          <a:pt x="287817" y="411173"/>
                        </a:cubicBezTo>
                        <a:cubicBezTo>
                          <a:pt x="288414" y="411413"/>
                          <a:pt x="289257" y="410944"/>
                          <a:pt x="289251" y="410279"/>
                        </a:cubicBezTo>
                        <a:cubicBezTo>
                          <a:pt x="289496" y="410222"/>
                          <a:pt x="289813" y="410150"/>
                          <a:pt x="289902" y="409899"/>
                        </a:cubicBezTo>
                        <a:cubicBezTo>
                          <a:pt x="295181" y="410927"/>
                          <a:pt x="300641" y="410953"/>
                          <a:pt x="305906" y="412175"/>
                        </a:cubicBezTo>
                        <a:cubicBezTo>
                          <a:pt x="308239" y="412620"/>
                          <a:pt x="310480" y="413314"/>
                          <a:pt x="311602" y="410656"/>
                        </a:cubicBezTo>
                        <a:cubicBezTo>
                          <a:pt x="312382" y="408811"/>
                          <a:pt x="312859" y="405628"/>
                          <a:pt x="311428" y="403969"/>
                        </a:cubicBezTo>
                        <a:cubicBezTo>
                          <a:pt x="312519" y="400308"/>
                          <a:pt x="295852" y="400259"/>
                          <a:pt x="293008" y="399457"/>
                        </a:cubicBezTo>
                        <a:cubicBezTo>
                          <a:pt x="269300" y="396622"/>
                          <a:pt x="245624" y="393055"/>
                          <a:pt x="221827" y="391177"/>
                        </a:cubicBezTo>
                        <a:cubicBezTo>
                          <a:pt x="219406" y="383536"/>
                          <a:pt x="216725" y="376103"/>
                          <a:pt x="213798" y="368911"/>
                        </a:cubicBezTo>
                        <a:cubicBezTo>
                          <a:pt x="244342" y="374927"/>
                          <a:pt x="275397" y="378113"/>
                          <a:pt x="305920" y="384292"/>
                        </a:cubicBezTo>
                        <a:cubicBezTo>
                          <a:pt x="307399" y="384564"/>
                          <a:pt x="307842" y="383333"/>
                          <a:pt x="308170" y="382319"/>
                        </a:cubicBezTo>
                        <a:cubicBezTo>
                          <a:pt x="311328" y="374327"/>
                          <a:pt x="310209" y="364953"/>
                          <a:pt x="310209" y="356544"/>
                        </a:cubicBezTo>
                        <a:cubicBezTo>
                          <a:pt x="310209" y="348698"/>
                          <a:pt x="310138" y="340854"/>
                          <a:pt x="310192" y="333007"/>
                        </a:cubicBezTo>
                        <a:cubicBezTo>
                          <a:pt x="310549" y="310733"/>
                          <a:pt x="310820" y="288455"/>
                          <a:pt x="310306" y="266192"/>
                        </a:cubicBezTo>
                        <a:cubicBezTo>
                          <a:pt x="314324" y="266601"/>
                          <a:pt x="318313" y="266663"/>
                          <a:pt x="322339" y="266626"/>
                        </a:cubicBezTo>
                        <a:cubicBezTo>
                          <a:pt x="321645" y="271572"/>
                          <a:pt x="321582" y="277031"/>
                          <a:pt x="321830" y="281842"/>
                        </a:cubicBezTo>
                        <a:cubicBezTo>
                          <a:pt x="322933" y="325050"/>
                          <a:pt x="321593" y="368771"/>
                          <a:pt x="324826" y="411724"/>
                        </a:cubicBezTo>
                        <a:cubicBezTo>
                          <a:pt x="324329" y="412777"/>
                          <a:pt x="324963" y="414439"/>
                          <a:pt x="326390" y="414388"/>
                        </a:cubicBezTo>
                        <a:cubicBezTo>
                          <a:pt x="337209" y="414379"/>
                          <a:pt x="348488" y="418437"/>
                          <a:pt x="357485" y="424456"/>
                        </a:cubicBezTo>
                        <a:cubicBezTo>
                          <a:pt x="366054" y="432142"/>
                          <a:pt x="371362" y="443261"/>
                          <a:pt x="374243" y="454203"/>
                        </a:cubicBezTo>
                        <a:cubicBezTo>
                          <a:pt x="390087" y="527962"/>
                          <a:pt x="404230" y="602327"/>
                          <a:pt x="416816" y="676586"/>
                        </a:cubicBezTo>
                        <a:cubicBezTo>
                          <a:pt x="414041" y="676663"/>
                          <a:pt x="411286" y="677014"/>
                          <a:pt x="408573" y="677603"/>
                        </a:cubicBezTo>
                        <a:close/>
                        <a:moveTo>
                          <a:pt x="370097" y="514613"/>
                        </a:moveTo>
                        <a:cubicBezTo>
                          <a:pt x="367713" y="505131"/>
                          <a:pt x="363481" y="495500"/>
                          <a:pt x="360289" y="486611"/>
                        </a:cubicBezTo>
                        <a:cubicBezTo>
                          <a:pt x="355104" y="471686"/>
                          <a:pt x="353122" y="455876"/>
                          <a:pt x="350332" y="440283"/>
                        </a:cubicBezTo>
                        <a:cubicBezTo>
                          <a:pt x="355152" y="446131"/>
                          <a:pt x="358653" y="453038"/>
                          <a:pt x="361508" y="460025"/>
                        </a:cubicBezTo>
                        <a:cubicBezTo>
                          <a:pt x="369580" y="491893"/>
                          <a:pt x="374971" y="524442"/>
                          <a:pt x="381541" y="556656"/>
                        </a:cubicBezTo>
                        <a:cubicBezTo>
                          <a:pt x="372898" y="551679"/>
                          <a:pt x="368076" y="541751"/>
                          <a:pt x="368869" y="531891"/>
                        </a:cubicBezTo>
                        <a:cubicBezTo>
                          <a:pt x="369029" y="526574"/>
                          <a:pt x="369749" y="521169"/>
                          <a:pt x="370583" y="515921"/>
                        </a:cubicBezTo>
                        <a:cubicBezTo>
                          <a:pt x="370680" y="515324"/>
                          <a:pt x="370451" y="514870"/>
                          <a:pt x="370097" y="514613"/>
                        </a:cubicBezTo>
                        <a:close/>
                        <a:moveTo>
                          <a:pt x="354139" y="483878"/>
                        </a:moveTo>
                        <a:cubicBezTo>
                          <a:pt x="357477" y="493878"/>
                          <a:pt x="362331" y="506313"/>
                          <a:pt x="368273" y="515025"/>
                        </a:cubicBezTo>
                        <a:cubicBezTo>
                          <a:pt x="363681" y="525147"/>
                          <a:pt x="360729" y="536919"/>
                          <a:pt x="365688" y="547484"/>
                        </a:cubicBezTo>
                        <a:cubicBezTo>
                          <a:pt x="369066" y="554697"/>
                          <a:pt x="374974" y="561878"/>
                          <a:pt x="382980" y="564111"/>
                        </a:cubicBezTo>
                        <a:cubicBezTo>
                          <a:pt x="383743" y="568074"/>
                          <a:pt x="384505" y="572037"/>
                          <a:pt x="385265" y="576003"/>
                        </a:cubicBezTo>
                        <a:cubicBezTo>
                          <a:pt x="371571" y="573988"/>
                          <a:pt x="358008" y="571192"/>
                          <a:pt x="344485" y="568194"/>
                        </a:cubicBezTo>
                        <a:cubicBezTo>
                          <a:pt x="340553" y="567554"/>
                          <a:pt x="336675" y="565818"/>
                          <a:pt x="332649" y="566047"/>
                        </a:cubicBezTo>
                        <a:cubicBezTo>
                          <a:pt x="328609" y="520216"/>
                          <a:pt x="329388" y="474247"/>
                          <a:pt x="328620" y="428296"/>
                        </a:cubicBezTo>
                        <a:cubicBezTo>
                          <a:pt x="334451" y="428273"/>
                          <a:pt x="339956" y="430700"/>
                          <a:pt x="344405" y="434467"/>
                        </a:cubicBezTo>
                        <a:cubicBezTo>
                          <a:pt x="347109" y="450942"/>
                          <a:pt x="349561" y="467766"/>
                          <a:pt x="354139" y="483878"/>
                        </a:cubicBezTo>
                        <a:close/>
                        <a:moveTo>
                          <a:pt x="286912" y="402801"/>
                        </a:moveTo>
                        <a:cubicBezTo>
                          <a:pt x="293974" y="403820"/>
                          <a:pt x="301083" y="405365"/>
                          <a:pt x="308216" y="405927"/>
                        </a:cubicBezTo>
                        <a:cubicBezTo>
                          <a:pt x="308290" y="406464"/>
                          <a:pt x="308639" y="409322"/>
                          <a:pt x="308604" y="409619"/>
                        </a:cubicBezTo>
                        <a:cubicBezTo>
                          <a:pt x="302303" y="408994"/>
                          <a:pt x="295338" y="406790"/>
                          <a:pt x="288945" y="408400"/>
                        </a:cubicBezTo>
                        <a:cubicBezTo>
                          <a:pt x="288237" y="406547"/>
                          <a:pt x="287826" y="404574"/>
                          <a:pt x="286912" y="402801"/>
                        </a:cubicBezTo>
                        <a:close/>
                        <a:moveTo>
                          <a:pt x="440975" y="667686"/>
                        </a:moveTo>
                        <a:cubicBezTo>
                          <a:pt x="437560" y="668437"/>
                          <a:pt x="434154" y="669225"/>
                          <a:pt x="430728" y="669919"/>
                        </a:cubicBezTo>
                        <a:cubicBezTo>
                          <a:pt x="428358" y="670684"/>
                          <a:pt x="420871" y="670653"/>
                          <a:pt x="419820" y="672574"/>
                        </a:cubicBezTo>
                        <a:cubicBezTo>
                          <a:pt x="419458" y="671287"/>
                          <a:pt x="419312" y="669959"/>
                          <a:pt x="419169" y="668608"/>
                        </a:cubicBezTo>
                        <a:cubicBezTo>
                          <a:pt x="420200" y="667409"/>
                          <a:pt x="419583" y="664511"/>
                          <a:pt x="419483" y="663606"/>
                        </a:cubicBezTo>
                        <a:cubicBezTo>
                          <a:pt x="418684" y="657261"/>
                          <a:pt x="417393" y="650988"/>
                          <a:pt x="416308" y="644686"/>
                        </a:cubicBezTo>
                        <a:cubicBezTo>
                          <a:pt x="427364" y="644298"/>
                          <a:pt x="438574" y="642801"/>
                          <a:pt x="449450" y="640634"/>
                        </a:cubicBezTo>
                        <a:cubicBezTo>
                          <a:pt x="443263" y="644172"/>
                          <a:pt x="444159" y="651813"/>
                          <a:pt x="445929" y="657655"/>
                        </a:cubicBezTo>
                        <a:cubicBezTo>
                          <a:pt x="446586" y="660576"/>
                          <a:pt x="447194" y="663543"/>
                          <a:pt x="448388" y="666295"/>
                        </a:cubicBezTo>
                        <a:cubicBezTo>
                          <a:pt x="445924" y="666784"/>
                          <a:pt x="443417" y="667149"/>
                          <a:pt x="440975" y="667686"/>
                        </a:cubicBezTo>
                        <a:close/>
                        <a:moveTo>
                          <a:pt x="450923" y="665730"/>
                        </a:moveTo>
                        <a:cubicBezTo>
                          <a:pt x="450664" y="665796"/>
                          <a:pt x="450401" y="665856"/>
                          <a:pt x="450138" y="665916"/>
                        </a:cubicBezTo>
                        <a:cubicBezTo>
                          <a:pt x="449773" y="663297"/>
                          <a:pt x="449142" y="660722"/>
                          <a:pt x="448633" y="658123"/>
                        </a:cubicBezTo>
                        <a:cubicBezTo>
                          <a:pt x="451298" y="659077"/>
                          <a:pt x="454989" y="658081"/>
                          <a:pt x="457891" y="657350"/>
                        </a:cubicBezTo>
                        <a:cubicBezTo>
                          <a:pt x="458125" y="659177"/>
                          <a:pt x="458362" y="661059"/>
                          <a:pt x="458779" y="662849"/>
                        </a:cubicBezTo>
                        <a:cubicBezTo>
                          <a:pt x="456129" y="663628"/>
                          <a:pt x="453619" y="665048"/>
                          <a:pt x="450923" y="665730"/>
                        </a:cubicBezTo>
                        <a:close/>
                        <a:moveTo>
                          <a:pt x="485288" y="657387"/>
                        </a:moveTo>
                        <a:cubicBezTo>
                          <a:pt x="477735" y="659525"/>
                          <a:pt x="469846" y="662075"/>
                          <a:pt x="462022" y="659797"/>
                        </a:cubicBezTo>
                        <a:cubicBezTo>
                          <a:pt x="461722" y="658720"/>
                          <a:pt x="461271" y="657681"/>
                          <a:pt x="460709" y="656753"/>
                        </a:cubicBezTo>
                        <a:cubicBezTo>
                          <a:pt x="464778" y="656167"/>
                          <a:pt x="469637" y="656853"/>
                          <a:pt x="473201" y="654808"/>
                        </a:cubicBezTo>
                        <a:cubicBezTo>
                          <a:pt x="477618" y="655337"/>
                          <a:pt x="479020" y="649900"/>
                          <a:pt x="478361" y="646045"/>
                        </a:cubicBezTo>
                        <a:cubicBezTo>
                          <a:pt x="487855" y="641939"/>
                          <a:pt x="499005" y="641528"/>
                          <a:pt x="507756" y="635829"/>
                        </a:cubicBezTo>
                        <a:cubicBezTo>
                          <a:pt x="517073" y="635914"/>
                          <a:pt x="526390" y="633664"/>
                          <a:pt x="535696" y="633019"/>
                        </a:cubicBezTo>
                        <a:cubicBezTo>
                          <a:pt x="545039" y="631820"/>
                          <a:pt x="554584" y="631914"/>
                          <a:pt x="563824" y="630129"/>
                        </a:cubicBezTo>
                        <a:cubicBezTo>
                          <a:pt x="563264" y="630275"/>
                          <a:pt x="564121" y="630144"/>
                          <a:pt x="564272" y="630141"/>
                        </a:cubicBezTo>
                        <a:cubicBezTo>
                          <a:pt x="564275" y="630141"/>
                          <a:pt x="564275" y="630144"/>
                          <a:pt x="564278" y="630144"/>
                        </a:cubicBezTo>
                        <a:cubicBezTo>
                          <a:pt x="565397" y="631020"/>
                          <a:pt x="567981" y="629995"/>
                          <a:pt x="569538" y="630626"/>
                        </a:cubicBezTo>
                        <a:cubicBezTo>
                          <a:pt x="543137" y="644012"/>
                          <a:pt x="513533" y="649175"/>
                          <a:pt x="485288" y="657387"/>
                        </a:cubicBezTo>
                        <a:close/>
                        <a:moveTo>
                          <a:pt x="573752" y="667380"/>
                        </a:moveTo>
                        <a:cubicBezTo>
                          <a:pt x="552497" y="674413"/>
                          <a:pt x="529714" y="673988"/>
                          <a:pt x="507713" y="671612"/>
                        </a:cubicBezTo>
                        <a:cubicBezTo>
                          <a:pt x="498711" y="670082"/>
                          <a:pt x="509872" y="661247"/>
                          <a:pt x="507091" y="656613"/>
                        </a:cubicBezTo>
                        <a:cubicBezTo>
                          <a:pt x="515254" y="654428"/>
                          <a:pt x="580719" y="638370"/>
                          <a:pt x="576604" y="629661"/>
                        </a:cubicBezTo>
                        <a:cubicBezTo>
                          <a:pt x="573915" y="626109"/>
                          <a:pt x="569335" y="623845"/>
                          <a:pt x="564878" y="625224"/>
                        </a:cubicBezTo>
                        <a:cubicBezTo>
                          <a:pt x="560523" y="624841"/>
                          <a:pt x="556035" y="625033"/>
                          <a:pt x="551640" y="625512"/>
                        </a:cubicBezTo>
                        <a:cubicBezTo>
                          <a:pt x="531927" y="627040"/>
                          <a:pt x="512214" y="629690"/>
                          <a:pt x="493405" y="635897"/>
                        </a:cubicBezTo>
                        <a:cubicBezTo>
                          <a:pt x="493719" y="633008"/>
                          <a:pt x="492823" y="630175"/>
                          <a:pt x="490921" y="627991"/>
                        </a:cubicBezTo>
                        <a:cubicBezTo>
                          <a:pt x="490998" y="622257"/>
                          <a:pt x="487638" y="616264"/>
                          <a:pt x="483312" y="612769"/>
                        </a:cubicBezTo>
                        <a:cubicBezTo>
                          <a:pt x="478069" y="608275"/>
                          <a:pt x="470514" y="608203"/>
                          <a:pt x="465229" y="603852"/>
                        </a:cubicBezTo>
                        <a:cubicBezTo>
                          <a:pt x="459909" y="598689"/>
                          <a:pt x="455989" y="592213"/>
                          <a:pt x="451666" y="586234"/>
                        </a:cubicBezTo>
                        <a:cubicBezTo>
                          <a:pt x="447480" y="580515"/>
                          <a:pt x="444453" y="573919"/>
                          <a:pt x="439785" y="568548"/>
                        </a:cubicBezTo>
                        <a:cubicBezTo>
                          <a:pt x="440310" y="563683"/>
                          <a:pt x="439893" y="559148"/>
                          <a:pt x="438546" y="554585"/>
                        </a:cubicBezTo>
                        <a:cubicBezTo>
                          <a:pt x="444208" y="549766"/>
                          <a:pt x="449784" y="543275"/>
                          <a:pt x="448616" y="535352"/>
                        </a:cubicBezTo>
                        <a:cubicBezTo>
                          <a:pt x="447868" y="530232"/>
                          <a:pt x="444133" y="526263"/>
                          <a:pt x="442095" y="521643"/>
                        </a:cubicBezTo>
                        <a:cubicBezTo>
                          <a:pt x="438003" y="512375"/>
                          <a:pt x="437926" y="501847"/>
                          <a:pt x="438406" y="491910"/>
                        </a:cubicBezTo>
                        <a:cubicBezTo>
                          <a:pt x="441081" y="454331"/>
                          <a:pt x="442155" y="416629"/>
                          <a:pt x="440013" y="378987"/>
                        </a:cubicBezTo>
                        <a:cubicBezTo>
                          <a:pt x="453830" y="375798"/>
                          <a:pt x="468038" y="373905"/>
                          <a:pt x="482232" y="374393"/>
                        </a:cubicBezTo>
                        <a:cubicBezTo>
                          <a:pt x="485119" y="374481"/>
                          <a:pt x="488951" y="374827"/>
                          <a:pt x="491901" y="373676"/>
                        </a:cubicBezTo>
                        <a:cubicBezTo>
                          <a:pt x="499053" y="377151"/>
                          <a:pt x="506469" y="380112"/>
                          <a:pt x="514167" y="382108"/>
                        </a:cubicBezTo>
                        <a:cubicBezTo>
                          <a:pt x="518498" y="423148"/>
                          <a:pt x="518347" y="464653"/>
                          <a:pt x="513130" y="505599"/>
                        </a:cubicBezTo>
                        <a:cubicBezTo>
                          <a:pt x="511762" y="515873"/>
                          <a:pt x="509669" y="526563"/>
                          <a:pt x="512759" y="536728"/>
                        </a:cubicBezTo>
                        <a:cubicBezTo>
                          <a:pt x="513721" y="539952"/>
                          <a:pt x="515086" y="543036"/>
                          <a:pt x="516162" y="546219"/>
                        </a:cubicBezTo>
                        <a:cubicBezTo>
                          <a:pt x="518618" y="553472"/>
                          <a:pt x="518775" y="561050"/>
                          <a:pt x="518567" y="568631"/>
                        </a:cubicBezTo>
                        <a:cubicBezTo>
                          <a:pt x="518787" y="574359"/>
                          <a:pt x="516565" y="582674"/>
                          <a:pt x="522556" y="586060"/>
                        </a:cubicBezTo>
                        <a:cubicBezTo>
                          <a:pt x="521713" y="591120"/>
                          <a:pt x="520894" y="596211"/>
                          <a:pt x="519412" y="601125"/>
                        </a:cubicBezTo>
                        <a:cubicBezTo>
                          <a:pt x="514703" y="594657"/>
                          <a:pt x="506788" y="592042"/>
                          <a:pt x="502394" y="600280"/>
                        </a:cubicBezTo>
                        <a:cubicBezTo>
                          <a:pt x="497411" y="611264"/>
                          <a:pt x="510041" y="614479"/>
                          <a:pt x="507397" y="626435"/>
                        </a:cubicBezTo>
                        <a:cubicBezTo>
                          <a:pt x="507197" y="629113"/>
                          <a:pt x="511174" y="630058"/>
                          <a:pt x="512399" y="627788"/>
                        </a:cubicBezTo>
                        <a:cubicBezTo>
                          <a:pt x="514315" y="624239"/>
                          <a:pt x="514344" y="619990"/>
                          <a:pt x="513259" y="616161"/>
                        </a:cubicBezTo>
                        <a:cubicBezTo>
                          <a:pt x="512590" y="612232"/>
                          <a:pt x="508933" y="609754"/>
                          <a:pt x="507999" y="606042"/>
                        </a:cubicBezTo>
                        <a:cubicBezTo>
                          <a:pt x="507773" y="604660"/>
                          <a:pt x="508584" y="601733"/>
                          <a:pt x="510252" y="601933"/>
                        </a:cubicBezTo>
                        <a:cubicBezTo>
                          <a:pt x="513872" y="604426"/>
                          <a:pt x="516134" y="608543"/>
                          <a:pt x="519732" y="611141"/>
                        </a:cubicBezTo>
                        <a:cubicBezTo>
                          <a:pt x="535142" y="622443"/>
                          <a:pt x="550478" y="599506"/>
                          <a:pt x="563147" y="592607"/>
                        </a:cubicBezTo>
                        <a:cubicBezTo>
                          <a:pt x="566565" y="590340"/>
                          <a:pt x="569872" y="587839"/>
                          <a:pt x="573389" y="585732"/>
                        </a:cubicBezTo>
                        <a:cubicBezTo>
                          <a:pt x="576859" y="583650"/>
                          <a:pt x="580051" y="583165"/>
                          <a:pt x="584040" y="583079"/>
                        </a:cubicBezTo>
                        <a:cubicBezTo>
                          <a:pt x="587620" y="583005"/>
                          <a:pt x="588851" y="577437"/>
                          <a:pt x="585436" y="576383"/>
                        </a:cubicBezTo>
                        <a:cubicBezTo>
                          <a:pt x="586715" y="574045"/>
                          <a:pt x="587589" y="571612"/>
                          <a:pt x="589388" y="569582"/>
                        </a:cubicBezTo>
                        <a:cubicBezTo>
                          <a:pt x="593711" y="576723"/>
                          <a:pt x="594913" y="585415"/>
                          <a:pt x="600495" y="591879"/>
                        </a:cubicBezTo>
                        <a:cubicBezTo>
                          <a:pt x="595787" y="592011"/>
                          <a:pt x="591492" y="594629"/>
                          <a:pt x="589197" y="598663"/>
                        </a:cubicBezTo>
                        <a:cubicBezTo>
                          <a:pt x="588152" y="600508"/>
                          <a:pt x="590798" y="602767"/>
                          <a:pt x="592240" y="601014"/>
                        </a:cubicBezTo>
                        <a:cubicBezTo>
                          <a:pt x="596127" y="595962"/>
                          <a:pt x="599453" y="597830"/>
                          <a:pt x="603847" y="595777"/>
                        </a:cubicBezTo>
                        <a:cubicBezTo>
                          <a:pt x="605018" y="597013"/>
                          <a:pt x="606240" y="598195"/>
                          <a:pt x="607522" y="599323"/>
                        </a:cubicBezTo>
                        <a:cubicBezTo>
                          <a:pt x="604661" y="600736"/>
                          <a:pt x="602177" y="603138"/>
                          <a:pt x="601006" y="605816"/>
                        </a:cubicBezTo>
                        <a:cubicBezTo>
                          <a:pt x="600292" y="607452"/>
                          <a:pt x="602137" y="609160"/>
                          <a:pt x="603582" y="607803"/>
                        </a:cubicBezTo>
                        <a:cubicBezTo>
                          <a:pt x="605932" y="605548"/>
                          <a:pt x="608704" y="603492"/>
                          <a:pt x="611937" y="602864"/>
                        </a:cubicBezTo>
                        <a:cubicBezTo>
                          <a:pt x="614024" y="604388"/>
                          <a:pt x="616200" y="605782"/>
                          <a:pt x="618444" y="607058"/>
                        </a:cubicBezTo>
                        <a:cubicBezTo>
                          <a:pt x="615731" y="608472"/>
                          <a:pt x="613236" y="610153"/>
                          <a:pt x="610880" y="612092"/>
                        </a:cubicBezTo>
                        <a:cubicBezTo>
                          <a:pt x="609093" y="613548"/>
                          <a:pt x="611471" y="616672"/>
                          <a:pt x="613364" y="615313"/>
                        </a:cubicBezTo>
                        <a:cubicBezTo>
                          <a:pt x="616437" y="612877"/>
                          <a:pt x="620163" y="611561"/>
                          <a:pt x="623552" y="609714"/>
                        </a:cubicBezTo>
                        <a:cubicBezTo>
                          <a:pt x="654713" y="624961"/>
                          <a:pt x="663042" y="609811"/>
                          <a:pt x="684348" y="617003"/>
                        </a:cubicBezTo>
                        <a:cubicBezTo>
                          <a:pt x="655281" y="627839"/>
                          <a:pt x="625662" y="643681"/>
                          <a:pt x="594707" y="647213"/>
                        </a:cubicBezTo>
                        <a:cubicBezTo>
                          <a:pt x="571239" y="645900"/>
                          <a:pt x="547023" y="645120"/>
                          <a:pt x="524343" y="652327"/>
                        </a:cubicBezTo>
                        <a:cubicBezTo>
                          <a:pt x="523424" y="652627"/>
                          <a:pt x="523512" y="654251"/>
                          <a:pt x="524586" y="654120"/>
                        </a:cubicBezTo>
                        <a:cubicBezTo>
                          <a:pt x="546937" y="650608"/>
                          <a:pt x="569429" y="648903"/>
                          <a:pt x="592018" y="650836"/>
                        </a:cubicBezTo>
                        <a:cubicBezTo>
                          <a:pt x="603256" y="651362"/>
                          <a:pt x="613561" y="647987"/>
                          <a:pt x="624046" y="644358"/>
                        </a:cubicBezTo>
                        <a:cubicBezTo>
                          <a:pt x="645715" y="636868"/>
                          <a:pt x="667105" y="628576"/>
                          <a:pt x="688189" y="619579"/>
                        </a:cubicBezTo>
                        <a:cubicBezTo>
                          <a:pt x="688725" y="620141"/>
                          <a:pt x="689125" y="620744"/>
                          <a:pt x="689479" y="621372"/>
                        </a:cubicBezTo>
                        <a:cubicBezTo>
                          <a:pt x="678478" y="626666"/>
                          <a:pt x="668667" y="634070"/>
                          <a:pt x="657993" y="639975"/>
                        </a:cubicBezTo>
                        <a:cubicBezTo>
                          <a:pt x="631410" y="652852"/>
                          <a:pt x="601714" y="658100"/>
                          <a:pt x="573752" y="667380"/>
                        </a:cubicBezTo>
                        <a:close/>
                        <a:moveTo>
                          <a:pt x="732095" y="645580"/>
                        </a:moveTo>
                        <a:cubicBezTo>
                          <a:pt x="733671" y="645631"/>
                          <a:pt x="735242" y="645742"/>
                          <a:pt x="736807" y="645791"/>
                        </a:cubicBezTo>
                        <a:cubicBezTo>
                          <a:pt x="687752" y="660485"/>
                          <a:pt x="637195" y="669279"/>
                          <a:pt x="586244" y="673708"/>
                        </a:cubicBezTo>
                        <a:cubicBezTo>
                          <a:pt x="586507" y="672880"/>
                          <a:pt x="586767" y="672037"/>
                          <a:pt x="586892" y="671141"/>
                        </a:cubicBezTo>
                        <a:cubicBezTo>
                          <a:pt x="605843" y="665453"/>
                          <a:pt x="624888" y="660039"/>
                          <a:pt x="643762" y="654112"/>
                        </a:cubicBezTo>
                        <a:cubicBezTo>
                          <a:pt x="643765" y="654660"/>
                          <a:pt x="644219" y="655225"/>
                          <a:pt x="644916" y="655060"/>
                        </a:cubicBezTo>
                        <a:cubicBezTo>
                          <a:pt x="648217" y="654271"/>
                          <a:pt x="651580" y="654189"/>
                          <a:pt x="654935" y="653746"/>
                        </a:cubicBezTo>
                        <a:cubicBezTo>
                          <a:pt x="664481" y="652510"/>
                          <a:pt x="674120" y="652341"/>
                          <a:pt x="683711" y="651673"/>
                        </a:cubicBezTo>
                        <a:cubicBezTo>
                          <a:pt x="700061" y="651211"/>
                          <a:pt x="715680" y="644623"/>
                          <a:pt x="732095" y="645580"/>
                        </a:cubicBezTo>
                        <a:close/>
                        <a:moveTo>
                          <a:pt x="737920" y="636874"/>
                        </a:moveTo>
                        <a:cubicBezTo>
                          <a:pt x="735208" y="636694"/>
                          <a:pt x="732378" y="637254"/>
                          <a:pt x="729737" y="636885"/>
                        </a:cubicBezTo>
                        <a:cubicBezTo>
                          <a:pt x="727295" y="636366"/>
                          <a:pt x="726173" y="639966"/>
                          <a:pt x="726305" y="641859"/>
                        </a:cubicBezTo>
                        <a:cubicBezTo>
                          <a:pt x="712490" y="641334"/>
                          <a:pt x="699276" y="646345"/>
                          <a:pt x="685585" y="647424"/>
                        </a:cubicBezTo>
                        <a:cubicBezTo>
                          <a:pt x="674266" y="648712"/>
                          <a:pt x="662736" y="648758"/>
                          <a:pt x="651589" y="651242"/>
                        </a:cubicBezTo>
                        <a:cubicBezTo>
                          <a:pt x="668195" y="645825"/>
                          <a:pt x="683694" y="628122"/>
                          <a:pt x="700361" y="626752"/>
                        </a:cubicBezTo>
                        <a:cubicBezTo>
                          <a:pt x="706671" y="626526"/>
                          <a:pt x="712939" y="626018"/>
                          <a:pt x="719249" y="625715"/>
                        </a:cubicBezTo>
                        <a:cubicBezTo>
                          <a:pt x="716519" y="627982"/>
                          <a:pt x="715149" y="644089"/>
                          <a:pt x="721345" y="640826"/>
                        </a:cubicBezTo>
                        <a:cubicBezTo>
                          <a:pt x="721896" y="640440"/>
                          <a:pt x="721879" y="639869"/>
                          <a:pt x="721602" y="639344"/>
                        </a:cubicBezTo>
                        <a:cubicBezTo>
                          <a:pt x="719520" y="634495"/>
                          <a:pt x="720406" y="628016"/>
                          <a:pt x="724637" y="624590"/>
                        </a:cubicBezTo>
                        <a:cubicBezTo>
                          <a:pt x="724866" y="624459"/>
                          <a:pt x="725111" y="624336"/>
                          <a:pt x="725280" y="624127"/>
                        </a:cubicBezTo>
                        <a:cubicBezTo>
                          <a:pt x="726053" y="624582"/>
                          <a:pt x="726733" y="625235"/>
                          <a:pt x="726973" y="626121"/>
                        </a:cubicBezTo>
                        <a:cubicBezTo>
                          <a:pt x="726770" y="626772"/>
                          <a:pt x="727170" y="627677"/>
                          <a:pt x="727998" y="627645"/>
                        </a:cubicBezTo>
                        <a:cubicBezTo>
                          <a:pt x="732472" y="627480"/>
                          <a:pt x="736687" y="627565"/>
                          <a:pt x="741218" y="627457"/>
                        </a:cubicBezTo>
                        <a:cubicBezTo>
                          <a:pt x="739936" y="630352"/>
                          <a:pt x="739865" y="633856"/>
                          <a:pt x="741284" y="636802"/>
                        </a:cubicBezTo>
                        <a:cubicBezTo>
                          <a:pt x="740105" y="636791"/>
                          <a:pt x="738922" y="636888"/>
                          <a:pt x="737920" y="636874"/>
                        </a:cubicBezTo>
                        <a:close/>
                        <a:moveTo>
                          <a:pt x="745156" y="636854"/>
                        </a:moveTo>
                        <a:cubicBezTo>
                          <a:pt x="742095" y="635772"/>
                          <a:pt x="742663" y="630212"/>
                          <a:pt x="743868" y="627902"/>
                        </a:cubicBezTo>
                        <a:cubicBezTo>
                          <a:pt x="744736" y="627740"/>
                          <a:pt x="745570" y="628085"/>
                          <a:pt x="746421" y="628262"/>
                        </a:cubicBezTo>
                        <a:cubicBezTo>
                          <a:pt x="747123" y="630369"/>
                          <a:pt x="748639" y="636548"/>
                          <a:pt x="745156" y="636854"/>
                        </a:cubicBezTo>
                        <a:close/>
                      </a:path>
                    </a:pathLst>
                  </a:custGeom>
                  <a:solidFill>
                    <a:srgbClr val="000000"/>
                  </a:solidFill>
                  <a:ln w="2826" cap="flat">
                    <a:noFill/>
                    <a:prstDash val="solid"/>
                    <a:miter/>
                  </a:ln>
                </p:spPr>
                <p:txBody>
                  <a:bodyPr rtlCol="0" anchor="ctr"/>
                  <a:lstStyle/>
                  <a:p>
                    <a:endParaRPr lang="fr-CA"/>
                  </a:p>
                </p:txBody>
              </p:sp>
            </p:grpSp>
          </p:grpSp>
          <p:grpSp>
            <p:nvGrpSpPr>
              <p:cNvPr id="1432" name="Graphique 35" descr="Garçon dans un fauteuil roulant">
                <a:extLst>
                  <a:ext uri="{FF2B5EF4-FFF2-40B4-BE49-F238E27FC236}">
                    <a16:creationId xmlns:a16="http://schemas.microsoft.com/office/drawing/2014/main" id="{1C3A1ABF-5344-E3E6-C56D-2F462F0C19EF}"/>
                  </a:ext>
                </a:extLst>
              </p:cNvPr>
              <p:cNvGrpSpPr/>
              <p:nvPr/>
            </p:nvGrpSpPr>
            <p:grpSpPr>
              <a:xfrm>
                <a:off x="9352242" y="3832116"/>
                <a:ext cx="154059" cy="189583"/>
                <a:chOff x="9352242" y="3832116"/>
                <a:chExt cx="154059" cy="189583"/>
              </a:xfrm>
            </p:grpSpPr>
            <p:sp>
              <p:nvSpPr>
                <p:cNvPr id="1442" name="Forme libre : forme 1441">
                  <a:extLst>
                    <a:ext uri="{FF2B5EF4-FFF2-40B4-BE49-F238E27FC236}">
                      <a16:creationId xmlns:a16="http://schemas.microsoft.com/office/drawing/2014/main" id="{14940235-8CBD-9370-A6B7-070F6F3BBC6C}"/>
                    </a:ext>
                  </a:extLst>
                </p:cNvPr>
                <p:cNvSpPr/>
                <p:nvPr/>
              </p:nvSpPr>
              <p:spPr>
                <a:xfrm>
                  <a:off x="9353792" y="3844553"/>
                  <a:ext cx="148476" cy="174319"/>
                </a:xfrm>
                <a:custGeom>
                  <a:avLst/>
                  <a:gdLst>
                    <a:gd name="connsiteX0" fmla="*/ 77552 w 148476"/>
                    <a:gd name="connsiteY0" fmla="*/ 2095 h 174319"/>
                    <a:gd name="connsiteX1" fmla="*/ 129491 w 148476"/>
                    <a:gd name="connsiteY1" fmla="*/ 19427 h 174319"/>
                    <a:gd name="connsiteX2" fmla="*/ 132803 w 148476"/>
                    <a:gd name="connsiteY2" fmla="*/ 32076 h 174319"/>
                    <a:gd name="connsiteX3" fmla="*/ 149193 w 148476"/>
                    <a:gd name="connsiteY3" fmla="*/ 139009 h 174319"/>
                    <a:gd name="connsiteX4" fmla="*/ 94227 w 148476"/>
                    <a:gd name="connsiteY4" fmla="*/ 176414 h 174319"/>
                    <a:gd name="connsiteX5" fmla="*/ 33666 w 148476"/>
                    <a:gd name="connsiteY5" fmla="*/ 153286 h 174319"/>
                    <a:gd name="connsiteX6" fmla="*/ 17476 w 148476"/>
                    <a:gd name="connsiteY6" fmla="*/ 125960 h 174319"/>
                    <a:gd name="connsiteX7" fmla="*/ 10023 w 148476"/>
                    <a:gd name="connsiteY7" fmla="*/ 126960 h 174319"/>
                    <a:gd name="connsiteX8" fmla="*/ 1228 w 148476"/>
                    <a:gd name="connsiteY8" fmla="*/ 110227 h 174319"/>
                    <a:gd name="connsiteX9" fmla="*/ 12222 w 148476"/>
                    <a:gd name="connsiteY9" fmla="*/ 91439 h 174319"/>
                    <a:gd name="connsiteX10" fmla="*/ 18218 w 148476"/>
                    <a:gd name="connsiteY10" fmla="*/ 22882 h 174319"/>
                    <a:gd name="connsiteX11" fmla="*/ 77552 w 148476"/>
                    <a:gd name="connsiteY11" fmla="*/ 2095 h 1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476" h="174319">
                      <a:moveTo>
                        <a:pt x="77552" y="2095"/>
                      </a:moveTo>
                      <a:cubicBezTo>
                        <a:pt x="96369" y="2095"/>
                        <a:pt x="119840" y="7891"/>
                        <a:pt x="129491" y="19427"/>
                      </a:cubicBezTo>
                      <a:cubicBezTo>
                        <a:pt x="131832" y="22197"/>
                        <a:pt x="132289" y="29164"/>
                        <a:pt x="132803" y="32076"/>
                      </a:cubicBezTo>
                      <a:cubicBezTo>
                        <a:pt x="135830" y="49751"/>
                        <a:pt x="152848" y="117251"/>
                        <a:pt x="149193" y="139009"/>
                      </a:cubicBezTo>
                      <a:cubicBezTo>
                        <a:pt x="145538" y="160738"/>
                        <a:pt x="125807" y="176414"/>
                        <a:pt x="94227" y="176414"/>
                      </a:cubicBezTo>
                      <a:cubicBezTo>
                        <a:pt x="62647" y="176414"/>
                        <a:pt x="39062" y="159196"/>
                        <a:pt x="33666" y="153286"/>
                      </a:cubicBezTo>
                      <a:cubicBezTo>
                        <a:pt x="28240" y="147347"/>
                        <a:pt x="17476" y="125960"/>
                        <a:pt x="17476" y="125960"/>
                      </a:cubicBezTo>
                      <a:cubicBezTo>
                        <a:pt x="17476" y="125960"/>
                        <a:pt x="13335" y="128359"/>
                        <a:pt x="10023" y="126960"/>
                      </a:cubicBezTo>
                      <a:cubicBezTo>
                        <a:pt x="5455" y="125018"/>
                        <a:pt x="1286" y="118251"/>
                        <a:pt x="1228" y="110227"/>
                      </a:cubicBezTo>
                      <a:cubicBezTo>
                        <a:pt x="1143" y="96436"/>
                        <a:pt x="12222" y="91439"/>
                        <a:pt x="12222" y="91439"/>
                      </a:cubicBezTo>
                      <a:cubicBezTo>
                        <a:pt x="12222" y="91439"/>
                        <a:pt x="8281" y="37044"/>
                        <a:pt x="18218" y="22882"/>
                      </a:cubicBezTo>
                      <a:cubicBezTo>
                        <a:pt x="28155" y="8720"/>
                        <a:pt x="54224" y="2095"/>
                        <a:pt x="77552" y="2095"/>
                      </a:cubicBezTo>
                      <a:close/>
                    </a:path>
                  </a:pathLst>
                </a:custGeom>
                <a:solidFill>
                  <a:srgbClr val="FFFFFF"/>
                </a:solidFill>
                <a:ln w="2826" cap="flat">
                  <a:noFill/>
                  <a:prstDash val="solid"/>
                  <a:miter/>
                </a:ln>
              </p:spPr>
              <p:txBody>
                <a:bodyPr rtlCol="0" anchor="ctr"/>
                <a:lstStyle/>
                <a:p>
                  <a:endParaRPr lang="fr-CA"/>
                </a:p>
              </p:txBody>
            </p:sp>
            <p:sp>
              <p:nvSpPr>
                <p:cNvPr id="1443" name="Forme libre : forme 1442">
                  <a:extLst>
                    <a:ext uri="{FF2B5EF4-FFF2-40B4-BE49-F238E27FC236}">
                      <a16:creationId xmlns:a16="http://schemas.microsoft.com/office/drawing/2014/main" id="{BB8A0027-C4BD-37AA-9609-B3E24DA05AD3}"/>
                    </a:ext>
                  </a:extLst>
                </p:cNvPr>
                <p:cNvSpPr/>
                <p:nvPr/>
              </p:nvSpPr>
              <p:spPr>
                <a:xfrm>
                  <a:off x="9352242" y="3832116"/>
                  <a:ext cx="154059" cy="189583"/>
                </a:xfrm>
                <a:custGeom>
                  <a:avLst/>
                  <a:gdLst>
                    <a:gd name="connsiteX0" fmla="*/ 97119 w 154059"/>
                    <a:gd name="connsiteY0" fmla="*/ 191678 h 189583"/>
                    <a:gd name="connsiteX1" fmla="*/ 82671 w 154059"/>
                    <a:gd name="connsiteY1" fmla="*/ 190108 h 189583"/>
                    <a:gd name="connsiteX2" fmla="*/ 80415 w 154059"/>
                    <a:gd name="connsiteY2" fmla="*/ 182456 h 189583"/>
                    <a:gd name="connsiteX3" fmla="*/ 142690 w 154059"/>
                    <a:gd name="connsiteY3" fmla="*/ 162525 h 189583"/>
                    <a:gd name="connsiteX4" fmla="*/ 145117 w 154059"/>
                    <a:gd name="connsiteY4" fmla="*/ 124749 h 189583"/>
                    <a:gd name="connsiteX5" fmla="*/ 137208 w 154059"/>
                    <a:gd name="connsiteY5" fmla="*/ 72782 h 189583"/>
                    <a:gd name="connsiteX6" fmla="*/ 137208 w 154059"/>
                    <a:gd name="connsiteY6" fmla="*/ 72782 h 189583"/>
                    <a:gd name="connsiteX7" fmla="*/ 134095 w 154059"/>
                    <a:gd name="connsiteY7" fmla="*/ 48026 h 189583"/>
                    <a:gd name="connsiteX8" fmla="*/ 133867 w 154059"/>
                    <a:gd name="connsiteY8" fmla="*/ 41630 h 189583"/>
                    <a:gd name="connsiteX9" fmla="*/ 136608 w 154059"/>
                    <a:gd name="connsiteY9" fmla="*/ 49625 h 189583"/>
                    <a:gd name="connsiteX10" fmla="*/ 145659 w 154059"/>
                    <a:gd name="connsiteY10" fmla="*/ 88344 h 189583"/>
                    <a:gd name="connsiteX11" fmla="*/ 154026 w 154059"/>
                    <a:gd name="connsiteY11" fmla="*/ 133601 h 189583"/>
                    <a:gd name="connsiteX12" fmla="*/ 151027 w 154059"/>
                    <a:gd name="connsiteY12" fmla="*/ 164667 h 189583"/>
                    <a:gd name="connsiteX13" fmla="*/ 97119 w 154059"/>
                    <a:gd name="connsiteY13" fmla="*/ 191678 h 189583"/>
                    <a:gd name="connsiteX14" fmla="*/ 44666 w 154059"/>
                    <a:gd name="connsiteY14" fmla="*/ 173490 h 189583"/>
                    <a:gd name="connsiteX15" fmla="*/ 19396 w 154059"/>
                    <a:gd name="connsiteY15" fmla="*/ 139968 h 189583"/>
                    <a:gd name="connsiteX16" fmla="*/ 12686 w 154059"/>
                    <a:gd name="connsiteY16" fmla="*/ 142652 h 189583"/>
                    <a:gd name="connsiteX17" fmla="*/ 8060 w 154059"/>
                    <a:gd name="connsiteY17" fmla="*/ 106304 h 189583"/>
                    <a:gd name="connsiteX18" fmla="*/ 7718 w 154059"/>
                    <a:gd name="connsiteY18" fmla="*/ 60760 h 189583"/>
                    <a:gd name="connsiteX19" fmla="*/ 10887 w 154059"/>
                    <a:gd name="connsiteY19" fmla="*/ 36947 h 189583"/>
                    <a:gd name="connsiteX20" fmla="*/ 33330 w 154059"/>
                    <a:gd name="connsiteY20" fmla="*/ 2997 h 189583"/>
                    <a:gd name="connsiteX21" fmla="*/ 43866 w 154059"/>
                    <a:gd name="connsiteY21" fmla="*/ 2112 h 189583"/>
                    <a:gd name="connsiteX22" fmla="*/ 109282 w 154059"/>
                    <a:gd name="connsiteY22" fmla="*/ 3568 h 189583"/>
                    <a:gd name="connsiteX23" fmla="*/ 126871 w 154059"/>
                    <a:gd name="connsiteY23" fmla="*/ 3825 h 189583"/>
                    <a:gd name="connsiteX24" fmla="*/ 138835 w 154059"/>
                    <a:gd name="connsiteY24" fmla="*/ 7851 h 189583"/>
                    <a:gd name="connsiteX25" fmla="*/ 142062 w 154059"/>
                    <a:gd name="connsiteY25" fmla="*/ 8136 h 189583"/>
                    <a:gd name="connsiteX26" fmla="*/ 144546 w 154059"/>
                    <a:gd name="connsiteY26" fmla="*/ 12305 h 189583"/>
                    <a:gd name="connsiteX27" fmla="*/ 141862 w 154059"/>
                    <a:gd name="connsiteY27" fmla="*/ 23984 h 189583"/>
                    <a:gd name="connsiteX28" fmla="*/ 138921 w 154059"/>
                    <a:gd name="connsiteY28" fmla="*/ 38889 h 189583"/>
                    <a:gd name="connsiteX29" fmla="*/ 132011 w 154059"/>
                    <a:gd name="connsiteY29" fmla="*/ 37318 h 189583"/>
                    <a:gd name="connsiteX30" fmla="*/ 38099 w 154059"/>
                    <a:gd name="connsiteY30" fmla="*/ 46627 h 189583"/>
                    <a:gd name="connsiteX31" fmla="*/ 36014 w 154059"/>
                    <a:gd name="connsiteY31" fmla="*/ 53137 h 189583"/>
                    <a:gd name="connsiteX32" fmla="*/ 37413 w 154059"/>
                    <a:gd name="connsiteY32" fmla="*/ 56792 h 189583"/>
                    <a:gd name="connsiteX33" fmla="*/ 40526 w 154059"/>
                    <a:gd name="connsiteY33" fmla="*/ 65415 h 189583"/>
                    <a:gd name="connsiteX34" fmla="*/ 35015 w 154059"/>
                    <a:gd name="connsiteY34" fmla="*/ 73296 h 189583"/>
                    <a:gd name="connsiteX35" fmla="*/ 27419 w 154059"/>
                    <a:gd name="connsiteY35" fmla="*/ 89457 h 189583"/>
                    <a:gd name="connsiteX36" fmla="*/ 27933 w 154059"/>
                    <a:gd name="connsiteY36" fmla="*/ 105361 h 189583"/>
                    <a:gd name="connsiteX37" fmla="*/ 23622 w 154059"/>
                    <a:gd name="connsiteY37" fmla="*/ 109416 h 189583"/>
                    <a:gd name="connsiteX38" fmla="*/ 22851 w 154059"/>
                    <a:gd name="connsiteY38" fmla="*/ 109131 h 189583"/>
                    <a:gd name="connsiteX39" fmla="*/ 12486 w 154059"/>
                    <a:gd name="connsiteY39" fmla="*/ 108759 h 189583"/>
                    <a:gd name="connsiteX40" fmla="*/ 13200 w 154059"/>
                    <a:gd name="connsiteY40" fmla="*/ 135542 h 189583"/>
                    <a:gd name="connsiteX41" fmla="*/ 19910 w 154059"/>
                    <a:gd name="connsiteY41" fmla="*/ 138683 h 189583"/>
                    <a:gd name="connsiteX42" fmla="*/ 46864 w 154059"/>
                    <a:gd name="connsiteY42" fmla="*/ 167522 h 189583"/>
                    <a:gd name="connsiteX43" fmla="*/ 44666 w 154059"/>
                    <a:gd name="connsiteY43" fmla="*/ 173490 h 189583"/>
                    <a:gd name="connsiteX44" fmla="*/ 21966 w 154059"/>
                    <a:gd name="connsiteY44" fmla="*/ 128804 h 189583"/>
                    <a:gd name="connsiteX45" fmla="*/ 19025 w 154059"/>
                    <a:gd name="connsiteY45" fmla="*/ 126434 h 189583"/>
                    <a:gd name="connsiteX46" fmla="*/ 11515 w 154059"/>
                    <a:gd name="connsiteY46" fmla="*/ 119695 h 189583"/>
                    <a:gd name="connsiteX47" fmla="*/ 11344 w 154059"/>
                    <a:gd name="connsiteY47" fmla="*/ 119096 h 189583"/>
                    <a:gd name="connsiteX48" fmla="*/ 21109 w 154059"/>
                    <a:gd name="connsiteY48" fmla="*/ 119609 h 189583"/>
                    <a:gd name="connsiteX49" fmla="*/ 21966 w 154059"/>
                    <a:gd name="connsiteY49" fmla="*/ 128804 h 18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4059" h="189583">
                      <a:moveTo>
                        <a:pt x="97119" y="191678"/>
                      </a:moveTo>
                      <a:cubicBezTo>
                        <a:pt x="92265" y="191678"/>
                        <a:pt x="87439" y="191136"/>
                        <a:pt x="82671" y="190108"/>
                      </a:cubicBezTo>
                      <a:cubicBezTo>
                        <a:pt x="76389" y="189594"/>
                        <a:pt x="70078" y="182085"/>
                        <a:pt x="80415" y="182456"/>
                      </a:cubicBezTo>
                      <a:cubicBezTo>
                        <a:pt x="102372" y="187453"/>
                        <a:pt x="126843" y="183741"/>
                        <a:pt x="142690" y="162525"/>
                      </a:cubicBezTo>
                      <a:cubicBezTo>
                        <a:pt x="150143" y="151161"/>
                        <a:pt x="147116" y="137541"/>
                        <a:pt x="145117" y="124749"/>
                      </a:cubicBezTo>
                      <a:cubicBezTo>
                        <a:pt x="141862" y="103991"/>
                        <a:pt x="139920" y="90628"/>
                        <a:pt x="137208" y="72782"/>
                      </a:cubicBezTo>
                      <a:lnTo>
                        <a:pt x="137208" y="72782"/>
                      </a:lnTo>
                      <a:cubicBezTo>
                        <a:pt x="135951" y="64358"/>
                        <a:pt x="134666" y="56763"/>
                        <a:pt x="134095" y="48026"/>
                      </a:cubicBezTo>
                      <a:cubicBezTo>
                        <a:pt x="133953" y="45970"/>
                        <a:pt x="133382" y="41658"/>
                        <a:pt x="133867" y="41630"/>
                      </a:cubicBezTo>
                      <a:cubicBezTo>
                        <a:pt x="134381" y="41601"/>
                        <a:pt x="135780" y="46998"/>
                        <a:pt x="136608" y="49625"/>
                      </a:cubicBezTo>
                      <a:cubicBezTo>
                        <a:pt x="140634" y="62217"/>
                        <a:pt x="142576" y="73952"/>
                        <a:pt x="145659" y="88344"/>
                      </a:cubicBezTo>
                      <a:cubicBezTo>
                        <a:pt x="148515" y="103306"/>
                        <a:pt x="151542" y="118410"/>
                        <a:pt x="154026" y="133601"/>
                      </a:cubicBezTo>
                      <a:cubicBezTo>
                        <a:pt x="155767" y="143937"/>
                        <a:pt x="156453" y="155273"/>
                        <a:pt x="151027" y="164667"/>
                      </a:cubicBezTo>
                      <a:cubicBezTo>
                        <a:pt x="140149" y="182941"/>
                        <a:pt x="117620" y="191393"/>
                        <a:pt x="97119" y="191678"/>
                      </a:cubicBezTo>
                      <a:close/>
                      <a:moveTo>
                        <a:pt x="44666" y="173490"/>
                      </a:moveTo>
                      <a:cubicBezTo>
                        <a:pt x="31503" y="169407"/>
                        <a:pt x="21794" y="153017"/>
                        <a:pt x="19396" y="139968"/>
                      </a:cubicBezTo>
                      <a:cubicBezTo>
                        <a:pt x="18368" y="142595"/>
                        <a:pt x="15199" y="143195"/>
                        <a:pt x="12686" y="142652"/>
                      </a:cubicBezTo>
                      <a:cubicBezTo>
                        <a:pt x="-1220" y="140311"/>
                        <a:pt x="-2105" y="112956"/>
                        <a:pt x="8060" y="106304"/>
                      </a:cubicBezTo>
                      <a:cubicBezTo>
                        <a:pt x="1921" y="91856"/>
                        <a:pt x="5947" y="75722"/>
                        <a:pt x="7718" y="60760"/>
                      </a:cubicBezTo>
                      <a:cubicBezTo>
                        <a:pt x="7718" y="60760"/>
                        <a:pt x="10887" y="36947"/>
                        <a:pt x="10887" y="36947"/>
                      </a:cubicBezTo>
                      <a:cubicBezTo>
                        <a:pt x="12172" y="23127"/>
                        <a:pt x="17511" y="5653"/>
                        <a:pt x="33330" y="2997"/>
                      </a:cubicBezTo>
                      <a:cubicBezTo>
                        <a:pt x="36785" y="2254"/>
                        <a:pt x="40326" y="2026"/>
                        <a:pt x="43866" y="2112"/>
                      </a:cubicBezTo>
                      <a:cubicBezTo>
                        <a:pt x="53489" y="2283"/>
                        <a:pt x="93835" y="3225"/>
                        <a:pt x="109282" y="3568"/>
                      </a:cubicBezTo>
                      <a:cubicBezTo>
                        <a:pt x="113765" y="3653"/>
                        <a:pt x="122303" y="3739"/>
                        <a:pt x="126871" y="3825"/>
                      </a:cubicBezTo>
                      <a:cubicBezTo>
                        <a:pt x="130612" y="4282"/>
                        <a:pt x="138721" y="2311"/>
                        <a:pt x="138835" y="7851"/>
                      </a:cubicBezTo>
                      <a:lnTo>
                        <a:pt x="142062" y="8136"/>
                      </a:lnTo>
                      <a:cubicBezTo>
                        <a:pt x="144089" y="8165"/>
                        <a:pt x="145488" y="10478"/>
                        <a:pt x="144546" y="12305"/>
                      </a:cubicBezTo>
                      <a:cubicBezTo>
                        <a:pt x="143432" y="14618"/>
                        <a:pt x="142576" y="19729"/>
                        <a:pt x="141862" y="23984"/>
                      </a:cubicBezTo>
                      <a:cubicBezTo>
                        <a:pt x="140577" y="29124"/>
                        <a:pt x="140463" y="34663"/>
                        <a:pt x="138921" y="38889"/>
                      </a:cubicBezTo>
                      <a:cubicBezTo>
                        <a:pt x="137208" y="41944"/>
                        <a:pt x="131554" y="41373"/>
                        <a:pt x="132011" y="37318"/>
                      </a:cubicBezTo>
                      <a:cubicBezTo>
                        <a:pt x="100459" y="36291"/>
                        <a:pt x="68023" y="36947"/>
                        <a:pt x="38099" y="46627"/>
                      </a:cubicBezTo>
                      <a:cubicBezTo>
                        <a:pt x="35700" y="48083"/>
                        <a:pt x="35757" y="50738"/>
                        <a:pt x="36014" y="53137"/>
                      </a:cubicBezTo>
                      <a:cubicBezTo>
                        <a:pt x="36185" y="55450"/>
                        <a:pt x="37070" y="55050"/>
                        <a:pt x="37413" y="56792"/>
                      </a:cubicBezTo>
                      <a:cubicBezTo>
                        <a:pt x="38184" y="59733"/>
                        <a:pt x="39127" y="62674"/>
                        <a:pt x="40526" y="65415"/>
                      </a:cubicBezTo>
                      <a:cubicBezTo>
                        <a:pt x="43324" y="69355"/>
                        <a:pt x="38841" y="73067"/>
                        <a:pt x="35015" y="73296"/>
                      </a:cubicBezTo>
                      <a:cubicBezTo>
                        <a:pt x="27305" y="73895"/>
                        <a:pt x="27848" y="83518"/>
                        <a:pt x="27419" y="89457"/>
                      </a:cubicBezTo>
                      <a:cubicBezTo>
                        <a:pt x="27048" y="94768"/>
                        <a:pt x="27477" y="100079"/>
                        <a:pt x="27933" y="105361"/>
                      </a:cubicBezTo>
                      <a:cubicBezTo>
                        <a:pt x="28305" y="108502"/>
                        <a:pt x="25906" y="111557"/>
                        <a:pt x="23622" y="109416"/>
                      </a:cubicBezTo>
                      <a:cubicBezTo>
                        <a:pt x="23308" y="109131"/>
                        <a:pt x="23136" y="109473"/>
                        <a:pt x="22851" y="109131"/>
                      </a:cubicBezTo>
                      <a:cubicBezTo>
                        <a:pt x="20224" y="106104"/>
                        <a:pt x="15570" y="106503"/>
                        <a:pt x="12486" y="108759"/>
                      </a:cubicBezTo>
                      <a:cubicBezTo>
                        <a:pt x="5462" y="113156"/>
                        <a:pt x="6319" y="132316"/>
                        <a:pt x="13200" y="135542"/>
                      </a:cubicBezTo>
                      <a:cubicBezTo>
                        <a:pt x="15142" y="136342"/>
                        <a:pt x="20795" y="135257"/>
                        <a:pt x="19910" y="138683"/>
                      </a:cubicBezTo>
                      <a:cubicBezTo>
                        <a:pt x="25335" y="148705"/>
                        <a:pt x="35072" y="162639"/>
                        <a:pt x="46864" y="167522"/>
                      </a:cubicBezTo>
                      <a:cubicBezTo>
                        <a:pt x="50691" y="168636"/>
                        <a:pt x="48007" y="173947"/>
                        <a:pt x="44666" y="173490"/>
                      </a:cubicBezTo>
                      <a:close/>
                      <a:moveTo>
                        <a:pt x="21966" y="128804"/>
                      </a:moveTo>
                      <a:cubicBezTo>
                        <a:pt x="20567" y="128861"/>
                        <a:pt x="19282" y="127804"/>
                        <a:pt x="19025" y="126434"/>
                      </a:cubicBezTo>
                      <a:cubicBezTo>
                        <a:pt x="18225" y="123122"/>
                        <a:pt x="14941" y="120152"/>
                        <a:pt x="11515" y="119695"/>
                      </a:cubicBezTo>
                      <a:cubicBezTo>
                        <a:pt x="11230" y="119667"/>
                        <a:pt x="11030" y="119210"/>
                        <a:pt x="11344" y="119096"/>
                      </a:cubicBezTo>
                      <a:cubicBezTo>
                        <a:pt x="14485" y="117525"/>
                        <a:pt x="18168" y="117725"/>
                        <a:pt x="21109" y="119609"/>
                      </a:cubicBezTo>
                      <a:cubicBezTo>
                        <a:pt x="24935" y="121780"/>
                        <a:pt x="28448" y="128061"/>
                        <a:pt x="21966" y="128804"/>
                      </a:cubicBezTo>
                      <a:close/>
                    </a:path>
                  </a:pathLst>
                </a:custGeom>
                <a:solidFill>
                  <a:srgbClr val="000000"/>
                </a:solidFill>
                <a:ln w="2826" cap="flat">
                  <a:noFill/>
                  <a:prstDash val="solid"/>
                  <a:miter/>
                </a:ln>
              </p:spPr>
              <p:txBody>
                <a:bodyPr rtlCol="0" anchor="ctr"/>
                <a:lstStyle/>
                <a:p>
                  <a:endParaRPr lang="fr-CA"/>
                </a:p>
              </p:txBody>
            </p:sp>
          </p:grpSp>
          <p:grpSp>
            <p:nvGrpSpPr>
              <p:cNvPr id="1433" name="Graphique 35" descr="Garçon dans un fauteuil roulant">
                <a:extLst>
                  <a:ext uri="{FF2B5EF4-FFF2-40B4-BE49-F238E27FC236}">
                    <a16:creationId xmlns:a16="http://schemas.microsoft.com/office/drawing/2014/main" id="{43D1FB3D-13DB-E64D-10BC-A9A7716A9534}"/>
                  </a:ext>
                </a:extLst>
              </p:cNvPr>
              <p:cNvGrpSpPr/>
              <p:nvPr/>
            </p:nvGrpSpPr>
            <p:grpSpPr>
              <a:xfrm>
                <a:off x="9408469" y="3907926"/>
                <a:ext cx="79331" cy="83686"/>
                <a:chOff x="9408469" y="3907926"/>
                <a:chExt cx="79331" cy="83686"/>
              </a:xfrm>
            </p:grpSpPr>
            <p:sp>
              <p:nvSpPr>
                <p:cNvPr id="1434" name="Forme libre : forme 1433">
                  <a:extLst>
                    <a:ext uri="{FF2B5EF4-FFF2-40B4-BE49-F238E27FC236}">
                      <a16:creationId xmlns:a16="http://schemas.microsoft.com/office/drawing/2014/main" id="{2A21FECB-DB08-FFC9-1F85-9A6F93317397}"/>
                    </a:ext>
                  </a:extLst>
                </p:cNvPr>
                <p:cNvSpPr/>
                <p:nvPr/>
              </p:nvSpPr>
              <p:spPr>
                <a:xfrm>
                  <a:off x="9413190" y="3960732"/>
                  <a:ext cx="64888" cy="27596"/>
                </a:xfrm>
                <a:custGeom>
                  <a:avLst/>
                  <a:gdLst>
                    <a:gd name="connsiteX0" fmla="*/ 8773 w 64888"/>
                    <a:gd name="connsiteY0" fmla="*/ 2387 h 27596"/>
                    <a:gd name="connsiteX1" fmla="*/ 43265 w 64888"/>
                    <a:gd name="connsiteY1" fmla="*/ 3186 h 27596"/>
                    <a:gd name="connsiteX2" fmla="*/ 62910 w 64888"/>
                    <a:gd name="connsiteY2" fmla="*/ 3415 h 27596"/>
                    <a:gd name="connsiteX3" fmla="*/ 56000 w 64888"/>
                    <a:gd name="connsiteY3" fmla="*/ 25658 h 27596"/>
                    <a:gd name="connsiteX4" fmla="*/ 6032 w 64888"/>
                    <a:gd name="connsiteY4" fmla="*/ 25258 h 27596"/>
                    <a:gd name="connsiteX5" fmla="*/ 8773 w 64888"/>
                    <a:gd name="connsiteY5" fmla="*/ 2387 h 2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88" h="27596">
                      <a:moveTo>
                        <a:pt x="8773" y="2387"/>
                      </a:moveTo>
                      <a:cubicBezTo>
                        <a:pt x="13199" y="-297"/>
                        <a:pt x="30245" y="2472"/>
                        <a:pt x="43265" y="3186"/>
                      </a:cubicBezTo>
                      <a:cubicBezTo>
                        <a:pt x="53716" y="1816"/>
                        <a:pt x="60540" y="1816"/>
                        <a:pt x="62910" y="3415"/>
                      </a:cubicBezTo>
                      <a:cubicBezTo>
                        <a:pt x="68250" y="7012"/>
                        <a:pt x="68992" y="18491"/>
                        <a:pt x="56000" y="25658"/>
                      </a:cubicBezTo>
                      <a:cubicBezTo>
                        <a:pt x="49890" y="28770"/>
                        <a:pt x="11828" y="31054"/>
                        <a:pt x="6032" y="25258"/>
                      </a:cubicBezTo>
                      <a:cubicBezTo>
                        <a:pt x="-1021" y="18205"/>
                        <a:pt x="806" y="7184"/>
                        <a:pt x="8773" y="2387"/>
                      </a:cubicBezTo>
                      <a:close/>
                    </a:path>
                  </a:pathLst>
                </a:custGeom>
                <a:solidFill>
                  <a:srgbClr val="FFFFFF"/>
                </a:solidFill>
                <a:ln w="2826" cap="flat">
                  <a:noFill/>
                  <a:prstDash val="solid"/>
                  <a:miter/>
                </a:ln>
              </p:spPr>
              <p:txBody>
                <a:bodyPr rtlCol="0" anchor="ctr"/>
                <a:lstStyle/>
                <a:p>
                  <a:endParaRPr lang="fr-CA"/>
                </a:p>
              </p:txBody>
            </p:sp>
            <p:grpSp>
              <p:nvGrpSpPr>
                <p:cNvPr id="1435" name="Graphique 35" descr="Garçon dans un fauteuil roulant">
                  <a:extLst>
                    <a:ext uri="{FF2B5EF4-FFF2-40B4-BE49-F238E27FC236}">
                      <a16:creationId xmlns:a16="http://schemas.microsoft.com/office/drawing/2014/main" id="{677B38FB-6968-C4EC-06C1-D3C700708C24}"/>
                    </a:ext>
                  </a:extLst>
                </p:cNvPr>
                <p:cNvGrpSpPr/>
                <p:nvPr/>
              </p:nvGrpSpPr>
              <p:grpSpPr>
                <a:xfrm>
                  <a:off x="9408469" y="3907926"/>
                  <a:ext cx="79331" cy="83686"/>
                  <a:chOff x="9408469" y="3907926"/>
                  <a:chExt cx="79331" cy="83686"/>
                </a:xfrm>
                <a:solidFill>
                  <a:srgbClr val="000000"/>
                </a:solidFill>
              </p:grpSpPr>
              <p:sp>
                <p:nvSpPr>
                  <p:cNvPr id="1436" name="Forme libre : forme 1435">
                    <a:extLst>
                      <a:ext uri="{FF2B5EF4-FFF2-40B4-BE49-F238E27FC236}">
                        <a16:creationId xmlns:a16="http://schemas.microsoft.com/office/drawing/2014/main" id="{D6D76DC4-33E8-D5D3-D56F-AFF28A8815D9}"/>
                      </a:ext>
                    </a:extLst>
                  </p:cNvPr>
                  <p:cNvSpPr/>
                  <p:nvPr/>
                </p:nvSpPr>
                <p:spPr>
                  <a:xfrm>
                    <a:off x="9410128" y="3957123"/>
                    <a:ext cx="71444" cy="34489"/>
                  </a:xfrm>
                  <a:custGeom>
                    <a:avLst/>
                    <a:gdLst>
                      <a:gd name="connsiteX0" fmla="*/ 69656 w 71444"/>
                      <a:gd name="connsiteY0" fmla="*/ 6709 h 34489"/>
                      <a:gd name="connsiteX1" fmla="*/ 61775 w 71444"/>
                      <a:gd name="connsiteY1" fmla="*/ 2911 h 34489"/>
                      <a:gd name="connsiteX2" fmla="*/ 52324 w 71444"/>
                      <a:gd name="connsiteY2" fmla="*/ 3368 h 34489"/>
                      <a:gd name="connsiteX3" fmla="*/ 51125 w 71444"/>
                      <a:gd name="connsiteY3" fmla="*/ 4967 h 34489"/>
                      <a:gd name="connsiteX4" fmla="*/ 9408 w 71444"/>
                      <a:gd name="connsiteY4" fmla="*/ 4025 h 34489"/>
                      <a:gd name="connsiteX5" fmla="*/ 13634 w 71444"/>
                      <a:gd name="connsiteY5" fmla="*/ 34092 h 34489"/>
                      <a:gd name="connsiteX6" fmla="*/ 38533 w 71444"/>
                      <a:gd name="connsiteY6" fmla="*/ 35719 h 34489"/>
                      <a:gd name="connsiteX7" fmla="*/ 72255 w 71444"/>
                      <a:gd name="connsiteY7" fmla="*/ 20186 h 34489"/>
                      <a:gd name="connsiteX8" fmla="*/ 69656 w 71444"/>
                      <a:gd name="connsiteY8" fmla="*/ 6709 h 34489"/>
                      <a:gd name="connsiteX9" fmla="*/ 22486 w 71444"/>
                      <a:gd name="connsiteY9" fmla="*/ 7023 h 34489"/>
                      <a:gd name="connsiteX10" fmla="*/ 22486 w 71444"/>
                      <a:gd name="connsiteY10" fmla="*/ 7023 h 34489"/>
                      <a:gd name="connsiteX11" fmla="*/ 31337 w 71444"/>
                      <a:gd name="connsiteY11" fmla="*/ 7708 h 34489"/>
                      <a:gd name="connsiteX12" fmla="*/ 33079 w 71444"/>
                      <a:gd name="connsiteY12" fmla="*/ 7908 h 34489"/>
                      <a:gd name="connsiteX13" fmla="*/ 32851 w 71444"/>
                      <a:gd name="connsiteY13" fmla="*/ 12391 h 34489"/>
                      <a:gd name="connsiteX14" fmla="*/ 32822 w 71444"/>
                      <a:gd name="connsiteY14" fmla="*/ 17302 h 34489"/>
                      <a:gd name="connsiteX15" fmla="*/ 19773 w 71444"/>
                      <a:gd name="connsiteY15" fmla="*/ 17845 h 34489"/>
                      <a:gd name="connsiteX16" fmla="*/ 19145 w 71444"/>
                      <a:gd name="connsiteY16" fmla="*/ 12562 h 34489"/>
                      <a:gd name="connsiteX17" fmla="*/ 18460 w 71444"/>
                      <a:gd name="connsiteY17" fmla="*/ 7280 h 34489"/>
                      <a:gd name="connsiteX18" fmla="*/ 22486 w 71444"/>
                      <a:gd name="connsiteY18" fmla="*/ 7023 h 34489"/>
                      <a:gd name="connsiteX19" fmla="*/ 16775 w 71444"/>
                      <a:gd name="connsiteY19" fmla="*/ 7594 h 34489"/>
                      <a:gd name="connsiteX20" fmla="*/ 15833 w 71444"/>
                      <a:gd name="connsiteY20" fmla="*/ 18016 h 34489"/>
                      <a:gd name="connsiteX21" fmla="*/ 7752 w 71444"/>
                      <a:gd name="connsiteY21" fmla="*/ 18530 h 34489"/>
                      <a:gd name="connsiteX22" fmla="*/ 16775 w 71444"/>
                      <a:gd name="connsiteY22" fmla="*/ 7594 h 34489"/>
                      <a:gd name="connsiteX23" fmla="*/ 7838 w 71444"/>
                      <a:gd name="connsiteY23" fmla="*/ 19587 h 34489"/>
                      <a:gd name="connsiteX24" fmla="*/ 15804 w 71444"/>
                      <a:gd name="connsiteY24" fmla="*/ 19929 h 34489"/>
                      <a:gd name="connsiteX25" fmla="*/ 16261 w 71444"/>
                      <a:gd name="connsiteY25" fmla="*/ 27011 h 34489"/>
                      <a:gd name="connsiteX26" fmla="*/ 17318 w 71444"/>
                      <a:gd name="connsiteY26" fmla="*/ 28610 h 34489"/>
                      <a:gd name="connsiteX27" fmla="*/ 17575 w 71444"/>
                      <a:gd name="connsiteY27" fmla="*/ 28724 h 34489"/>
                      <a:gd name="connsiteX28" fmla="*/ 16861 w 71444"/>
                      <a:gd name="connsiteY28" fmla="*/ 28581 h 34489"/>
                      <a:gd name="connsiteX29" fmla="*/ 7838 w 71444"/>
                      <a:gd name="connsiteY29" fmla="*/ 19587 h 34489"/>
                      <a:gd name="connsiteX30" fmla="*/ 18803 w 71444"/>
                      <a:gd name="connsiteY30" fmla="*/ 28924 h 34489"/>
                      <a:gd name="connsiteX31" fmla="*/ 18803 w 71444"/>
                      <a:gd name="connsiteY31" fmla="*/ 28838 h 34489"/>
                      <a:gd name="connsiteX32" fmla="*/ 21201 w 71444"/>
                      <a:gd name="connsiteY32" fmla="*/ 25669 h 34489"/>
                      <a:gd name="connsiteX33" fmla="*/ 20487 w 71444"/>
                      <a:gd name="connsiteY33" fmla="*/ 21785 h 34489"/>
                      <a:gd name="connsiteX34" fmla="*/ 20487 w 71444"/>
                      <a:gd name="connsiteY34" fmla="*/ 21785 h 34489"/>
                      <a:gd name="connsiteX35" fmla="*/ 20145 w 71444"/>
                      <a:gd name="connsiteY35" fmla="*/ 19986 h 34489"/>
                      <a:gd name="connsiteX36" fmla="*/ 32851 w 71444"/>
                      <a:gd name="connsiteY36" fmla="*/ 19929 h 34489"/>
                      <a:gd name="connsiteX37" fmla="*/ 33022 w 71444"/>
                      <a:gd name="connsiteY37" fmla="*/ 26125 h 34489"/>
                      <a:gd name="connsiteX38" fmla="*/ 33193 w 71444"/>
                      <a:gd name="connsiteY38" fmla="*/ 29409 h 34489"/>
                      <a:gd name="connsiteX39" fmla="*/ 18803 w 71444"/>
                      <a:gd name="connsiteY39" fmla="*/ 28924 h 34489"/>
                      <a:gd name="connsiteX40" fmla="*/ 52096 w 71444"/>
                      <a:gd name="connsiteY40" fmla="*/ 20386 h 34489"/>
                      <a:gd name="connsiteX41" fmla="*/ 52096 w 71444"/>
                      <a:gd name="connsiteY41" fmla="*/ 20386 h 34489"/>
                      <a:gd name="connsiteX42" fmla="*/ 51867 w 71444"/>
                      <a:gd name="connsiteY42" fmla="*/ 24041 h 34489"/>
                      <a:gd name="connsiteX43" fmla="*/ 51582 w 71444"/>
                      <a:gd name="connsiteY43" fmla="*/ 27524 h 34489"/>
                      <a:gd name="connsiteX44" fmla="*/ 51011 w 71444"/>
                      <a:gd name="connsiteY44" fmla="*/ 28695 h 34489"/>
                      <a:gd name="connsiteX45" fmla="*/ 38733 w 71444"/>
                      <a:gd name="connsiteY45" fmla="*/ 29466 h 34489"/>
                      <a:gd name="connsiteX46" fmla="*/ 38733 w 71444"/>
                      <a:gd name="connsiteY46" fmla="*/ 29466 h 34489"/>
                      <a:gd name="connsiteX47" fmla="*/ 37905 w 71444"/>
                      <a:gd name="connsiteY47" fmla="*/ 28610 h 34489"/>
                      <a:gd name="connsiteX48" fmla="*/ 37933 w 71444"/>
                      <a:gd name="connsiteY48" fmla="*/ 28438 h 34489"/>
                      <a:gd name="connsiteX49" fmla="*/ 37790 w 71444"/>
                      <a:gd name="connsiteY49" fmla="*/ 27353 h 34489"/>
                      <a:gd name="connsiteX50" fmla="*/ 36734 w 71444"/>
                      <a:gd name="connsiteY50" fmla="*/ 19872 h 34489"/>
                      <a:gd name="connsiteX51" fmla="*/ 52153 w 71444"/>
                      <a:gd name="connsiteY51" fmla="*/ 19444 h 34489"/>
                      <a:gd name="connsiteX52" fmla="*/ 52096 w 71444"/>
                      <a:gd name="connsiteY52" fmla="*/ 20386 h 34489"/>
                      <a:gd name="connsiteX53" fmla="*/ 52381 w 71444"/>
                      <a:gd name="connsiteY53" fmla="*/ 16360 h 34489"/>
                      <a:gd name="connsiteX54" fmla="*/ 36420 w 71444"/>
                      <a:gd name="connsiteY54" fmla="*/ 17160 h 34489"/>
                      <a:gd name="connsiteX55" fmla="*/ 35649 w 71444"/>
                      <a:gd name="connsiteY55" fmla="*/ 9821 h 34489"/>
                      <a:gd name="connsiteX56" fmla="*/ 35649 w 71444"/>
                      <a:gd name="connsiteY56" fmla="*/ 9821 h 34489"/>
                      <a:gd name="connsiteX57" fmla="*/ 35506 w 71444"/>
                      <a:gd name="connsiteY57" fmla="*/ 8137 h 34489"/>
                      <a:gd name="connsiteX58" fmla="*/ 35506 w 71444"/>
                      <a:gd name="connsiteY58" fmla="*/ 8137 h 34489"/>
                      <a:gd name="connsiteX59" fmla="*/ 52381 w 71444"/>
                      <a:gd name="connsiteY59" fmla="*/ 7594 h 34489"/>
                      <a:gd name="connsiteX60" fmla="*/ 52924 w 71444"/>
                      <a:gd name="connsiteY60" fmla="*/ 7880 h 34489"/>
                      <a:gd name="connsiteX61" fmla="*/ 53095 w 71444"/>
                      <a:gd name="connsiteY61" fmla="*/ 7937 h 34489"/>
                      <a:gd name="connsiteX62" fmla="*/ 52381 w 71444"/>
                      <a:gd name="connsiteY62" fmla="*/ 16360 h 34489"/>
                      <a:gd name="connsiteX63" fmla="*/ 55522 w 71444"/>
                      <a:gd name="connsiteY63" fmla="*/ 27553 h 34489"/>
                      <a:gd name="connsiteX64" fmla="*/ 55180 w 71444"/>
                      <a:gd name="connsiteY64" fmla="*/ 24127 h 34489"/>
                      <a:gd name="connsiteX65" fmla="*/ 54922 w 71444"/>
                      <a:gd name="connsiteY65" fmla="*/ 20101 h 34489"/>
                      <a:gd name="connsiteX66" fmla="*/ 54922 w 71444"/>
                      <a:gd name="connsiteY66" fmla="*/ 20072 h 34489"/>
                      <a:gd name="connsiteX67" fmla="*/ 54866 w 71444"/>
                      <a:gd name="connsiteY67" fmla="*/ 19330 h 34489"/>
                      <a:gd name="connsiteX68" fmla="*/ 61461 w 71444"/>
                      <a:gd name="connsiteY68" fmla="*/ 19073 h 34489"/>
                      <a:gd name="connsiteX69" fmla="*/ 62261 w 71444"/>
                      <a:gd name="connsiteY69" fmla="*/ 19073 h 34489"/>
                      <a:gd name="connsiteX70" fmla="*/ 66030 w 71444"/>
                      <a:gd name="connsiteY70" fmla="*/ 18787 h 34489"/>
                      <a:gd name="connsiteX71" fmla="*/ 55522 w 71444"/>
                      <a:gd name="connsiteY71" fmla="*/ 27553 h 34489"/>
                      <a:gd name="connsiteX72" fmla="*/ 61604 w 71444"/>
                      <a:gd name="connsiteY72" fmla="*/ 15789 h 34489"/>
                      <a:gd name="connsiteX73" fmla="*/ 54637 w 71444"/>
                      <a:gd name="connsiteY73" fmla="*/ 16246 h 34489"/>
                      <a:gd name="connsiteX74" fmla="*/ 54152 w 71444"/>
                      <a:gd name="connsiteY74" fmla="*/ 8279 h 34489"/>
                      <a:gd name="connsiteX75" fmla="*/ 54152 w 71444"/>
                      <a:gd name="connsiteY75" fmla="*/ 8279 h 34489"/>
                      <a:gd name="connsiteX76" fmla="*/ 54152 w 71444"/>
                      <a:gd name="connsiteY76" fmla="*/ 8279 h 34489"/>
                      <a:gd name="connsiteX77" fmla="*/ 54152 w 71444"/>
                      <a:gd name="connsiteY77" fmla="*/ 8279 h 34489"/>
                      <a:gd name="connsiteX78" fmla="*/ 57921 w 71444"/>
                      <a:gd name="connsiteY78" fmla="*/ 8794 h 34489"/>
                      <a:gd name="connsiteX79" fmla="*/ 66772 w 71444"/>
                      <a:gd name="connsiteY79" fmla="*/ 15818 h 34489"/>
                      <a:gd name="connsiteX80" fmla="*/ 61604 w 71444"/>
                      <a:gd name="connsiteY80" fmla="*/ 15789 h 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1444" h="34489">
                        <a:moveTo>
                          <a:pt x="69656" y="6709"/>
                        </a:moveTo>
                        <a:cubicBezTo>
                          <a:pt x="67229" y="4310"/>
                          <a:pt x="64031" y="3340"/>
                          <a:pt x="61775" y="2911"/>
                        </a:cubicBezTo>
                        <a:cubicBezTo>
                          <a:pt x="58663" y="2426"/>
                          <a:pt x="55265" y="1855"/>
                          <a:pt x="52324" y="3368"/>
                        </a:cubicBezTo>
                        <a:cubicBezTo>
                          <a:pt x="51667" y="3625"/>
                          <a:pt x="51211" y="4254"/>
                          <a:pt x="51125" y="4967"/>
                        </a:cubicBezTo>
                        <a:cubicBezTo>
                          <a:pt x="37248" y="5681"/>
                          <a:pt x="22543" y="-3056"/>
                          <a:pt x="9408" y="4025"/>
                        </a:cubicBezTo>
                        <a:cubicBezTo>
                          <a:pt x="-2641" y="10764"/>
                          <a:pt x="-243" y="30751"/>
                          <a:pt x="13634" y="34092"/>
                        </a:cubicBezTo>
                        <a:cubicBezTo>
                          <a:pt x="21658" y="36433"/>
                          <a:pt x="30367" y="35462"/>
                          <a:pt x="38533" y="35719"/>
                        </a:cubicBezTo>
                        <a:cubicBezTo>
                          <a:pt x="51496" y="35891"/>
                          <a:pt x="67086" y="33692"/>
                          <a:pt x="72255" y="20186"/>
                        </a:cubicBezTo>
                        <a:cubicBezTo>
                          <a:pt x="73853" y="15675"/>
                          <a:pt x="73225" y="10135"/>
                          <a:pt x="69656" y="6709"/>
                        </a:cubicBezTo>
                        <a:close/>
                        <a:moveTo>
                          <a:pt x="22486" y="7023"/>
                        </a:moveTo>
                        <a:lnTo>
                          <a:pt x="22486" y="7023"/>
                        </a:lnTo>
                        <a:cubicBezTo>
                          <a:pt x="25455" y="7080"/>
                          <a:pt x="28397" y="7309"/>
                          <a:pt x="31337" y="7708"/>
                        </a:cubicBezTo>
                        <a:cubicBezTo>
                          <a:pt x="31566" y="7737"/>
                          <a:pt x="32822" y="7880"/>
                          <a:pt x="33079" y="7908"/>
                        </a:cubicBezTo>
                        <a:cubicBezTo>
                          <a:pt x="32879" y="9393"/>
                          <a:pt x="32822" y="10906"/>
                          <a:pt x="32851" y="12391"/>
                        </a:cubicBezTo>
                        <a:cubicBezTo>
                          <a:pt x="32879" y="14133"/>
                          <a:pt x="32822" y="15532"/>
                          <a:pt x="32822" y="17302"/>
                        </a:cubicBezTo>
                        <a:cubicBezTo>
                          <a:pt x="28482" y="17474"/>
                          <a:pt x="24142" y="17616"/>
                          <a:pt x="19773" y="17845"/>
                        </a:cubicBezTo>
                        <a:cubicBezTo>
                          <a:pt x="19431" y="15903"/>
                          <a:pt x="19259" y="14476"/>
                          <a:pt x="19145" y="12562"/>
                        </a:cubicBezTo>
                        <a:cubicBezTo>
                          <a:pt x="19088" y="10792"/>
                          <a:pt x="18859" y="9022"/>
                          <a:pt x="18460" y="7280"/>
                        </a:cubicBezTo>
                        <a:cubicBezTo>
                          <a:pt x="19802" y="7080"/>
                          <a:pt x="21087" y="7023"/>
                          <a:pt x="22486" y="7023"/>
                        </a:cubicBezTo>
                        <a:close/>
                        <a:moveTo>
                          <a:pt x="16775" y="7594"/>
                        </a:moveTo>
                        <a:cubicBezTo>
                          <a:pt x="15776" y="10992"/>
                          <a:pt x="15975" y="14590"/>
                          <a:pt x="15833" y="18016"/>
                        </a:cubicBezTo>
                        <a:cubicBezTo>
                          <a:pt x="13206" y="18102"/>
                          <a:pt x="10436" y="18216"/>
                          <a:pt x="7752" y="18530"/>
                        </a:cubicBezTo>
                        <a:cubicBezTo>
                          <a:pt x="7181" y="12934"/>
                          <a:pt x="12092" y="8337"/>
                          <a:pt x="16775" y="7594"/>
                        </a:cubicBezTo>
                        <a:close/>
                        <a:moveTo>
                          <a:pt x="7838" y="19587"/>
                        </a:moveTo>
                        <a:cubicBezTo>
                          <a:pt x="10579" y="19872"/>
                          <a:pt x="13406" y="19901"/>
                          <a:pt x="15804" y="19929"/>
                        </a:cubicBezTo>
                        <a:cubicBezTo>
                          <a:pt x="15804" y="22299"/>
                          <a:pt x="15947" y="24669"/>
                          <a:pt x="16261" y="27011"/>
                        </a:cubicBezTo>
                        <a:cubicBezTo>
                          <a:pt x="16318" y="27696"/>
                          <a:pt x="16718" y="28295"/>
                          <a:pt x="17318" y="28610"/>
                        </a:cubicBezTo>
                        <a:cubicBezTo>
                          <a:pt x="17403" y="28667"/>
                          <a:pt x="17603" y="28695"/>
                          <a:pt x="17575" y="28724"/>
                        </a:cubicBezTo>
                        <a:cubicBezTo>
                          <a:pt x="17546" y="28781"/>
                          <a:pt x="17089" y="28638"/>
                          <a:pt x="16861" y="28581"/>
                        </a:cubicBezTo>
                        <a:cubicBezTo>
                          <a:pt x="11521" y="27353"/>
                          <a:pt x="8494" y="24355"/>
                          <a:pt x="7838" y="19587"/>
                        </a:cubicBezTo>
                        <a:close/>
                        <a:moveTo>
                          <a:pt x="18803" y="28924"/>
                        </a:moveTo>
                        <a:cubicBezTo>
                          <a:pt x="18745" y="28924"/>
                          <a:pt x="18745" y="28838"/>
                          <a:pt x="18803" y="28838"/>
                        </a:cubicBezTo>
                        <a:cubicBezTo>
                          <a:pt x="20259" y="28581"/>
                          <a:pt x="21515" y="27182"/>
                          <a:pt x="21201" y="25669"/>
                        </a:cubicBezTo>
                        <a:cubicBezTo>
                          <a:pt x="20972" y="24355"/>
                          <a:pt x="20715" y="23070"/>
                          <a:pt x="20487" y="21785"/>
                        </a:cubicBezTo>
                        <a:lnTo>
                          <a:pt x="20487" y="21785"/>
                        </a:lnTo>
                        <a:cubicBezTo>
                          <a:pt x="20373" y="21186"/>
                          <a:pt x="20259" y="20586"/>
                          <a:pt x="20145" y="19986"/>
                        </a:cubicBezTo>
                        <a:cubicBezTo>
                          <a:pt x="24256" y="20072"/>
                          <a:pt x="28825" y="20015"/>
                          <a:pt x="32851" y="19929"/>
                        </a:cubicBezTo>
                        <a:cubicBezTo>
                          <a:pt x="32851" y="22014"/>
                          <a:pt x="33022" y="24041"/>
                          <a:pt x="33022" y="26125"/>
                        </a:cubicBezTo>
                        <a:cubicBezTo>
                          <a:pt x="32994" y="27210"/>
                          <a:pt x="33051" y="28324"/>
                          <a:pt x="33193" y="29409"/>
                        </a:cubicBezTo>
                        <a:cubicBezTo>
                          <a:pt x="28397" y="29438"/>
                          <a:pt x="23571" y="29609"/>
                          <a:pt x="18803" y="28924"/>
                        </a:cubicBezTo>
                        <a:close/>
                        <a:moveTo>
                          <a:pt x="52096" y="20386"/>
                        </a:moveTo>
                        <a:lnTo>
                          <a:pt x="52096" y="20386"/>
                        </a:lnTo>
                        <a:cubicBezTo>
                          <a:pt x="52010" y="21585"/>
                          <a:pt x="51925" y="22813"/>
                          <a:pt x="51867" y="24041"/>
                        </a:cubicBezTo>
                        <a:cubicBezTo>
                          <a:pt x="51867" y="25212"/>
                          <a:pt x="51753" y="26354"/>
                          <a:pt x="51582" y="27524"/>
                        </a:cubicBezTo>
                        <a:cubicBezTo>
                          <a:pt x="51239" y="27810"/>
                          <a:pt x="51039" y="28238"/>
                          <a:pt x="51011" y="28695"/>
                        </a:cubicBezTo>
                        <a:cubicBezTo>
                          <a:pt x="46928" y="29381"/>
                          <a:pt x="42844" y="29552"/>
                          <a:pt x="38733" y="29466"/>
                        </a:cubicBezTo>
                        <a:lnTo>
                          <a:pt x="38733" y="29466"/>
                        </a:lnTo>
                        <a:cubicBezTo>
                          <a:pt x="38561" y="29095"/>
                          <a:pt x="38276" y="28752"/>
                          <a:pt x="37905" y="28610"/>
                        </a:cubicBezTo>
                        <a:lnTo>
                          <a:pt x="37933" y="28438"/>
                        </a:lnTo>
                        <a:cubicBezTo>
                          <a:pt x="37933" y="28067"/>
                          <a:pt x="37876" y="27696"/>
                          <a:pt x="37790" y="27353"/>
                        </a:cubicBezTo>
                        <a:cubicBezTo>
                          <a:pt x="37305" y="24783"/>
                          <a:pt x="37048" y="22356"/>
                          <a:pt x="36734" y="19872"/>
                        </a:cubicBezTo>
                        <a:cubicBezTo>
                          <a:pt x="42017" y="19758"/>
                          <a:pt x="47213" y="19615"/>
                          <a:pt x="52153" y="19444"/>
                        </a:cubicBezTo>
                        <a:cubicBezTo>
                          <a:pt x="52153" y="19758"/>
                          <a:pt x="52124" y="20072"/>
                          <a:pt x="52096" y="20386"/>
                        </a:cubicBezTo>
                        <a:close/>
                        <a:moveTo>
                          <a:pt x="52381" y="16360"/>
                        </a:moveTo>
                        <a:cubicBezTo>
                          <a:pt x="46471" y="16674"/>
                          <a:pt x="41103" y="16931"/>
                          <a:pt x="36420" y="17160"/>
                        </a:cubicBezTo>
                        <a:cubicBezTo>
                          <a:pt x="36134" y="14675"/>
                          <a:pt x="35849" y="12134"/>
                          <a:pt x="35649" y="9821"/>
                        </a:cubicBezTo>
                        <a:lnTo>
                          <a:pt x="35649" y="9821"/>
                        </a:lnTo>
                        <a:cubicBezTo>
                          <a:pt x="35592" y="9279"/>
                          <a:pt x="35563" y="8708"/>
                          <a:pt x="35506" y="8137"/>
                        </a:cubicBezTo>
                        <a:lnTo>
                          <a:pt x="35506" y="8137"/>
                        </a:lnTo>
                        <a:cubicBezTo>
                          <a:pt x="41388" y="8622"/>
                          <a:pt x="46642" y="8365"/>
                          <a:pt x="52381" y="7594"/>
                        </a:cubicBezTo>
                        <a:cubicBezTo>
                          <a:pt x="52553" y="7708"/>
                          <a:pt x="52724" y="7794"/>
                          <a:pt x="52924" y="7880"/>
                        </a:cubicBezTo>
                        <a:lnTo>
                          <a:pt x="53095" y="7937"/>
                        </a:lnTo>
                        <a:cubicBezTo>
                          <a:pt x="52752" y="10792"/>
                          <a:pt x="52581" y="13619"/>
                          <a:pt x="52381" y="16360"/>
                        </a:cubicBezTo>
                        <a:close/>
                        <a:moveTo>
                          <a:pt x="55522" y="27553"/>
                        </a:moveTo>
                        <a:cubicBezTo>
                          <a:pt x="55322" y="26439"/>
                          <a:pt x="55208" y="25298"/>
                          <a:pt x="55180" y="24127"/>
                        </a:cubicBezTo>
                        <a:cubicBezTo>
                          <a:pt x="55123" y="22813"/>
                          <a:pt x="55008" y="21414"/>
                          <a:pt x="54922" y="20101"/>
                        </a:cubicBezTo>
                        <a:lnTo>
                          <a:pt x="54922" y="20072"/>
                        </a:lnTo>
                        <a:cubicBezTo>
                          <a:pt x="54894" y="19844"/>
                          <a:pt x="54866" y="19587"/>
                          <a:pt x="54866" y="19330"/>
                        </a:cubicBezTo>
                        <a:cubicBezTo>
                          <a:pt x="57035" y="19272"/>
                          <a:pt x="59263" y="19101"/>
                          <a:pt x="61461" y="19073"/>
                        </a:cubicBezTo>
                        <a:cubicBezTo>
                          <a:pt x="61661" y="19073"/>
                          <a:pt x="62061" y="19073"/>
                          <a:pt x="62261" y="19073"/>
                        </a:cubicBezTo>
                        <a:cubicBezTo>
                          <a:pt x="63517" y="19130"/>
                          <a:pt x="64774" y="19016"/>
                          <a:pt x="66030" y="18787"/>
                        </a:cubicBezTo>
                        <a:cubicBezTo>
                          <a:pt x="64031" y="23156"/>
                          <a:pt x="60376" y="25840"/>
                          <a:pt x="55522" y="27553"/>
                        </a:cubicBezTo>
                        <a:close/>
                        <a:moveTo>
                          <a:pt x="61604" y="15789"/>
                        </a:moveTo>
                        <a:cubicBezTo>
                          <a:pt x="59520" y="16046"/>
                          <a:pt x="56750" y="16103"/>
                          <a:pt x="54637" y="16246"/>
                        </a:cubicBezTo>
                        <a:cubicBezTo>
                          <a:pt x="54494" y="13590"/>
                          <a:pt x="54352" y="10964"/>
                          <a:pt x="54152" y="8279"/>
                        </a:cubicBezTo>
                        <a:cubicBezTo>
                          <a:pt x="54152" y="8279"/>
                          <a:pt x="54152" y="8279"/>
                          <a:pt x="54152" y="8279"/>
                        </a:cubicBezTo>
                        <a:lnTo>
                          <a:pt x="54152" y="8279"/>
                        </a:lnTo>
                        <a:lnTo>
                          <a:pt x="54152" y="8279"/>
                        </a:lnTo>
                        <a:cubicBezTo>
                          <a:pt x="55379" y="8565"/>
                          <a:pt x="56664" y="8736"/>
                          <a:pt x="57921" y="8794"/>
                        </a:cubicBezTo>
                        <a:cubicBezTo>
                          <a:pt x="62289" y="8794"/>
                          <a:pt x="67429" y="10906"/>
                          <a:pt x="66772" y="15818"/>
                        </a:cubicBezTo>
                        <a:cubicBezTo>
                          <a:pt x="65088" y="15361"/>
                          <a:pt x="63317" y="15589"/>
                          <a:pt x="61604" y="15789"/>
                        </a:cubicBezTo>
                        <a:close/>
                      </a:path>
                    </a:pathLst>
                  </a:custGeom>
                  <a:solidFill>
                    <a:srgbClr val="000000"/>
                  </a:solidFill>
                  <a:ln w="2826" cap="flat">
                    <a:noFill/>
                    <a:prstDash val="solid"/>
                    <a:miter/>
                  </a:ln>
                </p:spPr>
                <p:txBody>
                  <a:bodyPr rtlCol="0" anchor="ctr"/>
                  <a:lstStyle/>
                  <a:p>
                    <a:endParaRPr lang="fr-CA"/>
                  </a:p>
                </p:txBody>
              </p:sp>
              <p:sp>
                <p:nvSpPr>
                  <p:cNvPr id="1437" name="Forme libre : forme 1436">
                    <a:extLst>
                      <a:ext uri="{FF2B5EF4-FFF2-40B4-BE49-F238E27FC236}">
                        <a16:creationId xmlns:a16="http://schemas.microsoft.com/office/drawing/2014/main" id="{E38C3A7D-3888-26D8-4467-2124FF3A6BFD}"/>
                      </a:ext>
                    </a:extLst>
                  </p:cNvPr>
                  <p:cNvSpPr/>
                  <p:nvPr/>
                </p:nvSpPr>
                <p:spPr>
                  <a:xfrm>
                    <a:off x="9449973" y="3937634"/>
                    <a:ext cx="19505" cy="16824"/>
                  </a:xfrm>
                  <a:custGeom>
                    <a:avLst/>
                    <a:gdLst>
                      <a:gd name="connsiteX0" fmla="*/ 7368 w 19505"/>
                      <a:gd name="connsiteY0" fmla="*/ 18061 h 16824"/>
                      <a:gd name="connsiteX1" fmla="*/ 1914 w 19505"/>
                      <a:gd name="connsiteY1" fmla="*/ 12950 h 16824"/>
                      <a:gd name="connsiteX2" fmla="*/ 4684 w 19505"/>
                      <a:gd name="connsiteY2" fmla="*/ 10894 h 16824"/>
                      <a:gd name="connsiteX3" fmla="*/ 6283 w 19505"/>
                      <a:gd name="connsiteY3" fmla="*/ 11436 h 16824"/>
                      <a:gd name="connsiteX4" fmla="*/ 8510 w 19505"/>
                      <a:gd name="connsiteY4" fmla="*/ 11951 h 16824"/>
                      <a:gd name="connsiteX5" fmla="*/ 12822 w 19505"/>
                      <a:gd name="connsiteY5" fmla="*/ 11208 h 16824"/>
                      <a:gd name="connsiteX6" fmla="*/ 16334 w 19505"/>
                      <a:gd name="connsiteY6" fmla="*/ 8667 h 16824"/>
                      <a:gd name="connsiteX7" fmla="*/ 14221 w 19505"/>
                      <a:gd name="connsiteY7" fmla="*/ 4612 h 16824"/>
                      <a:gd name="connsiteX8" fmla="*/ 11108 w 19505"/>
                      <a:gd name="connsiteY8" fmla="*/ 4127 h 16824"/>
                      <a:gd name="connsiteX9" fmla="*/ 10538 w 19505"/>
                      <a:gd name="connsiteY9" fmla="*/ 4098 h 16824"/>
                      <a:gd name="connsiteX10" fmla="*/ 6026 w 19505"/>
                      <a:gd name="connsiteY10" fmla="*/ 4498 h 16824"/>
                      <a:gd name="connsiteX11" fmla="*/ 3057 w 19505"/>
                      <a:gd name="connsiteY11" fmla="*/ 4841 h 16824"/>
                      <a:gd name="connsiteX12" fmla="*/ 2685 w 19505"/>
                      <a:gd name="connsiteY12" fmla="*/ 4555 h 16824"/>
                      <a:gd name="connsiteX13" fmla="*/ 2857 w 19505"/>
                      <a:gd name="connsiteY13" fmla="*/ 4070 h 16824"/>
                      <a:gd name="connsiteX14" fmla="*/ 7625 w 19505"/>
                      <a:gd name="connsiteY14" fmla="*/ 2128 h 16824"/>
                      <a:gd name="connsiteX15" fmla="*/ 18590 w 19505"/>
                      <a:gd name="connsiteY15" fmla="*/ 2556 h 16824"/>
                      <a:gd name="connsiteX16" fmla="*/ 19475 w 19505"/>
                      <a:gd name="connsiteY16" fmla="*/ 12778 h 16824"/>
                      <a:gd name="connsiteX17" fmla="*/ 7368 w 19505"/>
                      <a:gd name="connsiteY17" fmla="*/ 18061 h 16824"/>
                      <a:gd name="connsiteX18" fmla="*/ 7368 w 19505"/>
                      <a:gd name="connsiteY18" fmla="*/ 18061 h 1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505" h="16824">
                        <a:moveTo>
                          <a:pt x="7368" y="18061"/>
                        </a:moveTo>
                        <a:cubicBezTo>
                          <a:pt x="4113" y="18146"/>
                          <a:pt x="630" y="16234"/>
                          <a:pt x="1914" y="12950"/>
                        </a:cubicBezTo>
                        <a:cubicBezTo>
                          <a:pt x="2371" y="11836"/>
                          <a:pt x="3456" y="10922"/>
                          <a:pt x="4684" y="10894"/>
                        </a:cubicBezTo>
                        <a:cubicBezTo>
                          <a:pt x="5255" y="10922"/>
                          <a:pt x="5826" y="11094"/>
                          <a:pt x="6283" y="11436"/>
                        </a:cubicBezTo>
                        <a:cubicBezTo>
                          <a:pt x="6968" y="11808"/>
                          <a:pt x="7739" y="11979"/>
                          <a:pt x="8510" y="11951"/>
                        </a:cubicBezTo>
                        <a:cubicBezTo>
                          <a:pt x="9967" y="11893"/>
                          <a:pt x="11423" y="11636"/>
                          <a:pt x="12822" y="11208"/>
                        </a:cubicBezTo>
                        <a:cubicBezTo>
                          <a:pt x="14021" y="10865"/>
                          <a:pt x="15620" y="10009"/>
                          <a:pt x="16334" y="8667"/>
                        </a:cubicBezTo>
                        <a:cubicBezTo>
                          <a:pt x="17190" y="6925"/>
                          <a:pt x="16191" y="5240"/>
                          <a:pt x="14221" y="4612"/>
                        </a:cubicBezTo>
                        <a:cubicBezTo>
                          <a:pt x="13222" y="4298"/>
                          <a:pt x="12165" y="4127"/>
                          <a:pt x="11108" y="4127"/>
                        </a:cubicBezTo>
                        <a:cubicBezTo>
                          <a:pt x="10909" y="4098"/>
                          <a:pt x="10738" y="4098"/>
                          <a:pt x="10538" y="4098"/>
                        </a:cubicBezTo>
                        <a:cubicBezTo>
                          <a:pt x="9024" y="4127"/>
                          <a:pt x="7511" y="4269"/>
                          <a:pt x="6026" y="4498"/>
                        </a:cubicBezTo>
                        <a:cubicBezTo>
                          <a:pt x="5055" y="4641"/>
                          <a:pt x="4056" y="4784"/>
                          <a:pt x="3057" y="4841"/>
                        </a:cubicBezTo>
                        <a:cubicBezTo>
                          <a:pt x="2885" y="4869"/>
                          <a:pt x="2714" y="4726"/>
                          <a:pt x="2685" y="4555"/>
                        </a:cubicBezTo>
                        <a:cubicBezTo>
                          <a:pt x="2628" y="4384"/>
                          <a:pt x="2685" y="4155"/>
                          <a:pt x="2857" y="4070"/>
                        </a:cubicBezTo>
                        <a:cubicBezTo>
                          <a:pt x="4370" y="3242"/>
                          <a:pt x="5969" y="2585"/>
                          <a:pt x="7625" y="2128"/>
                        </a:cubicBezTo>
                        <a:cubicBezTo>
                          <a:pt x="10966" y="1129"/>
                          <a:pt x="15820" y="615"/>
                          <a:pt x="18590" y="2556"/>
                        </a:cubicBezTo>
                        <a:cubicBezTo>
                          <a:pt x="21788" y="4584"/>
                          <a:pt x="21873" y="9923"/>
                          <a:pt x="19475" y="12778"/>
                        </a:cubicBezTo>
                        <a:cubicBezTo>
                          <a:pt x="16363" y="16490"/>
                          <a:pt x="12765" y="17633"/>
                          <a:pt x="7368" y="18061"/>
                        </a:cubicBezTo>
                        <a:lnTo>
                          <a:pt x="7368" y="18061"/>
                        </a:lnTo>
                        <a:close/>
                      </a:path>
                    </a:pathLst>
                  </a:custGeom>
                  <a:solidFill>
                    <a:srgbClr val="000000"/>
                  </a:solidFill>
                  <a:ln w="2826" cap="flat">
                    <a:noFill/>
                    <a:prstDash val="solid"/>
                    <a:miter/>
                  </a:ln>
                </p:spPr>
                <p:txBody>
                  <a:bodyPr rtlCol="0" anchor="ctr"/>
                  <a:lstStyle/>
                  <a:p>
                    <a:endParaRPr lang="fr-CA"/>
                  </a:p>
                </p:txBody>
              </p:sp>
              <p:sp>
                <p:nvSpPr>
                  <p:cNvPr id="1438" name="Forme libre : forme 1437">
                    <a:extLst>
                      <a:ext uri="{FF2B5EF4-FFF2-40B4-BE49-F238E27FC236}">
                        <a16:creationId xmlns:a16="http://schemas.microsoft.com/office/drawing/2014/main" id="{7174446A-238A-3DDB-BC25-0BD09F0E91B6}"/>
                      </a:ext>
                    </a:extLst>
                  </p:cNvPr>
                  <p:cNvSpPr/>
                  <p:nvPr/>
                </p:nvSpPr>
                <p:spPr>
                  <a:xfrm>
                    <a:off x="9465049" y="3926096"/>
                    <a:ext cx="16520" cy="15025"/>
                  </a:xfrm>
                  <a:custGeom>
                    <a:avLst/>
                    <a:gdLst>
                      <a:gd name="connsiteX0" fmla="*/ 15449 w 16520"/>
                      <a:gd name="connsiteY0" fmla="*/ 16265 h 15025"/>
                      <a:gd name="connsiteX1" fmla="*/ 14592 w 16520"/>
                      <a:gd name="connsiteY1" fmla="*/ 16150 h 15025"/>
                      <a:gd name="connsiteX2" fmla="*/ 13164 w 16520"/>
                      <a:gd name="connsiteY2" fmla="*/ 15208 h 15025"/>
                      <a:gd name="connsiteX3" fmla="*/ 12622 w 16520"/>
                      <a:gd name="connsiteY3" fmla="*/ 13609 h 15025"/>
                      <a:gd name="connsiteX4" fmla="*/ 12193 w 16520"/>
                      <a:gd name="connsiteY4" fmla="*/ 9041 h 15025"/>
                      <a:gd name="connsiteX5" fmla="*/ 9110 w 16520"/>
                      <a:gd name="connsiteY5" fmla="*/ 6414 h 15025"/>
                      <a:gd name="connsiteX6" fmla="*/ 4570 w 16520"/>
                      <a:gd name="connsiteY6" fmla="*/ 11154 h 15025"/>
                      <a:gd name="connsiteX7" fmla="*/ 1743 w 16520"/>
                      <a:gd name="connsiteY7" fmla="*/ 9041 h 15025"/>
                      <a:gd name="connsiteX8" fmla="*/ 15791 w 16520"/>
                      <a:gd name="connsiteY8" fmla="*/ 4729 h 15025"/>
                      <a:gd name="connsiteX9" fmla="*/ 17847 w 16520"/>
                      <a:gd name="connsiteY9" fmla="*/ 14323 h 15025"/>
                      <a:gd name="connsiteX10" fmla="*/ 16962 w 16520"/>
                      <a:gd name="connsiteY10" fmla="*/ 15665 h 15025"/>
                      <a:gd name="connsiteX11" fmla="*/ 15449 w 16520"/>
                      <a:gd name="connsiteY11" fmla="*/ 16265 h 15025"/>
                      <a:gd name="connsiteX12" fmla="*/ 15449 w 16520"/>
                      <a:gd name="connsiteY12" fmla="*/ 16265 h 1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20" h="15025">
                        <a:moveTo>
                          <a:pt x="15449" y="16265"/>
                        </a:moveTo>
                        <a:cubicBezTo>
                          <a:pt x="15163" y="16265"/>
                          <a:pt x="14849" y="16236"/>
                          <a:pt x="14592" y="16150"/>
                        </a:cubicBezTo>
                        <a:cubicBezTo>
                          <a:pt x="14021" y="16008"/>
                          <a:pt x="13535" y="15665"/>
                          <a:pt x="13164" y="15208"/>
                        </a:cubicBezTo>
                        <a:cubicBezTo>
                          <a:pt x="12793" y="14751"/>
                          <a:pt x="12593" y="14180"/>
                          <a:pt x="12622" y="13609"/>
                        </a:cubicBezTo>
                        <a:cubicBezTo>
                          <a:pt x="12708" y="12267"/>
                          <a:pt x="12765" y="10583"/>
                          <a:pt x="12193" y="9041"/>
                        </a:cubicBezTo>
                        <a:cubicBezTo>
                          <a:pt x="11737" y="7642"/>
                          <a:pt x="10538" y="6642"/>
                          <a:pt x="9110" y="6414"/>
                        </a:cubicBezTo>
                        <a:cubicBezTo>
                          <a:pt x="6369" y="5786"/>
                          <a:pt x="4570" y="8555"/>
                          <a:pt x="4570" y="11154"/>
                        </a:cubicBezTo>
                        <a:cubicBezTo>
                          <a:pt x="3941" y="13038"/>
                          <a:pt x="1800" y="10011"/>
                          <a:pt x="1743" y="9041"/>
                        </a:cubicBezTo>
                        <a:cubicBezTo>
                          <a:pt x="458" y="874"/>
                          <a:pt x="11680" y="-1410"/>
                          <a:pt x="15791" y="4729"/>
                        </a:cubicBezTo>
                        <a:cubicBezTo>
                          <a:pt x="17904" y="7442"/>
                          <a:pt x="18647" y="10982"/>
                          <a:pt x="17847" y="14323"/>
                        </a:cubicBezTo>
                        <a:cubicBezTo>
                          <a:pt x="17704" y="14837"/>
                          <a:pt x="17390" y="15322"/>
                          <a:pt x="16962" y="15665"/>
                        </a:cubicBezTo>
                        <a:cubicBezTo>
                          <a:pt x="16534" y="16036"/>
                          <a:pt x="16020" y="16265"/>
                          <a:pt x="15449" y="16265"/>
                        </a:cubicBezTo>
                        <a:lnTo>
                          <a:pt x="15449" y="16265"/>
                        </a:lnTo>
                        <a:close/>
                      </a:path>
                    </a:pathLst>
                  </a:custGeom>
                  <a:solidFill>
                    <a:srgbClr val="000000"/>
                  </a:solidFill>
                  <a:ln w="2826" cap="flat">
                    <a:noFill/>
                    <a:prstDash val="solid"/>
                    <a:miter/>
                  </a:ln>
                </p:spPr>
                <p:txBody>
                  <a:bodyPr rtlCol="0" anchor="ctr"/>
                  <a:lstStyle/>
                  <a:p>
                    <a:endParaRPr lang="fr-CA"/>
                  </a:p>
                </p:txBody>
              </p:sp>
              <p:sp>
                <p:nvSpPr>
                  <p:cNvPr id="1439" name="Forme libre : forme 1438">
                    <a:extLst>
                      <a:ext uri="{FF2B5EF4-FFF2-40B4-BE49-F238E27FC236}">
                        <a16:creationId xmlns:a16="http://schemas.microsoft.com/office/drawing/2014/main" id="{EB4D848D-27A9-62F5-3136-54039D8E055C}"/>
                      </a:ext>
                    </a:extLst>
                  </p:cNvPr>
                  <p:cNvSpPr/>
                  <p:nvPr/>
                </p:nvSpPr>
                <p:spPr>
                  <a:xfrm>
                    <a:off x="9415068" y="3927226"/>
                    <a:ext cx="20723" cy="12695"/>
                  </a:xfrm>
                  <a:custGeom>
                    <a:avLst/>
                    <a:gdLst>
                      <a:gd name="connsiteX0" fmla="*/ 3754 w 20723"/>
                      <a:gd name="connsiteY0" fmla="*/ 13935 h 12695"/>
                      <a:gd name="connsiteX1" fmla="*/ 1641 w 20723"/>
                      <a:gd name="connsiteY1" fmla="*/ 10908 h 12695"/>
                      <a:gd name="connsiteX2" fmla="*/ 20829 w 20723"/>
                      <a:gd name="connsiteY2" fmla="*/ 6968 h 12695"/>
                      <a:gd name="connsiteX3" fmla="*/ 20972 w 20723"/>
                      <a:gd name="connsiteY3" fmla="*/ 12250 h 12695"/>
                      <a:gd name="connsiteX4" fmla="*/ 15918 w 20723"/>
                      <a:gd name="connsiteY4" fmla="*/ 10994 h 12695"/>
                      <a:gd name="connsiteX5" fmla="*/ 6181 w 20723"/>
                      <a:gd name="connsiteY5" fmla="*/ 10937 h 12695"/>
                      <a:gd name="connsiteX6" fmla="*/ 4268 w 20723"/>
                      <a:gd name="connsiteY6" fmla="*/ 13735 h 12695"/>
                      <a:gd name="connsiteX7" fmla="*/ 3754 w 20723"/>
                      <a:gd name="connsiteY7" fmla="*/ 13935 h 1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23" h="12695">
                        <a:moveTo>
                          <a:pt x="3754" y="13935"/>
                        </a:moveTo>
                        <a:cubicBezTo>
                          <a:pt x="2241" y="13649"/>
                          <a:pt x="1698" y="11936"/>
                          <a:pt x="1641" y="10908"/>
                        </a:cubicBezTo>
                        <a:cubicBezTo>
                          <a:pt x="1869" y="-28"/>
                          <a:pt x="16003" y="-2169"/>
                          <a:pt x="20829" y="6968"/>
                        </a:cubicBezTo>
                        <a:cubicBezTo>
                          <a:pt x="23342" y="7596"/>
                          <a:pt x="22314" y="10851"/>
                          <a:pt x="20972" y="12250"/>
                        </a:cubicBezTo>
                        <a:cubicBezTo>
                          <a:pt x="19516" y="13906"/>
                          <a:pt x="16489" y="13079"/>
                          <a:pt x="15918" y="10994"/>
                        </a:cubicBezTo>
                        <a:cubicBezTo>
                          <a:pt x="14376" y="5826"/>
                          <a:pt x="7865" y="5997"/>
                          <a:pt x="6181" y="10937"/>
                        </a:cubicBezTo>
                        <a:cubicBezTo>
                          <a:pt x="5724" y="11965"/>
                          <a:pt x="5067" y="12936"/>
                          <a:pt x="4268" y="13735"/>
                        </a:cubicBezTo>
                        <a:cubicBezTo>
                          <a:pt x="4125" y="13849"/>
                          <a:pt x="3925" y="13935"/>
                          <a:pt x="3754" y="13935"/>
                        </a:cubicBezTo>
                        <a:close/>
                      </a:path>
                    </a:pathLst>
                  </a:custGeom>
                  <a:solidFill>
                    <a:srgbClr val="000000"/>
                  </a:solidFill>
                  <a:ln w="2826" cap="flat">
                    <a:noFill/>
                    <a:prstDash val="solid"/>
                    <a:miter/>
                  </a:ln>
                </p:spPr>
                <p:txBody>
                  <a:bodyPr rtlCol="0" anchor="ctr"/>
                  <a:lstStyle/>
                  <a:p>
                    <a:endParaRPr lang="fr-CA"/>
                  </a:p>
                </p:txBody>
              </p:sp>
              <p:sp>
                <p:nvSpPr>
                  <p:cNvPr id="1440" name="Forme libre : forme 1439">
                    <a:extLst>
                      <a:ext uri="{FF2B5EF4-FFF2-40B4-BE49-F238E27FC236}">
                        <a16:creationId xmlns:a16="http://schemas.microsoft.com/office/drawing/2014/main" id="{D37792E9-7F02-A437-C79E-E62A76BDA6A3}"/>
                      </a:ext>
                    </a:extLst>
                  </p:cNvPr>
                  <p:cNvSpPr/>
                  <p:nvPr/>
                </p:nvSpPr>
                <p:spPr>
                  <a:xfrm>
                    <a:off x="9408469" y="3907926"/>
                    <a:ext cx="23705" cy="23030"/>
                  </a:xfrm>
                  <a:custGeom>
                    <a:avLst/>
                    <a:gdLst>
                      <a:gd name="connsiteX0" fmla="*/ 1987 w 23705"/>
                      <a:gd name="connsiteY0" fmla="*/ 24269 h 23030"/>
                      <a:gd name="connsiteX1" fmla="*/ 1730 w 23705"/>
                      <a:gd name="connsiteY1" fmla="*/ 24012 h 23030"/>
                      <a:gd name="connsiteX2" fmla="*/ 8098 w 23705"/>
                      <a:gd name="connsiteY2" fmla="*/ 5995 h 23030"/>
                      <a:gd name="connsiteX3" fmla="*/ 12923 w 23705"/>
                      <a:gd name="connsiteY3" fmla="*/ 2711 h 23030"/>
                      <a:gd name="connsiteX4" fmla="*/ 22688 w 23705"/>
                      <a:gd name="connsiteY4" fmla="*/ 2197 h 23030"/>
                      <a:gd name="connsiteX5" fmla="*/ 25230 w 23705"/>
                      <a:gd name="connsiteY5" fmla="*/ 5510 h 23030"/>
                      <a:gd name="connsiteX6" fmla="*/ 24944 w 23705"/>
                      <a:gd name="connsiteY6" fmla="*/ 7737 h 23030"/>
                      <a:gd name="connsiteX7" fmla="*/ 23145 w 23705"/>
                      <a:gd name="connsiteY7" fmla="*/ 9165 h 23030"/>
                      <a:gd name="connsiteX8" fmla="*/ 21775 w 23705"/>
                      <a:gd name="connsiteY8" fmla="*/ 9279 h 23030"/>
                      <a:gd name="connsiteX9" fmla="*/ 19262 w 23705"/>
                      <a:gd name="connsiteY9" fmla="*/ 9022 h 23030"/>
                      <a:gd name="connsiteX10" fmla="*/ 19262 w 23705"/>
                      <a:gd name="connsiteY10" fmla="*/ 9022 h 23030"/>
                      <a:gd name="connsiteX11" fmla="*/ 16721 w 23705"/>
                      <a:gd name="connsiteY11" fmla="*/ 8736 h 23030"/>
                      <a:gd name="connsiteX12" fmla="*/ 10525 w 23705"/>
                      <a:gd name="connsiteY12" fmla="*/ 10792 h 23030"/>
                      <a:gd name="connsiteX13" fmla="*/ 5043 w 23705"/>
                      <a:gd name="connsiteY13" fmla="*/ 18872 h 23030"/>
                      <a:gd name="connsiteX14" fmla="*/ 1987 w 23705"/>
                      <a:gd name="connsiteY14" fmla="*/ 24269 h 2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05" h="23030">
                        <a:moveTo>
                          <a:pt x="1987" y="24269"/>
                        </a:moveTo>
                        <a:cubicBezTo>
                          <a:pt x="1845" y="24269"/>
                          <a:pt x="1730" y="24155"/>
                          <a:pt x="1730" y="24012"/>
                        </a:cubicBezTo>
                        <a:cubicBezTo>
                          <a:pt x="1131" y="17502"/>
                          <a:pt x="3586" y="10735"/>
                          <a:pt x="8098" y="5995"/>
                        </a:cubicBezTo>
                        <a:cubicBezTo>
                          <a:pt x="9497" y="4624"/>
                          <a:pt x="11124" y="3511"/>
                          <a:pt x="12923" y="2711"/>
                        </a:cubicBezTo>
                        <a:cubicBezTo>
                          <a:pt x="15893" y="1369"/>
                          <a:pt x="19690" y="456"/>
                          <a:pt x="22688" y="2197"/>
                        </a:cubicBezTo>
                        <a:cubicBezTo>
                          <a:pt x="23888" y="2968"/>
                          <a:pt x="24773" y="4139"/>
                          <a:pt x="25230" y="5510"/>
                        </a:cubicBezTo>
                        <a:cubicBezTo>
                          <a:pt x="25458" y="6252"/>
                          <a:pt x="25344" y="7052"/>
                          <a:pt x="24944" y="7737"/>
                        </a:cubicBezTo>
                        <a:cubicBezTo>
                          <a:pt x="24573" y="8451"/>
                          <a:pt x="23916" y="8964"/>
                          <a:pt x="23145" y="9165"/>
                        </a:cubicBezTo>
                        <a:cubicBezTo>
                          <a:pt x="22688" y="9250"/>
                          <a:pt x="22232" y="9279"/>
                          <a:pt x="21775" y="9279"/>
                        </a:cubicBezTo>
                        <a:cubicBezTo>
                          <a:pt x="20918" y="9250"/>
                          <a:pt x="20090" y="9165"/>
                          <a:pt x="19262" y="9022"/>
                        </a:cubicBezTo>
                        <a:lnTo>
                          <a:pt x="19262" y="9022"/>
                        </a:lnTo>
                        <a:cubicBezTo>
                          <a:pt x="18405" y="8851"/>
                          <a:pt x="17578" y="8765"/>
                          <a:pt x="16721" y="8736"/>
                        </a:cubicBezTo>
                        <a:cubicBezTo>
                          <a:pt x="14494" y="8765"/>
                          <a:pt x="12323" y="9479"/>
                          <a:pt x="10525" y="10792"/>
                        </a:cubicBezTo>
                        <a:cubicBezTo>
                          <a:pt x="7841" y="12876"/>
                          <a:pt x="6413" y="15932"/>
                          <a:pt x="5043" y="18872"/>
                        </a:cubicBezTo>
                        <a:cubicBezTo>
                          <a:pt x="4157" y="20700"/>
                          <a:pt x="3329" y="22813"/>
                          <a:pt x="1987" y="24269"/>
                        </a:cubicBezTo>
                        <a:close/>
                      </a:path>
                    </a:pathLst>
                  </a:custGeom>
                  <a:solidFill>
                    <a:srgbClr val="000000"/>
                  </a:solidFill>
                  <a:ln w="2826" cap="flat">
                    <a:noFill/>
                    <a:prstDash val="solid"/>
                    <a:miter/>
                  </a:ln>
                </p:spPr>
                <p:txBody>
                  <a:bodyPr rtlCol="0" anchor="ctr"/>
                  <a:lstStyle/>
                  <a:p>
                    <a:endParaRPr lang="fr-CA"/>
                  </a:p>
                </p:txBody>
              </p:sp>
              <p:sp>
                <p:nvSpPr>
                  <p:cNvPr id="1441" name="Forme libre : forme 1440">
                    <a:extLst>
                      <a:ext uri="{FF2B5EF4-FFF2-40B4-BE49-F238E27FC236}">
                        <a16:creationId xmlns:a16="http://schemas.microsoft.com/office/drawing/2014/main" id="{549690A1-C2F5-FAA5-4C1B-7C046EF24F09}"/>
                      </a:ext>
                    </a:extLst>
                  </p:cNvPr>
                  <p:cNvSpPr/>
                  <p:nvPr/>
                </p:nvSpPr>
                <p:spPr>
                  <a:xfrm>
                    <a:off x="9461120" y="3907996"/>
                    <a:ext cx="26679" cy="18163"/>
                  </a:xfrm>
                  <a:custGeom>
                    <a:avLst/>
                    <a:gdLst>
                      <a:gd name="connsiteX0" fmla="*/ 24146 w 26679"/>
                      <a:gd name="connsiteY0" fmla="*/ 19403 h 18163"/>
                      <a:gd name="connsiteX1" fmla="*/ 18578 w 26679"/>
                      <a:gd name="connsiteY1" fmla="*/ 13378 h 18163"/>
                      <a:gd name="connsiteX2" fmla="*/ 1931 w 26679"/>
                      <a:gd name="connsiteY2" fmla="*/ 6896 h 18163"/>
                      <a:gd name="connsiteX3" fmla="*/ 1646 w 26679"/>
                      <a:gd name="connsiteY3" fmla="*/ 6725 h 18163"/>
                      <a:gd name="connsiteX4" fmla="*/ 2217 w 26679"/>
                      <a:gd name="connsiteY4" fmla="*/ 5754 h 18163"/>
                      <a:gd name="connsiteX5" fmla="*/ 3958 w 26679"/>
                      <a:gd name="connsiteY5" fmla="*/ 3784 h 18163"/>
                      <a:gd name="connsiteX6" fmla="*/ 25117 w 26679"/>
                      <a:gd name="connsiteY6" fmla="*/ 9466 h 18163"/>
                      <a:gd name="connsiteX7" fmla="*/ 26202 w 26679"/>
                      <a:gd name="connsiteY7" fmla="*/ 11979 h 18163"/>
                      <a:gd name="connsiteX8" fmla="*/ 28286 w 26679"/>
                      <a:gd name="connsiteY8" fmla="*/ 14948 h 18163"/>
                      <a:gd name="connsiteX9" fmla="*/ 24146 w 26679"/>
                      <a:gd name="connsiteY9" fmla="*/ 19403 h 1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79" h="18163">
                        <a:moveTo>
                          <a:pt x="24146" y="19403"/>
                        </a:moveTo>
                        <a:cubicBezTo>
                          <a:pt x="20548" y="19260"/>
                          <a:pt x="19577" y="16062"/>
                          <a:pt x="18578" y="13378"/>
                        </a:cubicBezTo>
                        <a:cubicBezTo>
                          <a:pt x="16036" y="7296"/>
                          <a:pt x="8184" y="5212"/>
                          <a:pt x="1931" y="6896"/>
                        </a:cubicBezTo>
                        <a:cubicBezTo>
                          <a:pt x="1817" y="6896"/>
                          <a:pt x="1703" y="6810"/>
                          <a:pt x="1646" y="6725"/>
                        </a:cubicBezTo>
                        <a:cubicBezTo>
                          <a:pt x="1588" y="6353"/>
                          <a:pt x="2074" y="6039"/>
                          <a:pt x="2217" y="5754"/>
                        </a:cubicBezTo>
                        <a:cubicBezTo>
                          <a:pt x="2702" y="5011"/>
                          <a:pt x="3273" y="4355"/>
                          <a:pt x="3958" y="3784"/>
                        </a:cubicBezTo>
                        <a:cubicBezTo>
                          <a:pt x="10868" y="-1641"/>
                          <a:pt x="21176" y="2242"/>
                          <a:pt x="25117" y="9466"/>
                        </a:cubicBezTo>
                        <a:cubicBezTo>
                          <a:pt x="25545" y="10294"/>
                          <a:pt x="25773" y="11179"/>
                          <a:pt x="26202" y="11979"/>
                        </a:cubicBezTo>
                        <a:cubicBezTo>
                          <a:pt x="27315" y="12607"/>
                          <a:pt x="28086" y="13720"/>
                          <a:pt x="28286" y="14948"/>
                        </a:cubicBezTo>
                        <a:cubicBezTo>
                          <a:pt x="28629" y="17290"/>
                          <a:pt x="26373" y="19403"/>
                          <a:pt x="24146" y="19403"/>
                        </a:cubicBezTo>
                        <a:close/>
                      </a:path>
                    </a:pathLst>
                  </a:custGeom>
                  <a:solidFill>
                    <a:srgbClr val="000000"/>
                  </a:solidFill>
                  <a:ln w="2826" cap="flat">
                    <a:noFill/>
                    <a:prstDash val="solid"/>
                    <a:miter/>
                  </a:ln>
                </p:spPr>
                <p:txBody>
                  <a:bodyPr rtlCol="0" anchor="ctr"/>
                  <a:lstStyle/>
                  <a:p>
                    <a:endParaRPr lang="fr-CA"/>
                  </a:p>
                </p:txBody>
              </p:sp>
            </p:grpSp>
          </p:grpSp>
        </p:grpSp>
        <p:pic>
          <p:nvPicPr>
            <p:cNvPr id="1426" name="Graphique 1425" descr="Fille portant un sac à dos">
              <a:extLst>
                <a:ext uri="{FF2B5EF4-FFF2-40B4-BE49-F238E27FC236}">
                  <a16:creationId xmlns:a16="http://schemas.microsoft.com/office/drawing/2014/main" id="{AF8BA3CE-A61D-D376-5314-4B101F97ED6C}"/>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flipH="1">
              <a:off x="4216411" y="4975122"/>
              <a:ext cx="431158" cy="1070756"/>
            </a:xfrm>
            <a:prstGeom prst="rect">
              <a:avLst/>
            </a:prstGeom>
          </p:spPr>
        </p:pic>
        <p:pic>
          <p:nvPicPr>
            <p:cNvPr id="1427" name="Graphique 1426" descr="Garçon portant un sac à dos">
              <a:extLst>
                <a:ext uri="{FF2B5EF4-FFF2-40B4-BE49-F238E27FC236}">
                  <a16:creationId xmlns:a16="http://schemas.microsoft.com/office/drawing/2014/main" id="{C351D6A9-24FB-9EEC-57C3-D36FB0F88B85}"/>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flipH="1">
              <a:off x="4500900" y="5097843"/>
              <a:ext cx="431158" cy="1070756"/>
            </a:xfrm>
            <a:prstGeom prst="rect">
              <a:avLst/>
            </a:prstGeom>
          </p:spPr>
        </p:pic>
        <p:pic>
          <p:nvPicPr>
            <p:cNvPr id="1428" name="Graphique 1427" descr="Homme en smoking">
              <a:extLst>
                <a:ext uri="{FF2B5EF4-FFF2-40B4-BE49-F238E27FC236}">
                  <a16:creationId xmlns:a16="http://schemas.microsoft.com/office/drawing/2014/main" id="{738D16B1-27DA-B86F-4774-23DD946E94EE}"/>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flipH="1">
              <a:off x="4024533" y="4213138"/>
              <a:ext cx="479699" cy="1370568"/>
            </a:xfrm>
            <a:prstGeom prst="rect">
              <a:avLst/>
            </a:prstGeom>
          </p:spPr>
        </p:pic>
        <p:pic>
          <p:nvPicPr>
            <p:cNvPr id="1429" name="Graphique 1428" descr="Homme âgé portant une veste">
              <a:extLst>
                <a:ext uri="{FF2B5EF4-FFF2-40B4-BE49-F238E27FC236}">
                  <a16:creationId xmlns:a16="http://schemas.microsoft.com/office/drawing/2014/main" id="{7B83B50C-AA43-7323-60BC-795745F4171D}"/>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flipH="1">
              <a:off x="4139263" y="2951037"/>
              <a:ext cx="428302" cy="1333448"/>
            </a:xfrm>
            <a:prstGeom prst="rect">
              <a:avLst/>
            </a:prstGeom>
          </p:spPr>
        </p:pic>
        <p:pic>
          <p:nvPicPr>
            <p:cNvPr id="1430" name="Graphique 1429" descr="Femme levant le doigt">
              <a:extLst>
                <a:ext uri="{FF2B5EF4-FFF2-40B4-BE49-F238E27FC236}">
                  <a16:creationId xmlns:a16="http://schemas.microsoft.com/office/drawing/2014/main" id="{4AA6DD4B-4062-5409-5E55-46D74EC66531}"/>
                </a:ext>
              </a:extLst>
            </p:cNvPr>
            <p:cNvPicPr>
              <a:picLocks noChangeAspect="1"/>
            </p:cNvPicPr>
            <p:nvPr/>
          </p:nvPicPr>
          <p:blipFill>
            <a:blip r:embed="rId92">
              <a:extLst>
                <a:ext uri="{96DAC541-7B7A-43D3-8B79-37D633B846F1}">
                  <asvg:svgBlip xmlns:asvg="http://schemas.microsoft.com/office/drawing/2016/SVG/main" r:embed="rId93"/>
                </a:ext>
              </a:extLst>
            </a:blip>
            <a:stretch>
              <a:fillRect/>
            </a:stretch>
          </p:blipFill>
          <p:spPr>
            <a:xfrm flipH="1">
              <a:off x="3501504" y="3383977"/>
              <a:ext cx="633888" cy="1230656"/>
            </a:xfrm>
            <a:prstGeom prst="rect">
              <a:avLst/>
            </a:prstGeom>
          </p:spPr>
        </p:pic>
      </p:grpSp>
      <p:grpSp>
        <p:nvGrpSpPr>
          <p:cNvPr id="1494" name="Groupe 1493">
            <a:extLst>
              <a:ext uri="{FF2B5EF4-FFF2-40B4-BE49-F238E27FC236}">
                <a16:creationId xmlns:a16="http://schemas.microsoft.com/office/drawing/2014/main" id="{09AB30E9-579F-01E4-8067-683F507F5825}"/>
              </a:ext>
            </a:extLst>
          </p:cNvPr>
          <p:cNvGrpSpPr/>
          <p:nvPr>
            <p:custDataLst>
              <p:tags r:id="rId9"/>
            </p:custDataLst>
          </p:nvPr>
        </p:nvGrpSpPr>
        <p:grpSpPr>
          <a:xfrm>
            <a:off x="6456040" y="2792151"/>
            <a:ext cx="4554890" cy="3715011"/>
            <a:chOff x="3501504" y="2643317"/>
            <a:chExt cx="4554890" cy="3715011"/>
          </a:xfrm>
        </p:grpSpPr>
        <p:pic>
          <p:nvPicPr>
            <p:cNvPr id="1495" name="Graphique 1494" descr="Homme non-voyant portant des lunettes de soleil">
              <a:extLst>
                <a:ext uri="{FF2B5EF4-FFF2-40B4-BE49-F238E27FC236}">
                  <a16:creationId xmlns:a16="http://schemas.microsoft.com/office/drawing/2014/main" id="{09185287-8B57-15E5-3F60-0CFEDC1DA0E0}"/>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flipH="1">
              <a:off x="4305733" y="2926313"/>
              <a:ext cx="730969" cy="1444807"/>
            </a:xfrm>
            <a:prstGeom prst="rect">
              <a:avLst/>
            </a:prstGeom>
          </p:spPr>
        </p:pic>
        <p:pic>
          <p:nvPicPr>
            <p:cNvPr id="1496" name="Graphique 1495" descr="Un bébé à quatre pattes">
              <a:extLst>
                <a:ext uri="{FF2B5EF4-FFF2-40B4-BE49-F238E27FC236}">
                  <a16:creationId xmlns:a16="http://schemas.microsoft.com/office/drawing/2014/main" id="{F3186C62-B057-6A67-DF89-818D1E2A8EA7}"/>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flipH="1">
              <a:off x="5745541" y="4718082"/>
              <a:ext cx="396893" cy="379761"/>
            </a:xfrm>
            <a:prstGeom prst="rect">
              <a:avLst/>
            </a:prstGeom>
          </p:spPr>
        </p:pic>
        <p:pic>
          <p:nvPicPr>
            <p:cNvPr id="1497" name="Graphique 1496" descr="Garçon portant un sac à dos">
              <a:extLst>
                <a:ext uri="{FF2B5EF4-FFF2-40B4-BE49-F238E27FC236}">
                  <a16:creationId xmlns:a16="http://schemas.microsoft.com/office/drawing/2014/main" id="{06FF161C-517F-FEDF-98E1-7AD5113F749E}"/>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flipH="1">
              <a:off x="7225782" y="5163816"/>
              <a:ext cx="431158" cy="1070756"/>
            </a:xfrm>
            <a:prstGeom prst="rect">
              <a:avLst/>
            </a:prstGeom>
          </p:spPr>
        </p:pic>
        <p:pic>
          <p:nvPicPr>
            <p:cNvPr id="1498" name="Graphique 1497" descr="Garçon portant une cape">
              <a:extLst>
                <a:ext uri="{FF2B5EF4-FFF2-40B4-BE49-F238E27FC236}">
                  <a16:creationId xmlns:a16="http://schemas.microsoft.com/office/drawing/2014/main" id="{101BD17D-CCE0-C898-B911-C11D4822F54E}"/>
                </a:ext>
              </a:extLst>
            </p:cNvPr>
            <p:cNvPicPr>
              <a:picLocks noChangeAspect="1"/>
            </p:cNvPicPr>
            <p:nvPr/>
          </p:nvPicPr>
          <p:blipFill>
            <a:blip r:embed="rId60">
              <a:extLst>
                <a:ext uri="{96DAC541-7B7A-43D3-8B79-37D633B846F1}">
                  <asvg:svgBlip xmlns:asvg="http://schemas.microsoft.com/office/drawing/2016/SVG/main" r:embed="rId61"/>
                </a:ext>
              </a:extLst>
            </a:blip>
            <a:stretch>
              <a:fillRect/>
            </a:stretch>
          </p:blipFill>
          <p:spPr>
            <a:xfrm flipH="1">
              <a:off x="7401478" y="4190813"/>
              <a:ext cx="571070" cy="1184970"/>
            </a:xfrm>
            <a:prstGeom prst="rect">
              <a:avLst/>
            </a:prstGeom>
          </p:spPr>
        </p:pic>
        <p:pic>
          <p:nvPicPr>
            <p:cNvPr id="1499" name="Graphique 1498" descr="Fille portant un sac à dos">
              <a:extLst>
                <a:ext uri="{FF2B5EF4-FFF2-40B4-BE49-F238E27FC236}">
                  <a16:creationId xmlns:a16="http://schemas.microsoft.com/office/drawing/2014/main" id="{7B115239-5E2C-C68A-8E04-2730F9BE3C62}"/>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flipH="1">
              <a:off x="7625236" y="4837482"/>
              <a:ext cx="431158" cy="1070756"/>
            </a:xfrm>
            <a:prstGeom prst="rect">
              <a:avLst/>
            </a:prstGeom>
          </p:spPr>
        </p:pic>
        <p:pic>
          <p:nvPicPr>
            <p:cNvPr id="1500" name="Graphique 1499" descr="Homme non-voyant portant des lunettes de soleil">
              <a:extLst>
                <a:ext uri="{FF2B5EF4-FFF2-40B4-BE49-F238E27FC236}">
                  <a16:creationId xmlns:a16="http://schemas.microsoft.com/office/drawing/2014/main" id="{F43170FE-0F38-6373-DC3B-C50252C3EA45}"/>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flipH="1">
              <a:off x="7229553" y="2934628"/>
              <a:ext cx="730969" cy="1444807"/>
            </a:xfrm>
            <a:prstGeom prst="rect">
              <a:avLst/>
            </a:prstGeom>
          </p:spPr>
        </p:pic>
        <p:pic>
          <p:nvPicPr>
            <p:cNvPr id="1501" name="Graphique 1500" descr="Homme en smoking">
              <a:extLst>
                <a:ext uri="{FF2B5EF4-FFF2-40B4-BE49-F238E27FC236}">
                  <a16:creationId xmlns:a16="http://schemas.microsoft.com/office/drawing/2014/main" id="{3DA042D8-850C-6400-DD5D-8193E8DEC5D3}"/>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flipH="1">
              <a:off x="6890458" y="4259181"/>
              <a:ext cx="479699" cy="1370568"/>
            </a:xfrm>
            <a:prstGeom prst="rect">
              <a:avLst/>
            </a:prstGeom>
          </p:spPr>
        </p:pic>
        <p:pic>
          <p:nvPicPr>
            <p:cNvPr id="1502" name="Graphique 1501" descr="Homme avec un Mohawk">
              <a:extLst>
                <a:ext uri="{FF2B5EF4-FFF2-40B4-BE49-F238E27FC236}">
                  <a16:creationId xmlns:a16="http://schemas.microsoft.com/office/drawing/2014/main" id="{F8C36050-CF6D-04C4-13F0-069B8DEBCD00}"/>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flipH="1">
              <a:off x="6365862" y="3574884"/>
              <a:ext cx="414026" cy="1322027"/>
            </a:xfrm>
            <a:prstGeom prst="rect">
              <a:avLst/>
            </a:prstGeom>
          </p:spPr>
        </p:pic>
        <p:pic>
          <p:nvPicPr>
            <p:cNvPr id="1503" name="Graphique 1502" descr="Homme portant un collier">
              <a:extLst>
                <a:ext uri="{FF2B5EF4-FFF2-40B4-BE49-F238E27FC236}">
                  <a16:creationId xmlns:a16="http://schemas.microsoft.com/office/drawing/2014/main" id="{31D9F1D9-2B8E-CEB9-DD4E-3F50E6D35317}"/>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flipH="1">
              <a:off x="6233703" y="4597750"/>
              <a:ext cx="582491" cy="1299184"/>
            </a:xfrm>
            <a:prstGeom prst="rect">
              <a:avLst/>
            </a:prstGeom>
          </p:spPr>
        </p:pic>
        <p:pic>
          <p:nvPicPr>
            <p:cNvPr id="1504" name="Graphique 1503" descr="Homme avec bras prothétique">
              <a:extLst>
                <a:ext uri="{FF2B5EF4-FFF2-40B4-BE49-F238E27FC236}">
                  <a16:creationId xmlns:a16="http://schemas.microsoft.com/office/drawing/2014/main" id="{59C649AE-2ECC-AF6E-A7B6-DA0C4AA2DBCE}"/>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flipH="1">
              <a:off x="5687165" y="2922124"/>
              <a:ext cx="414026" cy="1384845"/>
            </a:xfrm>
            <a:prstGeom prst="rect">
              <a:avLst/>
            </a:prstGeom>
          </p:spPr>
        </p:pic>
        <p:pic>
          <p:nvPicPr>
            <p:cNvPr id="1505" name="Graphique 1504" descr="Homme portant une chemise avec motif">
              <a:extLst>
                <a:ext uri="{FF2B5EF4-FFF2-40B4-BE49-F238E27FC236}">
                  <a16:creationId xmlns:a16="http://schemas.microsoft.com/office/drawing/2014/main" id="{52902D0C-4603-68DD-5953-9C06162D16E1}"/>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flipH="1">
              <a:off x="5344090" y="3927422"/>
              <a:ext cx="559649" cy="1362002"/>
            </a:xfrm>
            <a:prstGeom prst="rect">
              <a:avLst/>
            </a:prstGeom>
          </p:spPr>
        </p:pic>
        <p:pic>
          <p:nvPicPr>
            <p:cNvPr id="1506" name="Graphique 1505" descr="Homme roulant sur un scooter">
              <a:extLst>
                <a:ext uri="{FF2B5EF4-FFF2-40B4-BE49-F238E27FC236}">
                  <a16:creationId xmlns:a16="http://schemas.microsoft.com/office/drawing/2014/main" id="{82DEE90D-276D-1E57-35CD-7936ADD09E7C}"/>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flipH="1">
              <a:off x="4849169" y="4750256"/>
              <a:ext cx="533950" cy="1461939"/>
            </a:xfrm>
            <a:prstGeom prst="rect">
              <a:avLst/>
            </a:prstGeom>
          </p:spPr>
        </p:pic>
        <p:pic>
          <p:nvPicPr>
            <p:cNvPr id="1507" name="Graphique 1506" descr="Homme âgé portant une veste">
              <a:extLst>
                <a:ext uri="{FF2B5EF4-FFF2-40B4-BE49-F238E27FC236}">
                  <a16:creationId xmlns:a16="http://schemas.microsoft.com/office/drawing/2014/main" id="{F8F469B9-3B22-A06F-5857-A78ABF49D384}"/>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flipH="1">
              <a:off x="6964465" y="2975647"/>
              <a:ext cx="428302" cy="1333448"/>
            </a:xfrm>
            <a:prstGeom prst="rect">
              <a:avLst/>
            </a:prstGeom>
          </p:spPr>
        </p:pic>
        <p:pic>
          <p:nvPicPr>
            <p:cNvPr id="1508" name="Graphique 1507" descr="Homme portant une tunique">
              <a:extLst>
                <a:ext uri="{FF2B5EF4-FFF2-40B4-BE49-F238E27FC236}">
                  <a16:creationId xmlns:a16="http://schemas.microsoft.com/office/drawing/2014/main" id="{8A190BEE-11D0-8B01-7451-5A2773DB16FD}"/>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flipH="1">
              <a:off x="4258678" y="4089671"/>
              <a:ext cx="753812" cy="1362002"/>
            </a:xfrm>
            <a:prstGeom prst="rect">
              <a:avLst/>
            </a:prstGeom>
          </p:spPr>
        </p:pic>
        <p:pic>
          <p:nvPicPr>
            <p:cNvPr id="1509" name="Graphique 1508" descr="Femme non-voyante utilisant un bâton">
              <a:extLst>
                <a:ext uri="{FF2B5EF4-FFF2-40B4-BE49-F238E27FC236}">
                  <a16:creationId xmlns:a16="http://schemas.microsoft.com/office/drawing/2014/main" id="{D495A0C4-2E8C-E3DA-E5BE-4F75DEE4A8A2}"/>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flipH="1">
              <a:off x="6017699" y="4075281"/>
              <a:ext cx="476843" cy="1441951"/>
            </a:xfrm>
            <a:prstGeom prst="rect">
              <a:avLst/>
            </a:prstGeom>
          </p:spPr>
        </p:pic>
        <p:pic>
          <p:nvPicPr>
            <p:cNvPr id="1510" name="Graphique 1509" descr="Femme avec les mains sur la hanche">
              <a:extLst>
                <a:ext uri="{FF2B5EF4-FFF2-40B4-BE49-F238E27FC236}">
                  <a16:creationId xmlns:a16="http://schemas.microsoft.com/office/drawing/2014/main" id="{77C2FB81-B997-5C86-5B84-19A692F3AA29}"/>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flipH="1">
              <a:off x="6041392" y="2780928"/>
              <a:ext cx="513963" cy="1259209"/>
            </a:xfrm>
            <a:prstGeom prst="rect">
              <a:avLst/>
            </a:prstGeom>
          </p:spPr>
        </p:pic>
        <p:pic>
          <p:nvPicPr>
            <p:cNvPr id="1511" name="Graphique 1510" descr="Femme portant une robe longue">
              <a:extLst>
                <a:ext uri="{FF2B5EF4-FFF2-40B4-BE49-F238E27FC236}">
                  <a16:creationId xmlns:a16="http://schemas.microsoft.com/office/drawing/2014/main" id="{E150E4DA-95A9-0111-46A2-E85778E59E6F}"/>
                </a:ext>
              </a:extLst>
            </p:cNvPr>
            <p:cNvPicPr>
              <a:picLocks noChangeAspect="1"/>
            </p:cNvPicPr>
            <p:nvPr/>
          </p:nvPicPr>
          <p:blipFill>
            <a:blip r:embed="rId84">
              <a:extLst>
                <a:ext uri="{96DAC541-7B7A-43D3-8B79-37D633B846F1}">
                  <asvg:svgBlip xmlns:asvg="http://schemas.microsoft.com/office/drawing/2016/SVG/main" r:embed="rId85"/>
                </a:ext>
              </a:extLst>
            </a:blip>
            <a:stretch>
              <a:fillRect/>
            </a:stretch>
          </p:blipFill>
          <p:spPr>
            <a:xfrm flipH="1">
              <a:off x="4868488" y="2643317"/>
              <a:ext cx="725259" cy="1421964"/>
            </a:xfrm>
            <a:prstGeom prst="rect">
              <a:avLst/>
            </a:prstGeom>
          </p:spPr>
        </p:pic>
        <p:pic>
          <p:nvPicPr>
            <p:cNvPr id="1512" name="Graphique 1511" descr="Femme avec main prothétique">
              <a:extLst>
                <a:ext uri="{FF2B5EF4-FFF2-40B4-BE49-F238E27FC236}">
                  <a16:creationId xmlns:a16="http://schemas.microsoft.com/office/drawing/2014/main" id="{005459BA-5C03-1491-9228-DFDCB1C93151}"/>
                </a:ext>
              </a:extLst>
            </p:cNvPr>
            <p:cNvPicPr>
              <a:picLocks noChangeAspect="1"/>
            </p:cNvPicPr>
            <p:nvPr/>
          </p:nvPicPr>
          <p:blipFill>
            <a:blip r:embed="rId86">
              <a:extLst>
                <a:ext uri="{96DAC541-7B7A-43D3-8B79-37D633B846F1}">
                  <asvg:svgBlip xmlns:asvg="http://schemas.microsoft.com/office/drawing/2016/SVG/main" r:embed="rId87"/>
                </a:ext>
              </a:extLst>
            </a:blip>
            <a:stretch>
              <a:fillRect/>
            </a:stretch>
          </p:blipFill>
          <p:spPr>
            <a:xfrm flipH="1">
              <a:off x="4378646" y="4741492"/>
              <a:ext cx="365485" cy="1344870"/>
            </a:xfrm>
            <a:prstGeom prst="rect">
              <a:avLst/>
            </a:prstGeom>
          </p:spPr>
        </p:pic>
        <p:pic>
          <p:nvPicPr>
            <p:cNvPr id="1513" name="Graphique 1512" descr="Femme portant un blazer">
              <a:extLst>
                <a:ext uri="{FF2B5EF4-FFF2-40B4-BE49-F238E27FC236}">
                  <a16:creationId xmlns:a16="http://schemas.microsoft.com/office/drawing/2014/main" id="{4EABE4BB-15E1-6362-FACE-A1F4C897B262}"/>
                </a:ext>
              </a:extLst>
            </p:cNvPr>
            <p:cNvPicPr>
              <a:picLocks noChangeAspect="1"/>
            </p:cNvPicPr>
            <p:nvPr/>
          </p:nvPicPr>
          <p:blipFill>
            <a:blip r:embed="rId88">
              <a:extLst>
                <a:ext uri="{96DAC541-7B7A-43D3-8B79-37D633B846F1}">
                  <asvg:svgBlip xmlns:asvg="http://schemas.microsoft.com/office/drawing/2016/SVG/main" r:embed="rId89"/>
                </a:ext>
              </a:extLst>
            </a:blip>
            <a:stretch>
              <a:fillRect/>
            </a:stretch>
          </p:blipFill>
          <p:spPr>
            <a:xfrm flipH="1">
              <a:off x="5367734" y="4812568"/>
              <a:ext cx="508253" cy="1324883"/>
            </a:xfrm>
            <a:prstGeom prst="rect">
              <a:avLst/>
            </a:prstGeom>
          </p:spPr>
        </p:pic>
        <p:pic>
          <p:nvPicPr>
            <p:cNvPr id="1514" name="Graphique 1513" descr="Homme âgé utilisant une cane">
              <a:extLst>
                <a:ext uri="{FF2B5EF4-FFF2-40B4-BE49-F238E27FC236}">
                  <a16:creationId xmlns:a16="http://schemas.microsoft.com/office/drawing/2014/main" id="{CD514D6F-ED4C-311B-4AE3-5B3208BBF223}"/>
                </a:ext>
              </a:extLst>
            </p:cNvPr>
            <p:cNvPicPr>
              <a:picLocks noChangeAspect="1"/>
            </p:cNvPicPr>
            <p:nvPr/>
          </p:nvPicPr>
          <p:blipFill>
            <a:blip r:embed="rId90">
              <a:extLst>
                <a:ext uri="{96DAC541-7B7A-43D3-8B79-37D633B846F1}">
                  <asvg:svgBlip xmlns:asvg="http://schemas.microsoft.com/office/drawing/2016/SVG/main" r:embed="rId91"/>
                </a:ext>
              </a:extLst>
            </a:blip>
            <a:stretch>
              <a:fillRect/>
            </a:stretch>
          </p:blipFill>
          <p:spPr>
            <a:xfrm flipH="1">
              <a:off x="4900482" y="3507428"/>
              <a:ext cx="651020" cy="1379134"/>
            </a:xfrm>
            <a:prstGeom prst="rect">
              <a:avLst/>
            </a:prstGeom>
          </p:spPr>
        </p:pic>
        <p:grpSp>
          <p:nvGrpSpPr>
            <p:cNvPr id="1515" name="Graphique 35" descr="Garçon dans un fauteuil roulant">
              <a:extLst>
                <a:ext uri="{FF2B5EF4-FFF2-40B4-BE49-F238E27FC236}">
                  <a16:creationId xmlns:a16="http://schemas.microsoft.com/office/drawing/2014/main" id="{DCC8C124-EF0C-EF49-4C3D-2FC0F10B9D58}"/>
                </a:ext>
              </a:extLst>
            </p:cNvPr>
            <p:cNvGrpSpPr/>
            <p:nvPr/>
          </p:nvGrpSpPr>
          <p:grpSpPr>
            <a:xfrm>
              <a:off x="6596747" y="5481226"/>
              <a:ext cx="751062" cy="877102"/>
              <a:chOff x="9153323" y="3832116"/>
              <a:chExt cx="751062" cy="877102"/>
            </a:xfrm>
          </p:grpSpPr>
          <p:grpSp>
            <p:nvGrpSpPr>
              <p:cNvPr id="1521" name="Graphique 35" descr="Garçon dans un fauteuil roulant">
                <a:extLst>
                  <a:ext uri="{FF2B5EF4-FFF2-40B4-BE49-F238E27FC236}">
                    <a16:creationId xmlns:a16="http://schemas.microsoft.com/office/drawing/2014/main" id="{CA3149B1-6735-3C0A-25E5-60A991E36141}"/>
                  </a:ext>
                </a:extLst>
              </p:cNvPr>
              <p:cNvGrpSpPr/>
              <p:nvPr/>
            </p:nvGrpSpPr>
            <p:grpSpPr>
              <a:xfrm>
                <a:off x="9153323" y="3985440"/>
                <a:ext cx="751062" cy="723778"/>
                <a:chOff x="9153323" y="3985440"/>
                <a:chExt cx="751062" cy="723778"/>
              </a:xfrm>
            </p:grpSpPr>
            <p:sp>
              <p:nvSpPr>
                <p:cNvPr id="1534" name="Forme libre : forme 1533">
                  <a:extLst>
                    <a:ext uri="{FF2B5EF4-FFF2-40B4-BE49-F238E27FC236}">
                      <a16:creationId xmlns:a16="http://schemas.microsoft.com/office/drawing/2014/main" id="{79C772AA-8D0A-AEC9-A7A1-8B785480D2CC}"/>
                    </a:ext>
                  </a:extLst>
                </p:cNvPr>
                <p:cNvSpPr/>
                <p:nvPr/>
              </p:nvSpPr>
              <p:spPr>
                <a:xfrm>
                  <a:off x="9156791" y="3985719"/>
                  <a:ext cx="746079" cy="721501"/>
                </a:xfrm>
                <a:custGeom>
                  <a:avLst/>
                  <a:gdLst>
                    <a:gd name="connsiteX0" fmla="*/ 725289 w 746079"/>
                    <a:gd name="connsiteY0" fmla="*/ 643256 h 721501"/>
                    <a:gd name="connsiteX1" fmla="*/ 726086 w 746079"/>
                    <a:gd name="connsiteY1" fmla="*/ 638168 h 721501"/>
                    <a:gd name="connsiteX2" fmla="*/ 744217 w 746079"/>
                    <a:gd name="connsiteY2" fmla="*/ 637691 h 721501"/>
                    <a:gd name="connsiteX3" fmla="*/ 744694 w 746079"/>
                    <a:gd name="connsiteY3" fmla="*/ 626398 h 721501"/>
                    <a:gd name="connsiteX4" fmla="*/ 726403 w 746079"/>
                    <a:gd name="connsiteY4" fmla="*/ 626238 h 721501"/>
                    <a:gd name="connsiteX5" fmla="*/ 723222 w 746079"/>
                    <a:gd name="connsiteY5" fmla="*/ 622581 h 721501"/>
                    <a:gd name="connsiteX6" fmla="*/ 690936 w 746079"/>
                    <a:gd name="connsiteY6" fmla="*/ 624648 h 721501"/>
                    <a:gd name="connsiteX7" fmla="*/ 679963 w 746079"/>
                    <a:gd name="connsiteY7" fmla="*/ 611764 h 721501"/>
                    <a:gd name="connsiteX8" fmla="*/ 622308 w 746079"/>
                    <a:gd name="connsiteY8" fmla="*/ 388228 h 721501"/>
                    <a:gd name="connsiteX9" fmla="*/ 602109 w 746079"/>
                    <a:gd name="connsiteY9" fmla="*/ 375187 h 721501"/>
                    <a:gd name="connsiteX10" fmla="*/ 604893 w 746079"/>
                    <a:gd name="connsiteY10" fmla="*/ 342982 h 721501"/>
                    <a:gd name="connsiteX11" fmla="*/ 576203 w 746079"/>
                    <a:gd name="connsiteY11" fmla="*/ 293430 h 721501"/>
                    <a:gd name="connsiteX12" fmla="*/ 573976 w 746079"/>
                    <a:gd name="connsiteY12" fmla="*/ 250965 h 721501"/>
                    <a:gd name="connsiteX13" fmla="*/ 557594 w 746079"/>
                    <a:gd name="connsiteY13" fmla="*/ 248261 h 721501"/>
                    <a:gd name="connsiteX14" fmla="*/ 440060 w 746079"/>
                    <a:gd name="connsiteY14" fmla="*/ 214542 h 721501"/>
                    <a:gd name="connsiteX15" fmla="*/ 396321 w 746079"/>
                    <a:gd name="connsiteY15" fmla="*/ 127226 h 721501"/>
                    <a:gd name="connsiteX16" fmla="*/ 367200 w 746079"/>
                    <a:gd name="connsiteY16" fmla="*/ 65764 h 721501"/>
                    <a:gd name="connsiteX17" fmla="*/ 314239 w 746079"/>
                    <a:gd name="connsiteY17" fmla="*/ 42545 h 721501"/>
                    <a:gd name="connsiteX18" fmla="*/ 302064 w 746079"/>
                    <a:gd name="connsiteY18" fmla="*/ 24747 h 721501"/>
                    <a:gd name="connsiteX19" fmla="*/ 231933 w 746079"/>
                    <a:gd name="connsiteY19" fmla="*/ 0 h 721501"/>
                    <a:gd name="connsiteX20" fmla="*/ 231536 w 746079"/>
                    <a:gd name="connsiteY20" fmla="*/ 17812 h 721501"/>
                    <a:gd name="connsiteX21" fmla="*/ 214995 w 746079"/>
                    <a:gd name="connsiteY21" fmla="*/ 45883 h 721501"/>
                    <a:gd name="connsiteX22" fmla="*/ 190422 w 746079"/>
                    <a:gd name="connsiteY22" fmla="*/ 59720 h 721501"/>
                    <a:gd name="connsiteX23" fmla="*/ 167203 w 746079"/>
                    <a:gd name="connsiteY23" fmla="*/ 83896 h 721501"/>
                    <a:gd name="connsiteX24" fmla="*/ 124101 w 746079"/>
                    <a:gd name="connsiteY24" fmla="*/ 78965 h 721501"/>
                    <a:gd name="connsiteX25" fmla="*/ 65255 w 746079"/>
                    <a:gd name="connsiteY25" fmla="*/ 58766 h 721501"/>
                    <a:gd name="connsiteX26" fmla="*/ 63665 w 746079"/>
                    <a:gd name="connsiteY26" fmla="*/ 73557 h 721501"/>
                    <a:gd name="connsiteX27" fmla="*/ 96427 w 746079"/>
                    <a:gd name="connsiteY27" fmla="*/ 77214 h 721501"/>
                    <a:gd name="connsiteX28" fmla="*/ 111209 w 746079"/>
                    <a:gd name="connsiteY28" fmla="*/ 101882 h 721501"/>
                    <a:gd name="connsiteX29" fmla="*/ 121237 w 746079"/>
                    <a:gd name="connsiteY29" fmla="*/ 259640 h 721501"/>
                    <a:gd name="connsiteX30" fmla="*/ 117103 w 746079"/>
                    <a:gd name="connsiteY30" fmla="*/ 268865 h 721501"/>
                    <a:gd name="connsiteX31" fmla="*/ 75911 w 746079"/>
                    <a:gd name="connsiteY31" fmla="*/ 271093 h 721501"/>
                    <a:gd name="connsiteX32" fmla="*/ 14362 w 746079"/>
                    <a:gd name="connsiteY32" fmla="*/ 360157 h 721501"/>
                    <a:gd name="connsiteX33" fmla="*/ 365 w 746079"/>
                    <a:gd name="connsiteY33" fmla="*/ 435544 h 721501"/>
                    <a:gd name="connsiteX34" fmla="*/ 4659 w 746079"/>
                    <a:gd name="connsiteY34" fmla="*/ 511250 h 721501"/>
                    <a:gd name="connsiteX35" fmla="*/ 90385 w 746079"/>
                    <a:gd name="connsiteY35" fmla="*/ 647394 h 721501"/>
                    <a:gd name="connsiteX36" fmla="*/ 130623 w 746079"/>
                    <a:gd name="connsiteY36" fmla="*/ 663775 h 721501"/>
                    <a:gd name="connsiteX37" fmla="*/ 196150 w 746079"/>
                    <a:gd name="connsiteY37" fmla="*/ 625445 h 721501"/>
                    <a:gd name="connsiteX38" fmla="*/ 234480 w 746079"/>
                    <a:gd name="connsiteY38" fmla="*/ 631806 h 721501"/>
                    <a:gd name="connsiteX39" fmla="*/ 241159 w 746079"/>
                    <a:gd name="connsiteY39" fmla="*/ 631170 h 721501"/>
                    <a:gd name="connsiteX40" fmla="*/ 224938 w 746079"/>
                    <a:gd name="connsiteY40" fmla="*/ 689062 h 721501"/>
                    <a:gd name="connsiteX41" fmla="*/ 260724 w 746079"/>
                    <a:gd name="connsiteY41" fmla="*/ 720234 h 721501"/>
                    <a:gd name="connsiteX42" fmla="*/ 314798 w 746079"/>
                    <a:gd name="connsiteY42" fmla="*/ 700352 h 721501"/>
                    <a:gd name="connsiteX43" fmla="*/ 301758 w 746079"/>
                    <a:gd name="connsiteY43" fmla="*/ 627669 h 721501"/>
                    <a:gd name="connsiteX44" fmla="*/ 310415 w 746079"/>
                    <a:gd name="connsiteY44" fmla="*/ 606848 h 721501"/>
                    <a:gd name="connsiteX45" fmla="*/ 315595 w 746079"/>
                    <a:gd name="connsiteY45" fmla="*/ 580590 h 721501"/>
                    <a:gd name="connsiteX46" fmla="*/ 377782 w 746079"/>
                    <a:gd name="connsiteY46" fmla="*/ 594587 h 721501"/>
                    <a:gd name="connsiteX47" fmla="*/ 384620 w 746079"/>
                    <a:gd name="connsiteY47" fmla="*/ 652796 h 721501"/>
                    <a:gd name="connsiteX48" fmla="*/ 400208 w 746079"/>
                    <a:gd name="connsiteY48" fmla="*/ 661545 h 721501"/>
                    <a:gd name="connsiteX49" fmla="*/ 403388 w 746079"/>
                    <a:gd name="connsiteY49" fmla="*/ 678880 h 721501"/>
                    <a:gd name="connsiteX50" fmla="*/ 407523 w 746079"/>
                    <a:gd name="connsiteY50" fmla="*/ 678880 h 721501"/>
                    <a:gd name="connsiteX51" fmla="*/ 411500 w 746079"/>
                    <a:gd name="connsiteY51" fmla="*/ 686195 h 721501"/>
                    <a:gd name="connsiteX52" fmla="*/ 415635 w 746079"/>
                    <a:gd name="connsiteY52" fmla="*/ 672835 h 721501"/>
                    <a:gd name="connsiteX53" fmla="*/ 454125 w 746079"/>
                    <a:gd name="connsiteY53" fmla="*/ 665359 h 721501"/>
                    <a:gd name="connsiteX54" fmla="*/ 457783 w 746079"/>
                    <a:gd name="connsiteY54" fmla="*/ 660748 h 721501"/>
                    <a:gd name="connsiteX55" fmla="*/ 471303 w 746079"/>
                    <a:gd name="connsiteY55" fmla="*/ 662498 h 721501"/>
                    <a:gd name="connsiteX56" fmla="*/ 501681 w 746079"/>
                    <a:gd name="connsiteY56" fmla="*/ 654546 h 721501"/>
                    <a:gd name="connsiteX57" fmla="*/ 496901 w 746079"/>
                    <a:gd name="connsiteY57" fmla="*/ 668477 h 721501"/>
                    <a:gd name="connsiteX58" fmla="*/ 509625 w 746079"/>
                    <a:gd name="connsiteY58" fmla="*/ 676033 h 721501"/>
                    <a:gd name="connsiteX59" fmla="*/ 561164 w 746079"/>
                    <a:gd name="connsiteY59" fmla="*/ 674111 h 721501"/>
                    <a:gd name="connsiteX60" fmla="*/ 582636 w 746079"/>
                    <a:gd name="connsiteY60" fmla="*/ 666476 h 721501"/>
                    <a:gd name="connsiteX61" fmla="*/ 581839 w 746079"/>
                    <a:gd name="connsiteY61" fmla="*/ 675542 h 721501"/>
                    <a:gd name="connsiteX62" fmla="*/ 662951 w 746079"/>
                    <a:gd name="connsiteY62" fmla="*/ 665839 h 721501"/>
                    <a:gd name="connsiteX63" fmla="*/ 724501 w 746079"/>
                    <a:gd name="connsiteY63" fmla="*/ 650729 h 721501"/>
                    <a:gd name="connsiteX64" fmla="*/ 737541 w 746079"/>
                    <a:gd name="connsiteY64" fmla="*/ 644684 h 721501"/>
                    <a:gd name="connsiteX65" fmla="*/ 725289 w 746079"/>
                    <a:gd name="connsiteY65" fmla="*/ 643256 h 721501"/>
                    <a:gd name="connsiteX66" fmla="*/ 305730 w 746079"/>
                    <a:gd name="connsiteY66" fmla="*/ 403415 h 721501"/>
                    <a:gd name="connsiteX67" fmla="*/ 306047 w 746079"/>
                    <a:gd name="connsiteY67" fmla="*/ 411051 h 721501"/>
                    <a:gd name="connsiteX68" fmla="*/ 285531 w 746079"/>
                    <a:gd name="connsiteY68" fmla="*/ 409143 h 721501"/>
                    <a:gd name="connsiteX69" fmla="*/ 282510 w 746079"/>
                    <a:gd name="connsiteY69" fmla="*/ 399917 h 721501"/>
                    <a:gd name="connsiteX70" fmla="*/ 305730 w 746079"/>
                    <a:gd name="connsiteY70" fmla="*/ 403415 h 721501"/>
                    <a:gd name="connsiteX71" fmla="*/ 191376 w 746079"/>
                    <a:gd name="connsiteY71" fmla="*/ 604132 h 721501"/>
                    <a:gd name="connsiteX72" fmla="*/ 107240 w 746079"/>
                    <a:gd name="connsiteY72" fmla="*/ 586478 h 721501"/>
                    <a:gd name="connsiteX73" fmla="*/ 98492 w 746079"/>
                    <a:gd name="connsiteY73" fmla="*/ 601268 h 721501"/>
                    <a:gd name="connsiteX74" fmla="*/ 150570 w 746079"/>
                    <a:gd name="connsiteY74" fmla="*/ 616393 h 721501"/>
                    <a:gd name="connsiteX75" fmla="*/ 180083 w 746079"/>
                    <a:gd name="connsiteY75" fmla="*/ 620833 h 721501"/>
                    <a:gd name="connsiteX76" fmla="*/ 147161 w 746079"/>
                    <a:gd name="connsiteY76" fmla="*/ 644053 h 721501"/>
                    <a:gd name="connsiteX77" fmla="*/ 100473 w 746079"/>
                    <a:gd name="connsiteY77" fmla="*/ 637468 h 721501"/>
                    <a:gd name="connsiteX78" fmla="*/ 28039 w 746079"/>
                    <a:gd name="connsiteY78" fmla="*/ 525884 h 721501"/>
                    <a:gd name="connsiteX79" fmla="*/ 15315 w 746079"/>
                    <a:gd name="connsiteY79" fmla="*/ 459720 h 721501"/>
                    <a:gd name="connsiteX80" fmla="*/ 14601 w 746079"/>
                    <a:gd name="connsiteY80" fmla="*/ 432206 h 721501"/>
                    <a:gd name="connsiteX81" fmla="*/ 35834 w 746079"/>
                    <a:gd name="connsiteY81" fmla="*/ 334236 h 721501"/>
                    <a:gd name="connsiteX82" fmla="*/ 51570 w 746079"/>
                    <a:gd name="connsiteY82" fmla="*/ 310634 h 721501"/>
                    <a:gd name="connsiteX83" fmla="*/ 54442 w 746079"/>
                    <a:gd name="connsiteY83" fmla="*/ 305237 h 721501"/>
                    <a:gd name="connsiteX84" fmla="*/ 117637 w 746079"/>
                    <a:gd name="connsiteY84" fmla="*/ 287000 h 721501"/>
                    <a:gd name="connsiteX85" fmla="*/ 121243 w 746079"/>
                    <a:gd name="connsiteY85" fmla="*/ 351254 h 721501"/>
                    <a:gd name="connsiteX86" fmla="*/ 123998 w 746079"/>
                    <a:gd name="connsiteY86" fmla="*/ 352950 h 721501"/>
                    <a:gd name="connsiteX87" fmla="*/ 125483 w 746079"/>
                    <a:gd name="connsiteY87" fmla="*/ 375005 h 721501"/>
                    <a:gd name="connsiteX88" fmla="*/ 124264 w 746079"/>
                    <a:gd name="connsiteY88" fmla="*/ 443978 h 721501"/>
                    <a:gd name="connsiteX89" fmla="*/ 115995 w 746079"/>
                    <a:gd name="connsiteY89" fmla="*/ 457498 h 721501"/>
                    <a:gd name="connsiteX90" fmla="*/ 103271 w 746079"/>
                    <a:gd name="connsiteY90" fmla="*/ 454158 h 721501"/>
                    <a:gd name="connsiteX91" fmla="*/ 86730 w 746079"/>
                    <a:gd name="connsiteY91" fmla="*/ 466564 h 721501"/>
                    <a:gd name="connsiteX92" fmla="*/ 101204 w 746079"/>
                    <a:gd name="connsiteY92" fmla="*/ 482785 h 721501"/>
                    <a:gd name="connsiteX93" fmla="*/ 106612 w 746079"/>
                    <a:gd name="connsiteY93" fmla="*/ 473560 h 721501"/>
                    <a:gd name="connsiteX94" fmla="*/ 117428 w 746079"/>
                    <a:gd name="connsiteY94" fmla="*/ 471016 h 721501"/>
                    <a:gd name="connsiteX95" fmla="*/ 127924 w 746079"/>
                    <a:gd name="connsiteY95" fmla="*/ 481512 h 721501"/>
                    <a:gd name="connsiteX96" fmla="*/ 138264 w 746079"/>
                    <a:gd name="connsiteY96" fmla="*/ 456065 h 721501"/>
                    <a:gd name="connsiteX97" fmla="*/ 142241 w 746079"/>
                    <a:gd name="connsiteY97" fmla="*/ 377177 h 721501"/>
                    <a:gd name="connsiteX98" fmla="*/ 199497 w 746079"/>
                    <a:gd name="connsiteY98" fmla="*/ 387674 h 721501"/>
                    <a:gd name="connsiteX99" fmla="*/ 214607 w 746079"/>
                    <a:gd name="connsiteY99" fmla="*/ 457972 h 721501"/>
                    <a:gd name="connsiteX100" fmla="*/ 191376 w 746079"/>
                    <a:gd name="connsiteY100" fmla="*/ 604132 h 721501"/>
                    <a:gd name="connsiteX101" fmla="*/ 240519 w 746079"/>
                    <a:gd name="connsiteY101" fmla="*/ 667589 h 721501"/>
                    <a:gd name="connsiteX102" fmla="*/ 261992 w 746079"/>
                    <a:gd name="connsiteY102" fmla="*/ 669657 h 721501"/>
                    <a:gd name="connsiteX103" fmla="*/ 257697 w 746079"/>
                    <a:gd name="connsiteY103" fmla="*/ 681107 h 721501"/>
                    <a:gd name="connsiteX104" fmla="*/ 264059 w 746079"/>
                    <a:gd name="connsiteY104" fmla="*/ 682857 h 721501"/>
                    <a:gd name="connsiteX105" fmla="*/ 255541 w 746079"/>
                    <a:gd name="connsiteY105" fmla="*/ 695118 h 721501"/>
                    <a:gd name="connsiteX106" fmla="*/ 240519 w 746079"/>
                    <a:gd name="connsiteY106" fmla="*/ 667589 h 721501"/>
                    <a:gd name="connsiteX107" fmla="*/ 266923 w 746079"/>
                    <a:gd name="connsiteY107" fmla="*/ 638645 h 721501"/>
                    <a:gd name="connsiteX108" fmla="*/ 268673 w 746079"/>
                    <a:gd name="connsiteY108" fmla="*/ 653435 h 721501"/>
                    <a:gd name="connsiteX109" fmla="*/ 263265 w 746079"/>
                    <a:gd name="connsiteY109" fmla="*/ 668066 h 721501"/>
                    <a:gd name="connsiteX110" fmla="*/ 241624 w 746079"/>
                    <a:gd name="connsiteY110" fmla="*/ 661322 h 721501"/>
                    <a:gd name="connsiteX111" fmla="*/ 266923 w 746079"/>
                    <a:gd name="connsiteY111" fmla="*/ 638645 h 721501"/>
                    <a:gd name="connsiteX112" fmla="*/ 250699 w 746079"/>
                    <a:gd name="connsiteY112" fmla="*/ 624968 h 721501"/>
                    <a:gd name="connsiteX113" fmla="*/ 263739 w 746079"/>
                    <a:gd name="connsiteY113" fmla="*/ 591092 h 721501"/>
                    <a:gd name="connsiteX114" fmla="*/ 290616 w 746079"/>
                    <a:gd name="connsiteY114" fmla="*/ 575187 h 721501"/>
                    <a:gd name="connsiteX115" fmla="*/ 291413 w 746079"/>
                    <a:gd name="connsiteY115" fmla="*/ 588228 h 721501"/>
                    <a:gd name="connsiteX116" fmla="*/ 295231 w 746079"/>
                    <a:gd name="connsiteY116" fmla="*/ 589978 h 721501"/>
                    <a:gd name="connsiteX117" fmla="*/ 282824 w 746079"/>
                    <a:gd name="connsiteY117" fmla="*/ 620196 h 721501"/>
                    <a:gd name="connsiteX118" fmla="*/ 250699 w 746079"/>
                    <a:gd name="connsiteY118" fmla="*/ 624968 h 721501"/>
                    <a:gd name="connsiteX119" fmla="*/ 261038 w 746079"/>
                    <a:gd name="connsiteY119" fmla="*/ 697174 h 721501"/>
                    <a:gd name="connsiteX120" fmla="*/ 271057 w 746079"/>
                    <a:gd name="connsiteY120" fmla="*/ 681746 h 721501"/>
                    <a:gd name="connsiteX121" fmla="*/ 282350 w 746079"/>
                    <a:gd name="connsiteY121" fmla="*/ 678565 h 721501"/>
                    <a:gd name="connsiteX122" fmla="*/ 292210 w 746079"/>
                    <a:gd name="connsiteY122" fmla="*/ 696060 h 721501"/>
                    <a:gd name="connsiteX123" fmla="*/ 261038 w 746079"/>
                    <a:gd name="connsiteY123" fmla="*/ 697174 h 721501"/>
                    <a:gd name="connsiteX124" fmla="*/ 305253 w 746079"/>
                    <a:gd name="connsiteY124" fmla="*/ 659003 h 721501"/>
                    <a:gd name="connsiteX125" fmla="*/ 302072 w 746079"/>
                    <a:gd name="connsiteY125" fmla="*/ 687471 h 721501"/>
                    <a:gd name="connsiteX126" fmla="*/ 296496 w 746079"/>
                    <a:gd name="connsiteY126" fmla="*/ 689950 h 721501"/>
                    <a:gd name="connsiteX127" fmla="*/ 283304 w 746079"/>
                    <a:gd name="connsiteY127" fmla="*/ 675542 h 721501"/>
                    <a:gd name="connsiteX128" fmla="*/ 286708 w 746079"/>
                    <a:gd name="connsiteY128" fmla="*/ 667264 h 721501"/>
                    <a:gd name="connsiteX129" fmla="*/ 305253 w 746079"/>
                    <a:gd name="connsiteY129" fmla="*/ 659003 h 721501"/>
                    <a:gd name="connsiteX130" fmla="*/ 288552 w 746079"/>
                    <a:gd name="connsiteY130" fmla="*/ 557053 h 721501"/>
                    <a:gd name="connsiteX131" fmla="*/ 271534 w 746079"/>
                    <a:gd name="connsiteY131" fmla="*/ 554189 h 721501"/>
                    <a:gd name="connsiteX132" fmla="*/ 250539 w 746079"/>
                    <a:gd name="connsiteY132" fmla="*/ 582817 h 721501"/>
                    <a:gd name="connsiteX133" fmla="*/ 241633 w 746079"/>
                    <a:gd name="connsiteY133" fmla="*/ 604129 h 721501"/>
                    <a:gd name="connsiteX134" fmla="*/ 220321 w 746079"/>
                    <a:gd name="connsiteY134" fmla="*/ 609537 h 721501"/>
                    <a:gd name="connsiteX135" fmla="*/ 207914 w 746079"/>
                    <a:gd name="connsiteY135" fmla="*/ 607150 h 721501"/>
                    <a:gd name="connsiteX136" fmla="*/ 219524 w 746079"/>
                    <a:gd name="connsiteY136" fmla="*/ 579316 h 721501"/>
                    <a:gd name="connsiteX137" fmla="*/ 229067 w 746079"/>
                    <a:gd name="connsiteY137" fmla="*/ 540032 h 721501"/>
                    <a:gd name="connsiteX138" fmla="*/ 232724 w 746079"/>
                    <a:gd name="connsiteY138" fmla="*/ 476572 h 721501"/>
                    <a:gd name="connsiteX139" fmla="*/ 224455 w 746079"/>
                    <a:gd name="connsiteY139" fmla="*/ 421861 h 721501"/>
                    <a:gd name="connsiteX140" fmla="*/ 223890 w 746079"/>
                    <a:gd name="connsiteY140" fmla="*/ 415619 h 721501"/>
                    <a:gd name="connsiteX141" fmla="*/ 288232 w 746079"/>
                    <a:gd name="connsiteY141" fmla="*/ 422498 h 721501"/>
                    <a:gd name="connsiteX142" fmla="*/ 306681 w 746079"/>
                    <a:gd name="connsiteY142" fmla="*/ 424088 h 721501"/>
                    <a:gd name="connsiteX143" fmla="*/ 309702 w 746079"/>
                    <a:gd name="connsiteY143" fmla="*/ 546394 h 721501"/>
                    <a:gd name="connsiteX144" fmla="*/ 288552 w 746079"/>
                    <a:gd name="connsiteY144" fmla="*/ 557053 h 721501"/>
                    <a:gd name="connsiteX145" fmla="*/ 323065 w 746079"/>
                    <a:gd name="connsiteY145" fmla="*/ 394352 h 721501"/>
                    <a:gd name="connsiteX146" fmla="*/ 340399 w 746079"/>
                    <a:gd name="connsiteY146" fmla="*/ 390535 h 721501"/>
                    <a:gd name="connsiteX147" fmla="*/ 341990 w 746079"/>
                    <a:gd name="connsiteY147" fmla="*/ 411210 h 721501"/>
                    <a:gd name="connsiteX148" fmla="*/ 341673 w 746079"/>
                    <a:gd name="connsiteY148" fmla="*/ 415028 h 721501"/>
                    <a:gd name="connsiteX149" fmla="*/ 323701 w 746079"/>
                    <a:gd name="connsiteY149" fmla="*/ 412324 h 721501"/>
                    <a:gd name="connsiteX150" fmla="*/ 323065 w 746079"/>
                    <a:gd name="connsiteY150" fmla="*/ 394352 h 721501"/>
                    <a:gd name="connsiteX151" fmla="*/ 328313 w 746079"/>
                    <a:gd name="connsiteY151" fmla="*/ 566756 h 721501"/>
                    <a:gd name="connsiteX152" fmla="*/ 324858 w 746079"/>
                    <a:gd name="connsiteY152" fmla="*/ 510668 h 721501"/>
                    <a:gd name="connsiteX153" fmla="*/ 324495 w 746079"/>
                    <a:gd name="connsiteY153" fmla="*/ 425841 h 721501"/>
                    <a:gd name="connsiteX154" fmla="*/ 334355 w 746079"/>
                    <a:gd name="connsiteY154" fmla="*/ 427272 h 721501"/>
                    <a:gd name="connsiteX155" fmla="*/ 343420 w 746079"/>
                    <a:gd name="connsiteY155" fmla="*/ 433157 h 721501"/>
                    <a:gd name="connsiteX156" fmla="*/ 353280 w 746079"/>
                    <a:gd name="connsiteY156" fmla="*/ 483893 h 721501"/>
                    <a:gd name="connsiteX157" fmla="*/ 366320 w 746079"/>
                    <a:gd name="connsiteY157" fmla="*/ 515065 h 721501"/>
                    <a:gd name="connsiteX158" fmla="*/ 363139 w 746079"/>
                    <a:gd name="connsiteY158" fmla="*/ 535741 h 721501"/>
                    <a:gd name="connsiteX159" fmla="*/ 371568 w 746079"/>
                    <a:gd name="connsiteY159" fmla="*/ 556257 h 721501"/>
                    <a:gd name="connsiteX160" fmla="*/ 381428 w 746079"/>
                    <a:gd name="connsiteY160" fmla="*/ 561188 h 721501"/>
                    <a:gd name="connsiteX161" fmla="*/ 384292 w 746079"/>
                    <a:gd name="connsiteY161" fmla="*/ 578046 h 721501"/>
                    <a:gd name="connsiteX162" fmla="*/ 328313 w 746079"/>
                    <a:gd name="connsiteY162" fmla="*/ 566756 h 721501"/>
                    <a:gd name="connsiteX163" fmla="*/ 517737 w 746079"/>
                    <a:gd name="connsiteY163" fmla="*/ 605723 h 721501"/>
                    <a:gd name="connsiteX164" fmla="*/ 503106 w 746079"/>
                    <a:gd name="connsiteY164" fmla="*/ 599521 h 721501"/>
                    <a:gd name="connsiteX165" fmla="*/ 506447 w 746079"/>
                    <a:gd name="connsiteY165" fmla="*/ 616539 h 721501"/>
                    <a:gd name="connsiteX166" fmla="*/ 506923 w 746079"/>
                    <a:gd name="connsiteY166" fmla="*/ 633240 h 721501"/>
                    <a:gd name="connsiteX167" fmla="*/ 487042 w 746079"/>
                    <a:gd name="connsiteY167" fmla="*/ 639441 h 721501"/>
                    <a:gd name="connsiteX168" fmla="*/ 468116 w 746079"/>
                    <a:gd name="connsiteY168" fmla="*/ 609860 h 721501"/>
                    <a:gd name="connsiteX169" fmla="*/ 437261 w 746079"/>
                    <a:gd name="connsiteY169" fmla="*/ 573280 h 721501"/>
                    <a:gd name="connsiteX170" fmla="*/ 433444 w 746079"/>
                    <a:gd name="connsiteY170" fmla="*/ 558966 h 721501"/>
                    <a:gd name="connsiteX171" fmla="*/ 431853 w 746079"/>
                    <a:gd name="connsiteY171" fmla="*/ 551651 h 721501"/>
                    <a:gd name="connsiteX172" fmla="*/ 442510 w 746079"/>
                    <a:gd name="connsiteY172" fmla="*/ 533679 h 721501"/>
                    <a:gd name="connsiteX173" fmla="*/ 432082 w 746079"/>
                    <a:gd name="connsiteY173" fmla="*/ 512221 h 721501"/>
                    <a:gd name="connsiteX174" fmla="*/ 434238 w 746079"/>
                    <a:gd name="connsiteY174" fmla="*/ 377337 h 721501"/>
                    <a:gd name="connsiteX175" fmla="*/ 488949 w 746079"/>
                    <a:gd name="connsiteY175" fmla="*/ 371136 h 721501"/>
                    <a:gd name="connsiteX176" fmla="*/ 512805 w 746079"/>
                    <a:gd name="connsiteY176" fmla="*/ 378294 h 721501"/>
                    <a:gd name="connsiteX177" fmla="*/ 517260 w 746079"/>
                    <a:gd name="connsiteY177" fmla="*/ 442071 h 721501"/>
                    <a:gd name="connsiteX178" fmla="*/ 511535 w 746079"/>
                    <a:gd name="connsiteY178" fmla="*/ 524297 h 721501"/>
                    <a:gd name="connsiteX179" fmla="*/ 518365 w 746079"/>
                    <a:gd name="connsiteY179" fmla="*/ 555166 h 721501"/>
                    <a:gd name="connsiteX180" fmla="*/ 519327 w 746079"/>
                    <a:gd name="connsiteY180" fmla="*/ 577101 h 721501"/>
                    <a:gd name="connsiteX181" fmla="*/ 522031 w 746079"/>
                    <a:gd name="connsiteY181" fmla="*/ 585370 h 721501"/>
                    <a:gd name="connsiteX182" fmla="*/ 517737 w 746079"/>
                    <a:gd name="connsiteY182" fmla="*/ 605723 h 721501"/>
                    <a:gd name="connsiteX183" fmla="*/ 596621 w 746079"/>
                    <a:gd name="connsiteY183" fmla="*/ 575981 h 721501"/>
                    <a:gd name="connsiteX184" fmla="*/ 587079 w 746079"/>
                    <a:gd name="connsiteY184" fmla="*/ 563258 h 721501"/>
                    <a:gd name="connsiteX185" fmla="*/ 588032 w 746079"/>
                    <a:gd name="connsiteY185" fmla="*/ 552919 h 721501"/>
                    <a:gd name="connsiteX186" fmla="*/ 597735 w 746079"/>
                    <a:gd name="connsiteY186" fmla="*/ 544650 h 721501"/>
                    <a:gd name="connsiteX187" fmla="*/ 596621 w 746079"/>
                    <a:gd name="connsiteY187" fmla="*/ 575981 h 721501"/>
                    <a:gd name="connsiteX188" fmla="*/ 604097 w 746079"/>
                    <a:gd name="connsiteY188" fmla="*/ 497254 h 721501"/>
                    <a:gd name="connsiteX189" fmla="*/ 593123 w 746079"/>
                    <a:gd name="connsiteY189" fmla="*/ 488665 h 721501"/>
                    <a:gd name="connsiteX190" fmla="*/ 601236 w 746079"/>
                    <a:gd name="connsiteY190" fmla="*/ 393239 h 721501"/>
                    <a:gd name="connsiteX191" fmla="*/ 621274 w 746079"/>
                    <a:gd name="connsiteY191" fmla="*/ 430296 h 721501"/>
                    <a:gd name="connsiteX192" fmla="*/ 645131 w 746079"/>
                    <a:gd name="connsiteY192" fmla="*/ 523974 h 721501"/>
                    <a:gd name="connsiteX193" fmla="*/ 605530 w 746079"/>
                    <a:gd name="connsiteY193" fmla="*/ 520316 h 721501"/>
                    <a:gd name="connsiteX194" fmla="*/ 607437 w 746079"/>
                    <a:gd name="connsiteY194" fmla="*/ 503775 h 721501"/>
                    <a:gd name="connsiteX195" fmla="*/ 604097 w 746079"/>
                    <a:gd name="connsiteY195" fmla="*/ 497254 h 721501"/>
                    <a:gd name="connsiteX196" fmla="*/ 639566 w 746079"/>
                    <a:gd name="connsiteY196" fmla="*/ 612721 h 721501"/>
                    <a:gd name="connsiteX197" fmla="*/ 614279 w 746079"/>
                    <a:gd name="connsiteY197" fmla="*/ 601588 h 721501"/>
                    <a:gd name="connsiteX198" fmla="*/ 612052 w 746079"/>
                    <a:gd name="connsiteY198" fmla="*/ 536697 h 721501"/>
                    <a:gd name="connsiteX199" fmla="*/ 648951 w 746079"/>
                    <a:gd name="connsiteY199" fmla="*/ 540832 h 721501"/>
                    <a:gd name="connsiteX200" fmla="*/ 666446 w 746079"/>
                    <a:gd name="connsiteY200" fmla="*/ 610177 h 721501"/>
                    <a:gd name="connsiteX201" fmla="*/ 639566 w 746079"/>
                    <a:gd name="connsiteY201" fmla="*/ 612721 h 72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746079" h="721501">
                      <a:moveTo>
                        <a:pt x="725289" y="643256"/>
                      </a:moveTo>
                      <a:lnTo>
                        <a:pt x="726086" y="638168"/>
                      </a:lnTo>
                      <a:cubicBezTo>
                        <a:pt x="726086" y="638168"/>
                        <a:pt x="740876" y="639441"/>
                        <a:pt x="744217" y="637691"/>
                      </a:cubicBezTo>
                      <a:cubicBezTo>
                        <a:pt x="746444" y="636526"/>
                        <a:pt x="746761" y="628308"/>
                        <a:pt x="744694" y="626398"/>
                      </a:cubicBezTo>
                      <a:cubicBezTo>
                        <a:pt x="742627" y="624491"/>
                        <a:pt x="726403" y="626238"/>
                        <a:pt x="726403" y="626238"/>
                      </a:cubicBezTo>
                      <a:lnTo>
                        <a:pt x="723222" y="622581"/>
                      </a:lnTo>
                      <a:lnTo>
                        <a:pt x="690936" y="624648"/>
                      </a:lnTo>
                      <a:cubicBezTo>
                        <a:pt x="689983" y="614309"/>
                        <a:pt x="682225" y="610608"/>
                        <a:pt x="679963" y="611764"/>
                      </a:cubicBezTo>
                      <a:cubicBezTo>
                        <a:pt x="672417" y="583953"/>
                        <a:pt x="631454" y="401665"/>
                        <a:pt x="622308" y="388228"/>
                      </a:cubicBezTo>
                      <a:cubicBezTo>
                        <a:pt x="617434" y="381064"/>
                        <a:pt x="602109" y="375187"/>
                        <a:pt x="602109" y="375187"/>
                      </a:cubicBezTo>
                      <a:lnTo>
                        <a:pt x="604893" y="342982"/>
                      </a:lnTo>
                      <a:cubicBezTo>
                        <a:pt x="601315" y="308786"/>
                        <a:pt x="576203" y="293430"/>
                        <a:pt x="576203" y="293430"/>
                      </a:cubicBezTo>
                      <a:cubicBezTo>
                        <a:pt x="576203" y="293430"/>
                        <a:pt x="575660" y="265002"/>
                        <a:pt x="573976" y="250965"/>
                      </a:cubicBezTo>
                      <a:cubicBezTo>
                        <a:pt x="573499" y="246988"/>
                        <a:pt x="557594" y="248261"/>
                        <a:pt x="557594" y="248261"/>
                      </a:cubicBezTo>
                      <a:cubicBezTo>
                        <a:pt x="560444" y="222200"/>
                        <a:pt x="440060" y="214542"/>
                        <a:pt x="440060" y="214542"/>
                      </a:cubicBezTo>
                      <a:lnTo>
                        <a:pt x="396321" y="127226"/>
                      </a:lnTo>
                      <a:cubicBezTo>
                        <a:pt x="396321" y="127226"/>
                        <a:pt x="387079" y="99163"/>
                        <a:pt x="367200" y="65764"/>
                      </a:cubicBezTo>
                      <a:cubicBezTo>
                        <a:pt x="347318" y="32365"/>
                        <a:pt x="314239" y="42545"/>
                        <a:pt x="314239" y="42545"/>
                      </a:cubicBezTo>
                      <a:lnTo>
                        <a:pt x="302064" y="24747"/>
                      </a:lnTo>
                      <a:cubicBezTo>
                        <a:pt x="288147" y="2481"/>
                        <a:pt x="231933" y="0"/>
                        <a:pt x="231933" y="0"/>
                      </a:cubicBezTo>
                      <a:lnTo>
                        <a:pt x="231536" y="17812"/>
                      </a:lnTo>
                      <a:cubicBezTo>
                        <a:pt x="231536" y="17812"/>
                        <a:pt x="218176" y="19642"/>
                        <a:pt x="214995" y="45883"/>
                      </a:cubicBezTo>
                      <a:cubicBezTo>
                        <a:pt x="214995" y="45883"/>
                        <a:pt x="202749" y="49223"/>
                        <a:pt x="190422" y="59720"/>
                      </a:cubicBezTo>
                      <a:lnTo>
                        <a:pt x="167203" y="83896"/>
                      </a:lnTo>
                      <a:lnTo>
                        <a:pt x="124101" y="78965"/>
                      </a:lnTo>
                      <a:cubicBezTo>
                        <a:pt x="124101" y="78965"/>
                        <a:pt x="114876" y="49383"/>
                        <a:pt x="65255" y="58766"/>
                      </a:cubicBezTo>
                      <a:cubicBezTo>
                        <a:pt x="65255" y="58766"/>
                        <a:pt x="54294" y="67506"/>
                        <a:pt x="63665" y="73557"/>
                      </a:cubicBezTo>
                      <a:cubicBezTo>
                        <a:pt x="68690" y="76803"/>
                        <a:pt x="79409" y="75464"/>
                        <a:pt x="96427" y="77214"/>
                      </a:cubicBezTo>
                      <a:cubicBezTo>
                        <a:pt x="96427" y="77214"/>
                        <a:pt x="109151" y="76738"/>
                        <a:pt x="111209" y="101882"/>
                      </a:cubicBezTo>
                      <a:cubicBezTo>
                        <a:pt x="113716" y="132488"/>
                        <a:pt x="121237" y="259640"/>
                        <a:pt x="121237" y="259640"/>
                      </a:cubicBezTo>
                      <a:lnTo>
                        <a:pt x="117103" y="268865"/>
                      </a:lnTo>
                      <a:cubicBezTo>
                        <a:pt x="100890" y="266201"/>
                        <a:pt x="87250" y="266473"/>
                        <a:pt x="75911" y="271093"/>
                      </a:cubicBezTo>
                      <a:cubicBezTo>
                        <a:pt x="36813" y="287017"/>
                        <a:pt x="21360" y="336460"/>
                        <a:pt x="14362" y="360157"/>
                      </a:cubicBezTo>
                      <a:cubicBezTo>
                        <a:pt x="7486" y="383439"/>
                        <a:pt x="2069" y="405009"/>
                        <a:pt x="365" y="435544"/>
                      </a:cubicBezTo>
                      <a:cubicBezTo>
                        <a:pt x="-1543" y="469739"/>
                        <a:pt x="4653" y="511213"/>
                        <a:pt x="4659" y="511250"/>
                      </a:cubicBezTo>
                      <a:cubicBezTo>
                        <a:pt x="20837" y="588628"/>
                        <a:pt x="59530" y="625921"/>
                        <a:pt x="90385" y="647394"/>
                      </a:cubicBezTo>
                      <a:cubicBezTo>
                        <a:pt x="111086" y="661799"/>
                        <a:pt x="130623" y="663775"/>
                        <a:pt x="130623" y="663775"/>
                      </a:cubicBezTo>
                      <a:cubicBezTo>
                        <a:pt x="162157" y="663058"/>
                        <a:pt x="181017" y="646882"/>
                        <a:pt x="196150" y="625445"/>
                      </a:cubicBezTo>
                      <a:lnTo>
                        <a:pt x="234480" y="631806"/>
                      </a:lnTo>
                      <a:lnTo>
                        <a:pt x="241159" y="631170"/>
                      </a:lnTo>
                      <a:cubicBezTo>
                        <a:pt x="215712" y="649061"/>
                        <a:pt x="221597" y="679996"/>
                        <a:pt x="224938" y="689062"/>
                      </a:cubicBezTo>
                      <a:cubicBezTo>
                        <a:pt x="226605" y="693587"/>
                        <a:pt x="236039" y="714840"/>
                        <a:pt x="260724" y="720234"/>
                      </a:cubicBezTo>
                      <a:cubicBezTo>
                        <a:pt x="284740" y="725482"/>
                        <a:pt x="305676" y="713583"/>
                        <a:pt x="314798" y="700352"/>
                      </a:cubicBezTo>
                      <a:cubicBezTo>
                        <a:pt x="328207" y="680913"/>
                        <a:pt x="328119" y="648818"/>
                        <a:pt x="301758" y="627669"/>
                      </a:cubicBezTo>
                      <a:lnTo>
                        <a:pt x="310415" y="606848"/>
                      </a:lnTo>
                      <a:cubicBezTo>
                        <a:pt x="314162" y="598244"/>
                        <a:pt x="315301" y="584307"/>
                        <a:pt x="315595" y="580590"/>
                      </a:cubicBezTo>
                      <a:lnTo>
                        <a:pt x="377782" y="594587"/>
                      </a:lnTo>
                      <a:cubicBezTo>
                        <a:pt x="374124" y="616376"/>
                        <a:pt x="382236" y="643653"/>
                        <a:pt x="384620" y="652796"/>
                      </a:cubicBezTo>
                      <a:cubicBezTo>
                        <a:pt x="387004" y="661939"/>
                        <a:pt x="400208" y="661545"/>
                        <a:pt x="400208" y="661545"/>
                      </a:cubicBezTo>
                      <a:lnTo>
                        <a:pt x="403388" y="678880"/>
                      </a:lnTo>
                      <a:lnTo>
                        <a:pt x="407523" y="678880"/>
                      </a:lnTo>
                      <a:cubicBezTo>
                        <a:pt x="407523" y="678880"/>
                        <a:pt x="406726" y="686355"/>
                        <a:pt x="411500" y="686195"/>
                      </a:cubicBezTo>
                      <a:cubicBezTo>
                        <a:pt x="417303" y="686001"/>
                        <a:pt x="415013" y="675567"/>
                        <a:pt x="415635" y="672835"/>
                      </a:cubicBezTo>
                      <a:cubicBezTo>
                        <a:pt x="415635" y="672835"/>
                        <a:pt x="450308" y="667267"/>
                        <a:pt x="454125" y="665359"/>
                      </a:cubicBezTo>
                      <a:cubicBezTo>
                        <a:pt x="457943" y="663452"/>
                        <a:pt x="457783" y="660748"/>
                        <a:pt x="457783" y="660748"/>
                      </a:cubicBezTo>
                      <a:cubicBezTo>
                        <a:pt x="457783" y="660748"/>
                        <a:pt x="461917" y="664089"/>
                        <a:pt x="471303" y="662498"/>
                      </a:cubicBezTo>
                      <a:cubicBezTo>
                        <a:pt x="480688" y="660908"/>
                        <a:pt x="501681" y="654546"/>
                        <a:pt x="501681" y="654546"/>
                      </a:cubicBezTo>
                      <a:lnTo>
                        <a:pt x="496901" y="668477"/>
                      </a:lnTo>
                      <a:cubicBezTo>
                        <a:pt x="496901" y="668477"/>
                        <a:pt x="495779" y="674774"/>
                        <a:pt x="509625" y="676033"/>
                      </a:cubicBezTo>
                      <a:cubicBezTo>
                        <a:pt x="523470" y="677292"/>
                        <a:pt x="561164" y="674111"/>
                        <a:pt x="561164" y="674111"/>
                      </a:cubicBezTo>
                      <a:lnTo>
                        <a:pt x="582636" y="666476"/>
                      </a:lnTo>
                      <a:cubicBezTo>
                        <a:pt x="582636" y="666476"/>
                        <a:pt x="580092" y="673474"/>
                        <a:pt x="581839" y="675542"/>
                      </a:cubicBezTo>
                      <a:cubicBezTo>
                        <a:pt x="583589" y="677609"/>
                        <a:pt x="662951" y="665839"/>
                        <a:pt x="662951" y="665839"/>
                      </a:cubicBezTo>
                      <a:cubicBezTo>
                        <a:pt x="662951" y="665839"/>
                        <a:pt x="711777" y="653909"/>
                        <a:pt x="724501" y="650729"/>
                      </a:cubicBezTo>
                      <a:cubicBezTo>
                        <a:pt x="737224" y="647548"/>
                        <a:pt x="737541" y="644684"/>
                        <a:pt x="737541" y="644684"/>
                      </a:cubicBezTo>
                      <a:lnTo>
                        <a:pt x="725289" y="643256"/>
                      </a:lnTo>
                      <a:close/>
                      <a:moveTo>
                        <a:pt x="305730" y="403415"/>
                      </a:moveTo>
                      <a:cubicBezTo>
                        <a:pt x="307480" y="404689"/>
                        <a:pt x="307480" y="410254"/>
                        <a:pt x="306047" y="411051"/>
                      </a:cubicBezTo>
                      <a:cubicBezTo>
                        <a:pt x="304613" y="411847"/>
                        <a:pt x="293163" y="408663"/>
                        <a:pt x="285531" y="409143"/>
                      </a:cubicBezTo>
                      <a:cubicBezTo>
                        <a:pt x="283461" y="409272"/>
                        <a:pt x="282510" y="399917"/>
                        <a:pt x="282510" y="399917"/>
                      </a:cubicBezTo>
                      <a:cubicBezTo>
                        <a:pt x="282510" y="399917"/>
                        <a:pt x="303980" y="402145"/>
                        <a:pt x="305730" y="403415"/>
                      </a:cubicBezTo>
                      <a:close/>
                      <a:moveTo>
                        <a:pt x="191376" y="604132"/>
                      </a:moveTo>
                      <a:cubicBezTo>
                        <a:pt x="160310" y="597488"/>
                        <a:pt x="117888" y="588211"/>
                        <a:pt x="107240" y="586478"/>
                      </a:cubicBezTo>
                      <a:cubicBezTo>
                        <a:pt x="90142" y="583694"/>
                        <a:pt x="98492" y="601268"/>
                        <a:pt x="98492" y="601268"/>
                      </a:cubicBezTo>
                      <a:lnTo>
                        <a:pt x="150570" y="616393"/>
                      </a:lnTo>
                      <a:lnTo>
                        <a:pt x="180083" y="620833"/>
                      </a:lnTo>
                      <a:cubicBezTo>
                        <a:pt x="169196" y="632483"/>
                        <a:pt x="158191" y="641406"/>
                        <a:pt x="147161" y="644053"/>
                      </a:cubicBezTo>
                      <a:cubicBezTo>
                        <a:pt x="122896" y="649881"/>
                        <a:pt x="100473" y="637468"/>
                        <a:pt x="100473" y="637468"/>
                      </a:cubicBezTo>
                      <a:cubicBezTo>
                        <a:pt x="46487" y="590932"/>
                        <a:pt x="41079" y="558487"/>
                        <a:pt x="28039" y="525884"/>
                      </a:cubicBezTo>
                      <a:cubicBezTo>
                        <a:pt x="21006" y="508304"/>
                        <a:pt x="17223" y="485170"/>
                        <a:pt x="15315" y="459720"/>
                      </a:cubicBezTo>
                      <a:cubicBezTo>
                        <a:pt x="14681" y="451271"/>
                        <a:pt x="14676" y="441331"/>
                        <a:pt x="14601" y="432206"/>
                      </a:cubicBezTo>
                      <a:cubicBezTo>
                        <a:pt x="14316" y="397756"/>
                        <a:pt x="23639" y="359757"/>
                        <a:pt x="35834" y="334236"/>
                      </a:cubicBezTo>
                      <a:lnTo>
                        <a:pt x="51570" y="310634"/>
                      </a:lnTo>
                      <a:lnTo>
                        <a:pt x="54442" y="305237"/>
                      </a:lnTo>
                      <a:cubicBezTo>
                        <a:pt x="81745" y="277009"/>
                        <a:pt x="109242" y="283853"/>
                        <a:pt x="117637" y="287000"/>
                      </a:cubicBezTo>
                      <a:lnTo>
                        <a:pt x="121243" y="351254"/>
                      </a:lnTo>
                      <a:lnTo>
                        <a:pt x="123998" y="352950"/>
                      </a:lnTo>
                      <a:cubicBezTo>
                        <a:pt x="123998" y="352950"/>
                        <a:pt x="121109" y="369437"/>
                        <a:pt x="125483" y="375005"/>
                      </a:cubicBezTo>
                      <a:lnTo>
                        <a:pt x="124264" y="443978"/>
                      </a:lnTo>
                      <a:cubicBezTo>
                        <a:pt x="121243" y="443342"/>
                        <a:pt x="115995" y="457498"/>
                        <a:pt x="115995" y="457498"/>
                      </a:cubicBezTo>
                      <a:cubicBezTo>
                        <a:pt x="115995" y="457498"/>
                        <a:pt x="111383" y="450183"/>
                        <a:pt x="103271" y="454158"/>
                      </a:cubicBezTo>
                      <a:cubicBezTo>
                        <a:pt x="103271" y="454158"/>
                        <a:pt x="92695" y="433165"/>
                        <a:pt x="86730" y="466564"/>
                      </a:cubicBezTo>
                      <a:cubicBezTo>
                        <a:pt x="86730" y="466564"/>
                        <a:pt x="93252" y="489547"/>
                        <a:pt x="101204" y="482785"/>
                      </a:cubicBezTo>
                      <a:lnTo>
                        <a:pt x="106612" y="473560"/>
                      </a:lnTo>
                      <a:cubicBezTo>
                        <a:pt x="106612" y="473560"/>
                        <a:pt x="112337" y="475310"/>
                        <a:pt x="117428" y="471016"/>
                      </a:cubicBezTo>
                      <a:lnTo>
                        <a:pt x="127924" y="481512"/>
                      </a:lnTo>
                      <a:cubicBezTo>
                        <a:pt x="137627" y="481672"/>
                        <a:pt x="141761" y="469425"/>
                        <a:pt x="138264" y="456065"/>
                      </a:cubicBezTo>
                      <a:lnTo>
                        <a:pt x="142241" y="377177"/>
                      </a:lnTo>
                      <a:lnTo>
                        <a:pt x="199497" y="387674"/>
                      </a:lnTo>
                      <a:cubicBezTo>
                        <a:pt x="206609" y="413223"/>
                        <a:pt x="212163" y="436626"/>
                        <a:pt x="214607" y="457972"/>
                      </a:cubicBezTo>
                      <a:cubicBezTo>
                        <a:pt x="222476" y="526795"/>
                        <a:pt x="207900" y="574311"/>
                        <a:pt x="191376" y="604132"/>
                      </a:cubicBezTo>
                      <a:close/>
                      <a:moveTo>
                        <a:pt x="240519" y="667589"/>
                      </a:moveTo>
                      <a:cubicBezTo>
                        <a:pt x="241642" y="663997"/>
                        <a:pt x="261992" y="669657"/>
                        <a:pt x="261992" y="669657"/>
                      </a:cubicBezTo>
                      <a:lnTo>
                        <a:pt x="257697" y="681107"/>
                      </a:lnTo>
                      <a:lnTo>
                        <a:pt x="264059" y="682857"/>
                      </a:lnTo>
                      <a:cubicBezTo>
                        <a:pt x="264059" y="682857"/>
                        <a:pt x="259747" y="695929"/>
                        <a:pt x="255541" y="695118"/>
                      </a:cubicBezTo>
                      <a:cubicBezTo>
                        <a:pt x="251335" y="694310"/>
                        <a:pt x="239397" y="671184"/>
                        <a:pt x="240519" y="667589"/>
                      </a:cubicBezTo>
                      <a:close/>
                      <a:moveTo>
                        <a:pt x="266923" y="638645"/>
                      </a:moveTo>
                      <a:cubicBezTo>
                        <a:pt x="269475" y="640381"/>
                        <a:pt x="268673" y="653435"/>
                        <a:pt x="268673" y="653435"/>
                      </a:cubicBezTo>
                      <a:lnTo>
                        <a:pt x="263265" y="668066"/>
                      </a:lnTo>
                      <a:cubicBezTo>
                        <a:pt x="263265" y="668066"/>
                        <a:pt x="243049" y="666028"/>
                        <a:pt x="241624" y="661322"/>
                      </a:cubicBezTo>
                      <a:cubicBezTo>
                        <a:pt x="240202" y="656616"/>
                        <a:pt x="264367" y="636909"/>
                        <a:pt x="266923" y="638645"/>
                      </a:cubicBezTo>
                      <a:close/>
                      <a:moveTo>
                        <a:pt x="250699" y="624968"/>
                      </a:moveTo>
                      <a:cubicBezTo>
                        <a:pt x="250699" y="624968"/>
                        <a:pt x="254197" y="617332"/>
                        <a:pt x="263739" y="591092"/>
                      </a:cubicBezTo>
                      <a:cubicBezTo>
                        <a:pt x="273282" y="564848"/>
                        <a:pt x="290616" y="575187"/>
                        <a:pt x="290616" y="575187"/>
                      </a:cubicBezTo>
                      <a:lnTo>
                        <a:pt x="291413" y="588228"/>
                      </a:lnTo>
                      <a:lnTo>
                        <a:pt x="295231" y="589978"/>
                      </a:lnTo>
                      <a:lnTo>
                        <a:pt x="282824" y="620196"/>
                      </a:lnTo>
                      <a:cubicBezTo>
                        <a:pt x="272808" y="615742"/>
                        <a:pt x="250699" y="624968"/>
                        <a:pt x="250699" y="624968"/>
                      </a:cubicBezTo>
                      <a:close/>
                      <a:moveTo>
                        <a:pt x="261038" y="697174"/>
                      </a:moveTo>
                      <a:cubicBezTo>
                        <a:pt x="259607" y="693356"/>
                        <a:pt x="271057" y="681746"/>
                        <a:pt x="271057" y="681746"/>
                      </a:cubicBezTo>
                      <a:cubicBezTo>
                        <a:pt x="278655" y="681746"/>
                        <a:pt x="282216" y="679796"/>
                        <a:pt x="282350" y="678565"/>
                      </a:cubicBezTo>
                      <a:cubicBezTo>
                        <a:pt x="282350" y="678565"/>
                        <a:pt x="295702" y="691223"/>
                        <a:pt x="292210" y="696060"/>
                      </a:cubicBezTo>
                      <a:cubicBezTo>
                        <a:pt x="288718" y="700897"/>
                        <a:pt x="262468" y="700991"/>
                        <a:pt x="261038" y="697174"/>
                      </a:cubicBezTo>
                      <a:close/>
                      <a:moveTo>
                        <a:pt x="305253" y="659003"/>
                      </a:moveTo>
                      <a:lnTo>
                        <a:pt x="302072" y="687471"/>
                      </a:lnTo>
                      <a:lnTo>
                        <a:pt x="296496" y="689950"/>
                      </a:lnTo>
                      <a:lnTo>
                        <a:pt x="283304" y="675542"/>
                      </a:lnTo>
                      <a:cubicBezTo>
                        <a:pt x="284043" y="672195"/>
                        <a:pt x="285251" y="669474"/>
                        <a:pt x="286708" y="667264"/>
                      </a:cubicBezTo>
                      <a:cubicBezTo>
                        <a:pt x="292452" y="658544"/>
                        <a:pt x="305253" y="659003"/>
                        <a:pt x="305253" y="659003"/>
                      </a:cubicBezTo>
                      <a:close/>
                      <a:moveTo>
                        <a:pt x="288552" y="557053"/>
                      </a:moveTo>
                      <a:cubicBezTo>
                        <a:pt x="288552" y="557056"/>
                        <a:pt x="281899" y="553867"/>
                        <a:pt x="271534" y="554189"/>
                      </a:cubicBezTo>
                      <a:cubicBezTo>
                        <a:pt x="261355" y="554506"/>
                        <a:pt x="254982" y="571081"/>
                        <a:pt x="250539" y="582817"/>
                      </a:cubicBezTo>
                      <a:cubicBezTo>
                        <a:pt x="248215" y="590681"/>
                        <a:pt x="245479" y="599546"/>
                        <a:pt x="241633" y="604129"/>
                      </a:cubicBezTo>
                      <a:cubicBezTo>
                        <a:pt x="234660" y="612433"/>
                        <a:pt x="226682" y="610651"/>
                        <a:pt x="220321" y="609537"/>
                      </a:cubicBezTo>
                      <a:cubicBezTo>
                        <a:pt x="217582" y="609058"/>
                        <a:pt x="211540" y="607930"/>
                        <a:pt x="207914" y="607150"/>
                      </a:cubicBezTo>
                      <a:cubicBezTo>
                        <a:pt x="210638" y="601554"/>
                        <a:pt x="219524" y="579316"/>
                        <a:pt x="219524" y="579316"/>
                      </a:cubicBezTo>
                      <a:cubicBezTo>
                        <a:pt x="223073" y="567704"/>
                        <a:pt x="227445" y="552445"/>
                        <a:pt x="229067" y="540032"/>
                      </a:cubicBezTo>
                      <a:cubicBezTo>
                        <a:pt x="229067" y="540032"/>
                        <a:pt x="233287" y="500018"/>
                        <a:pt x="232724" y="476572"/>
                      </a:cubicBezTo>
                      <a:cubicBezTo>
                        <a:pt x="231733" y="458275"/>
                        <a:pt x="227533" y="438025"/>
                        <a:pt x="224455" y="421861"/>
                      </a:cubicBezTo>
                      <a:lnTo>
                        <a:pt x="223890" y="415619"/>
                      </a:lnTo>
                      <a:cubicBezTo>
                        <a:pt x="223890" y="415619"/>
                        <a:pt x="253751" y="421133"/>
                        <a:pt x="288232" y="422498"/>
                      </a:cubicBezTo>
                      <a:cubicBezTo>
                        <a:pt x="288178" y="422560"/>
                        <a:pt x="306735" y="424022"/>
                        <a:pt x="306681" y="424088"/>
                      </a:cubicBezTo>
                      <a:lnTo>
                        <a:pt x="309702" y="546394"/>
                      </a:lnTo>
                      <a:cubicBezTo>
                        <a:pt x="295551" y="543696"/>
                        <a:pt x="288618" y="556870"/>
                        <a:pt x="288552" y="557053"/>
                      </a:cubicBezTo>
                      <a:close/>
                      <a:moveTo>
                        <a:pt x="323065" y="394352"/>
                      </a:moveTo>
                      <a:lnTo>
                        <a:pt x="340399" y="390535"/>
                      </a:lnTo>
                      <a:lnTo>
                        <a:pt x="341990" y="411210"/>
                      </a:lnTo>
                      <a:lnTo>
                        <a:pt x="341673" y="415028"/>
                      </a:lnTo>
                      <a:lnTo>
                        <a:pt x="323701" y="412324"/>
                      </a:lnTo>
                      <a:lnTo>
                        <a:pt x="323065" y="394352"/>
                      </a:lnTo>
                      <a:close/>
                      <a:moveTo>
                        <a:pt x="328313" y="566756"/>
                      </a:moveTo>
                      <a:cubicBezTo>
                        <a:pt x="328321" y="562370"/>
                        <a:pt x="323259" y="513218"/>
                        <a:pt x="324858" y="510668"/>
                      </a:cubicBezTo>
                      <a:cubicBezTo>
                        <a:pt x="323450" y="490064"/>
                        <a:pt x="323673" y="446762"/>
                        <a:pt x="324495" y="425841"/>
                      </a:cubicBezTo>
                      <a:cubicBezTo>
                        <a:pt x="329335" y="426369"/>
                        <a:pt x="333175" y="426649"/>
                        <a:pt x="334355" y="427272"/>
                      </a:cubicBezTo>
                      <a:lnTo>
                        <a:pt x="343420" y="433157"/>
                      </a:lnTo>
                      <a:cubicBezTo>
                        <a:pt x="347324" y="452265"/>
                        <a:pt x="348266" y="464942"/>
                        <a:pt x="353280" y="483893"/>
                      </a:cubicBezTo>
                      <a:lnTo>
                        <a:pt x="366320" y="515065"/>
                      </a:lnTo>
                      <a:cubicBezTo>
                        <a:pt x="366320" y="515065"/>
                        <a:pt x="363368" y="525736"/>
                        <a:pt x="363139" y="535741"/>
                      </a:cubicBezTo>
                      <a:cubicBezTo>
                        <a:pt x="362911" y="545746"/>
                        <a:pt x="371568" y="556257"/>
                        <a:pt x="371568" y="556257"/>
                      </a:cubicBezTo>
                      <a:lnTo>
                        <a:pt x="381428" y="561188"/>
                      </a:lnTo>
                      <a:lnTo>
                        <a:pt x="384292" y="578046"/>
                      </a:lnTo>
                      <a:lnTo>
                        <a:pt x="328313" y="566756"/>
                      </a:lnTo>
                      <a:close/>
                      <a:moveTo>
                        <a:pt x="517737" y="605723"/>
                      </a:moveTo>
                      <a:cubicBezTo>
                        <a:pt x="517737" y="605723"/>
                        <a:pt x="506921" y="594750"/>
                        <a:pt x="503106" y="599521"/>
                      </a:cubicBezTo>
                      <a:cubicBezTo>
                        <a:pt x="499291" y="604292"/>
                        <a:pt x="505173" y="609700"/>
                        <a:pt x="506447" y="616539"/>
                      </a:cubicBezTo>
                      <a:cubicBezTo>
                        <a:pt x="507720" y="623377"/>
                        <a:pt x="506923" y="633240"/>
                        <a:pt x="506923" y="633240"/>
                      </a:cubicBezTo>
                      <a:lnTo>
                        <a:pt x="487042" y="639441"/>
                      </a:lnTo>
                      <a:cubicBezTo>
                        <a:pt x="484632" y="628788"/>
                        <a:pt x="487610" y="615274"/>
                        <a:pt x="468116" y="609860"/>
                      </a:cubicBezTo>
                      <a:cubicBezTo>
                        <a:pt x="453802" y="605882"/>
                        <a:pt x="437261" y="573280"/>
                        <a:pt x="437261" y="573280"/>
                      </a:cubicBezTo>
                      <a:cubicBezTo>
                        <a:pt x="432173" y="567078"/>
                        <a:pt x="433444" y="558966"/>
                        <a:pt x="433444" y="558966"/>
                      </a:cubicBezTo>
                      <a:lnTo>
                        <a:pt x="431853" y="551651"/>
                      </a:lnTo>
                      <a:cubicBezTo>
                        <a:pt x="431853" y="551651"/>
                        <a:pt x="444100" y="548787"/>
                        <a:pt x="442510" y="533679"/>
                      </a:cubicBezTo>
                      <a:cubicBezTo>
                        <a:pt x="442510" y="533679"/>
                        <a:pt x="433584" y="520191"/>
                        <a:pt x="432082" y="512221"/>
                      </a:cubicBezTo>
                      <a:cubicBezTo>
                        <a:pt x="430580" y="504255"/>
                        <a:pt x="437102" y="416938"/>
                        <a:pt x="434238" y="377337"/>
                      </a:cubicBezTo>
                      <a:cubicBezTo>
                        <a:pt x="434238" y="377337"/>
                        <a:pt x="468670" y="369942"/>
                        <a:pt x="488949" y="371136"/>
                      </a:cubicBezTo>
                      <a:lnTo>
                        <a:pt x="512805" y="378294"/>
                      </a:lnTo>
                      <a:cubicBezTo>
                        <a:pt x="512805" y="378294"/>
                        <a:pt x="517188" y="409152"/>
                        <a:pt x="517260" y="442071"/>
                      </a:cubicBezTo>
                      <a:cubicBezTo>
                        <a:pt x="517337" y="477980"/>
                        <a:pt x="511124" y="516830"/>
                        <a:pt x="511535" y="524297"/>
                      </a:cubicBezTo>
                      <a:cubicBezTo>
                        <a:pt x="512320" y="538610"/>
                        <a:pt x="518365" y="555166"/>
                        <a:pt x="518365" y="555166"/>
                      </a:cubicBezTo>
                      <a:lnTo>
                        <a:pt x="519327" y="577101"/>
                      </a:lnTo>
                      <a:cubicBezTo>
                        <a:pt x="519327" y="577101"/>
                        <a:pt x="521714" y="580758"/>
                        <a:pt x="522031" y="585370"/>
                      </a:cubicBezTo>
                      <a:cubicBezTo>
                        <a:pt x="522348" y="589981"/>
                        <a:pt x="517737" y="605723"/>
                        <a:pt x="517737" y="605723"/>
                      </a:cubicBezTo>
                      <a:close/>
                      <a:moveTo>
                        <a:pt x="596621" y="575981"/>
                      </a:moveTo>
                      <a:lnTo>
                        <a:pt x="587079" y="563258"/>
                      </a:lnTo>
                      <a:lnTo>
                        <a:pt x="588032" y="552919"/>
                      </a:lnTo>
                      <a:lnTo>
                        <a:pt x="597735" y="544650"/>
                      </a:lnTo>
                      <a:lnTo>
                        <a:pt x="596621" y="575981"/>
                      </a:lnTo>
                      <a:close/>
                      <a:moveTo>
                        <a:pt x="604097" y="497254"/>
                      </a:moveTo>
                      <a:cubicBezTo>
                        <a:pt x="602823" y="485804"/>
                        <a:pt x="593123" y="488665"/>
                        <a:pt x="593123" y="488665"/>
                      </a:cubicBezTo>
                      <a:lnTo>
                        <a:pt x="601236" y="393239"/>
                      </a:lnTo>
                      <a:cubicBezTo>
                        <a:pt x="608728" y="396000"/>
                        <a:pt x="614813" y="411156"/>
                        <a:pt x="621274" y="430296"/>
                      </a:cubicBezTo>
                      <a:cubicBezTo>
                        <a:pt x="634366" y="469063"/>
                        <a:pt x="645131" y="523974"/>
                        <a:pt x="645131" y="523974"/>
                      </a:cubicBezTo>
                      <a:lnTo>
                        <a:pt x="605530" y="520316"/>
                      </a:lnTo>
                      <a:lnTo>
                        <a:pt x="607437" y="503775"/>
                      </a:lnTo>
                      <a:lnTo>
                        <a:pt x="604097" y="497254"/>
                      </a:lnTo>
                      <a:close/>
                      <a:moveTo>
                        <a:pt x="639566" y="612721"/>
                      </a:moveTo>
                      <a:cubicBezTo>
                        <a:pt x="625729" y="610814"/>
                        <a:pt x="614279" y="601588"/>
                        <a:pt x="614279" y="601588"/>
                      </a:cubicBezTo>
                      <a:cubicBezTo>
                        <a:pt x="608077" y="567392"/>
                        <a:pt x="614439" y="543696"/>
                        <a:pt x="612052" y="536697"/>
                      </a:cubicBezTo>
                      <a:lnTo>
                        <a:pt x="648951" y="540832"/>
                      </a:lnTo>
                      <a:lnTo>
                        <a:pt x="666446" y="610177"/>
                      </a:lnTo>
                      <a:cubicBezTo>
                        <a:pt x="666443" y="610174"/>
                        <a:pt x="653403" y="614628"/>
                        <a:pt x="639566" y="612721"/>
                      </a:cubicBezTo>
                      <a:close/>
                    </a:path>
                  </a:pathLst>
                </a:custGeom>
                <a:solidFill>
                  <a:srgbClr val="FFFFFF"/>
                </a:solidFill>
                <a:ln w="2826" cap="flat">
                  <a:noFill/>
                  <a:prstDash val="solid"/>
                  <a:miter/>
                </a:ln>
              </p:spPr>
              <p:txBody>
                <a:bodyPr rtlCol="0" anchor="ctr"/>
                <a:lstStyle/>
                <a:p>
                  <a:endParaRPr lang="fr-CA"/>
                </a:p>
              </p:txBody>
            </p:sp>
            <p:grpSp>
              <p:nvGrpSpPr>
                <p:cNvPr id="1535" name="Graphique 35" descr="Garçon dans un fauteuil roulant">
                  <a:extLst>
                    <a:ext uri="{FF2B5EF4-FFF2-40B4-BE49-F238E27FC236}">
                      <a16:creationId xmlns:a16="http://schemas.microsoft.com/office/drawing/2014/main" id="{134E1706-7DEB-D620-96D3-356068340327}"/>
                    </a:ext>
                  </a:extLst>
                </p:cNvPr>
                <p:cNvGrpSpPr/>
                <p:nvPr/>
              </p:nvGrpSpPr>
              <p:grpSpPr>
                <a:xfrm>
                  <a:off x="9291701" y="4005701"/>
                  <a:ext cx="288140" cy="253089"/>
                  <a:chOff x="9291701" y="4005701"/>
                  <a:chExt cx="288140" cy="253089"/>
                </a:xfrm>
                <a:solidFill>
                  <a:srgbClr val="FFFFFF"/>
                </a:solidFill>
              </p:grpSpPr>
              <p:sp>
                <p:nvSpPr>
                  <p:cNvPr id="1582" name="Forme libre : forme 1581">
                    <a:extLst>
                      <a:ext uri="{FF2B5EF4-FFF2-40B4-BE49-F238E27FC236}">
                        <a16:creationId xmlns:a16="http://schemas.microsoft.com/office/drawing/2014/main" id="{580A98E3-C44E-A528-17A2-125FD3649320}"/>
                      </a:ext>
                    </a:extLst>
                  </p:cNvPr>
                  <p:cNvSpPr/>
                  <p:nvPr/>
                </p:nvSpPr>
                <p:spPr>
                  <a:xfrm>
                    <a:off x="9291701" y="4005701"/>
                    <a:ext cx="288140" cy="238713"/>
                  </a:xfrm>
                  <a:custGeom>
                    <a:avLst/>
                    <a:gdLst>
                      <a:gd name="connsiteX0" fmla="*/ 259505 w 288140"/>
                      <a:gd name="connsiteY0" fmla="*/ 102633 h 238713"/>
                      <a:gd name="connsiteX1" fmla="*/ 179983 w 288140"/>
                      <a:gd name="connsiteY1" fmla="*/ 21838 h 238713"/>
                      <a:gd name="connsiteX2" fmla="*/ 167308 w 288140"/>
                      <a:gd name="connsiteY2" fmla="*/ 9334 h 238713"/>
                      <a:gd name="connsiteX3" fmla="*/ 165852 w 288140"/>
                      <a:gd name="connsiteY3" fmla="*/ 8926 h 238713"/>
                      <a:gd name="connsiteX4" fmla="*/ 163965 w 288140"/>
                      <a:gd name="connsiteY4" fmla="*/ 10788 h 238713"/>
                      <a:gd name="connsiteX5" fmla="*/ 162917 w 288140"/>
                      <a:gd name="connsiteY5" fmla="*/ 14922 h 238713"/>
                      <a:gd name="connsiteX6" fmla="*/ 165869 w 288140"/>
                      <a:gd name="connsiteY6" fmla="*/ 58344 h 238713"/>
                      <a:gd name="connsiteX7" fmla="*/ 163417 w 288140"/>
                      <a:gd name="connsiteY7" fmla="*/ 71067 h 238713"/>
                      <a:gd name="connsiteX8" fmla="*/ 93763 w 288140"/>
                      <a:gd name="connsiteY8" fmla="*/ 10711 h 238713"/>
                      <a:gd name="connsiteX9" fmla="*/ 96373 w 288140"/>
                      <a:gd name="connsiteY9" fmla="*/ 1833 h 238713"/>
                      <a:gd name="connsiteX10" fmla="*/ 93772 w 288140"/>
                      <a:gd name="connsiteY10" fmla="*/ 97 h 238713"/>
                      <a:gd name="connsiteX11" fmla="*/ 78193 w 288140"/>
                      <a:gd name="connsiteY11" fmla="*/ 25656 h 238713"/>
                      <a:gd name="connsiteX12" fmla="*/ 7577 w 288140"/>
                      <a:gd name="connsiteY12" fmla="*/ 110905 h 238713"/>
                      <a:gd name="connsiteX13" fmla="*/ 927 w 288140"/>
                      <a:gd name="connsiteY13" fmla="*/ 219408 h 238713"/>
                      <a:gd name="connsiteX14" fmla="*/ 5590 w 288140"/>
                      <a:gd name="connsiteY14" fmla="*/ 220422 h 238713"/>
                      <a:gd name="connsiteX15" fmla="*/ 73482 w 288140"/>
                      <a:gd name="connsiteY15" fmla="*/ 208407 h 238713"/>
                      <a:gd name="connsiteX16" fmla="*/ 165512 w 288140"/>
                      <a:gd name="connsiteY16" fmla="*/ 215082 h 238713"/>
                      <a:gd name="connsiteX17" fmla="*/ 221020 w 288140"/>
                      <a:gd name="connsiteY17" fmla="*/ 215322 h 238713"/>
                      <a:gd name="connsiteX18" fmla="*/ 238595 w 288140"/>
                      <a:gd name="connsiteY18" fmla="*/ 235361 h 238713"/>
                      <a:gd name="connsiteX19" fmla="*/ 240531 w 288140"/>
                      <a:gd name="connsiteY19" fmla="*/ 237083 h 238713"/>
                      <a:gd name="connsiteX20" fmla="*/ 286548 w 288140"/>
                      <a:gd name="connsiteY20" fmla="*/ 228705 h 238713"/>
                      <a:gd name="connsiteX21" fmla="*/ 263328 w 288140"/>
                      <a:gd name="connsiteY21" fmla="*/ 170707 h 238713"/>
                      <a:gd name="connsiteX22" fmla="*/ 288138 w 288140"/>
                      <a:gd name="connsiteY22" fmla="*/ 160848 h 238713"/>
                      <a:gd name="connsiteX23" fmla="*/ 259505 w 288140"/>
                      <a:gd name="connsiteY23" fmla="*/ 102633 h 23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140" h="238713">
                        <a:moveTo>
                          <a:pt x="259505" y="102633"/>
                        </a:moveTo>
                        <a:cubicBezTo>
                          <a:pt x="245131" y="68926"/>
                          <a:pt x="227453" y="13292"/>
                          <a:pt x="179983" y="21838"/>
                        </a:cubicBezTo>
                        <a:cubicBezTo>
                          <a:pt x="175458" y="16356"/>
                          <a:pt x="171312" y="12769"/>
                          <a:pt x="167308" y="9334"/>
                        </a:cubicBezTo>
                        <a:cubicBezTo>
                          <a:pt x="166909" y="8989"/>
                          <a:pt x="166375" y="8840"/>
                          <a:pt x="165852" y="8926"/>
                        </a:cubicBezTo>
                        <a:cubicBezTo>
                          <a:pt x="164841" y="9060"/>
                          <a:pt x="164484" y="10040"/>
                          <a:pt x="163965" y="10788"/>
                        </a:cubicBezTo>
                        <a:cubicBezTo>
                          <a:pt x="163297" y="11916"/>
                          <a:pt x="161815" y="13577"/>
                          <a:pt x="162917" y="14922"/>
                        </a:cubicBezTo>
                        <a:cubicBezTo>
                          <a:pt x="172371" y="26461"/>
                          <a:pt x="170646" y="44906"/>
                          <a:pt x="165869" y="58344"/>
                        </a:cubicBezTo>
                        <a:cubicBezTo>
                          <a:pt x="163891" y="62875"/>
                          <a:pt x="164213" y="63749"/>
                          <a:pt x="163417" y="71067"/>
                        </a:cubicBezTo>
                        <a:cubicBezTo>
                          <a:pt x="148323" y="47028"/>
                          <a:pt x="104157" y="37245"/>
                          <a:pt x="93763" y="10711"/>
                        </a:cubicBezTo>
                        <a:cubicBezTo>
                          <a:pt x="96661" y="10240"/>
                          <a:pt x="95739" y="4443"/>
                          <a:pt x="96373" y="1833"/>
                        </a:cubicBezTo>
                        <a:cubicBezTo>
                          <a:pt x="96524" y="508"/>
                          <a:pt x="95085" y="-288"/>
                          <a:pt x="93772" y="97"/>
                        </a:cubicBezTo>
                        <a:cubicBezTo>
                          <a:pt x="79900" y="4166"/>
                          <a:pt x="78781" y="26055"/>
                          <a:pt x="78193" y="25656"/>
                        </a:cubicBezTo>
                        <a:cubicBezTo>
                          <a:pt x="40522" y="42631"/>
                          <a:pt x="17857" y="75256"/>
                          <a:pt x="7577" y="110905"/>
                        </a:cubicBezTo>
                        <a:cubicBezTo>
                          <a:pt x="-2499" y="145846"/>
                          <a:pt x="82" y="185050"/>
                          <a:pt x="927" y="219408"/>
                        </a:cubicBezTo>
                        <a:cubicBezTo>
                          <a:pt x="1273" y="222212"/>
                          <a:pt x="3817" y="220973"/>
                          <a:pt x="5590" y="220422"/>
                        </a:cubicBezTo>
                        <a:cubicBezTo>
                          <a:pt x="36533" y="210822"/>
                          <a:pt x="55053" y="207133"/>
                          <a:pt x="73482" y="208407"/>
                        </a:cubicBezTo>
                        <a:cubicBezTo>
                          <a:pt x="119239" y="211565"/>
                          <a:pt x="131222" y="225601"/>
                          <a:pt x="165512" y="215082"/>
                        </a:cubicBezTo>
                        <a:cubicBezTo>
                          <a:pt x="186145" y="208752"/>
                          <a:pt x="202315" y="206445"/>
                          <a:pt x="221020" y="215322"/>
                        </a:cubicBezTo>
                        <a:cubicBezTo>
                          <a:pt x="230697" y="219914"/>
                          <a:pt x="236765" y="228046"/>
                          <a:pt x="238595" y="235361"/>
                        </a:cubicBezTo>
                        <a:cubicBezTo>
                          <a:pt x="238695" y="235758"/>
                          <a:pt x="240111" y="236954"/>
                          <a:pt x="240531" y="237083"/>
                        </a:cubicBezTo>
                        <a:cubicBezTo>
                          <a:pt x="260513" y="243336"/>
                          <a:pt x="287184" y="229662"/>
                          <a:pt x="286548" y="228705"/>
                        </a:cubicBezTo>
                        <a:cubicBezTo>
                          <a:pt x="284175" y="225145"/>
                          <a:pt x="262494" y="176075"/>
                          <a:pt x="263328" y="170707"/>
                        </a:cubicBezTo>
                        <a:cubicBezTo>
                          <a:pt x="263354" y="170196"/>
                          <a:pt x="287835" y="161353"/>
                          <a:pt x="288138" y="160848"/>
                        </a:cubicBezTo>
                        <a:cubicBezTo>
                          <a:pt x="288438" y="160334"/>
                          <a:pt x="259753" y="103170"/>
                          <a:pt x="259505" y="102633"/>
                        </a:cubicBezTo>
                        <a:close/>
                      </a:path>
                    </a:pathLst>
                  </a:custGeom>
                  <a:solidFill>
                    <a:srgbClr val="FFFFFF"/>
                  </a:solidFill>
                  <a:ln w="2826" cap="flat">
                    <a:noFill/>
                    <a:prstDash val="solid"/>
                    <a:miter/>
                  </a:ln>
                </p:spPr>
                <p:txBody>
                  <a:bodyPr rtlCol="0" anchor="ctr"/>
                  <a:lstStyle/>
                  <a:p>
                    <a:endParaRPr lang="fr-CA"/>
                  </a:p>
                </p:txBody>
              </p:sp>
              <p:sp>
                <p:nvSpPr>
                  <p:cNvPr id="1583" name="Forme libre : forme 1582">
                    <a:extLst>
                      <a:ext uri="{FF2B5EF4-FFF2-40B4-BE49-F238E27FC236}">
                        <a16:creationId xmlns:a16="http://schemas.microsoft.com/office/drawing/2014/main" id="{51535E78-3FED-3F9A-0B6D-672F9D5D3C55}"/>
                      </a:ext>
                    </a:extLst>
                  </p:cNvPr>
                  <p:cNvSpPr/>
                  <p:nvPr/>
                </p:nvSpPr>
                <p:spPr>
                  <a:xfrm>
                    <a:off x="9435421" y="4249248"/>
                    <a:ext cx="26083" cy="9542"/>
                  </a:xfrm>
                  <a:custGeom>
                    <a:avLst/>
                    <a:gdLst>
                      <a:gd name="connsiteX0" fmla="*/ 26084 w 26083"/>
                      <a:gd name="connsiteY0" fmla="*/ 9543 h 9542"/>
                      <a:gd name="connsiteX1" fmla="*/ 26084 w 26083"/>
                      <a:gd name="connsiteY1" fmla="*/ 0 h 9542"/>
                      <a:gd name="connsiteX2" fmla="*/ 0 w 26083"/>
                      <a:gd name="connsiteY2" fmla="*/ 3181 h 9542"/>
                    </a:gdLst>
                    <a:ahLst/>
                    <a:cxnLst>
                      <a:cxn ang="0">
                        <a:pos x="connsiteX0" y="connsiteY0"/>
                      </a:cxn>
                      <a:cxn ang="0">
                        <a:pos x="connsiteX1" y="connsiteY1"/>
                      </a:cxn>
                      <a:cxn ang="0">
                        <a:pos x="connsiteX2" y="connsiteY2"/>
                      </a:cxn>
                    </a:cxnLst>
                    <a:rect l="l" t="t" r="r" b="b"/>
                    <a:pathLst>
                      <a:path w="26083" h="9542">
                        <a:moveTo>
                          <a:pt x="26084" y="9543"/>
                        </a:moveTo>
                        <a:lnTo>
                          <a:pt x="26084" y="0"/>
                        </a:lnTo>
                        <a:lnTo>
                          <a:pt x="0" y="3181"/>
                        </a:lnTo>
                        <a:close/>
                      </a:path>
                    </a:pathLst>
                  </a:custGeom>
                  <a:solidFill>
                    <a:srgbClr val="FFFFFF"/>
                  </a:solidFill>
                  <a:ln w="2826" cap="flat">
                    <a:noFill/>
                    <a:prstDash val="solid"/>
                    <a:miter/>
                  </a:ln>
                </p:spPr>
                <p:txBody>
                  <a:bodyPr rtlCol="0" anchor="ctr"/>
                  <a:lstStyle/>
                  <a:p>
                    <a:endParaRPr lang="fr-CA"/>
                  </a:p>
                </p:txBody>
              </p:sp>
            </p:grpSp>
            <p:grpSp>
              <p:nvGrpSpPr>
                <p:cNvPr id="1536" name="Graphique 35" descr="Garçon dans un fauteuil roulant">
                  <a:extLst>
                    <a:ext uri="{FF2B5EF4-FFF2-40B4-BE49-F238E27FC236}">
                      <a16:creationId xmlns:a16="http://schemas.microsoft.com/office/drawing/2014/main" id="{480367A7-36DE-3070-3C40-57B6EA80FD15}"/>
                    </a:ext>
                  </a:extLst>
                </p:cNvPr>
                <p:cNvGrpSpPr/>
                <p:nvPr/>
              </p:nvGrpSpPr>
              <p:grpSpPr>
                <a:xfrm>
                  <a:off x="9539751" y="4603234"/>
                  <a:ext cx="304846" cy="57173"/>
                  <a:chOff x="9539751" y="4603234"/>
                  <a:chExt cx="304846" cy="57173"/>
                </a:xfrm>
                <a:solidFill>
                  <a:srgbClr val="FFFFFF"/>
                </a:solidFill>
              </p:grpSpPr>
              <p:sp>
                <p:nvSpPr>
                  <p:cNvPr id="1579" name="Forme libre : forme 1578">
                    <a:extLst>
                      <a:ext uri="{FF2B5EF4-FFF2-40B4-BE49-F238E27FC236}">
                        <a16:creationId xmlns:a16="http://schemas.microsoft.com/office/drawing/2014/main" id="{5F0A0E9F-E0AF-2FE2-006C-469DB6BBDC2D}"/>
                      </a:ext>
                    </a:extLst>
                  </p:cNvPr>
                  <p:cNvSpPr/>
                  <p:nvPr/>
                </p:nvSpPr>
                <p:spPr>
                  <a:xfrm>
                    <a:off x="9655750" y="4603234"/>
                    <a:ext cx="188847" cy="57173"/>
                  </a:xfrm>
                  <a:custGeom>
                    <a:avLst/>
                    <a:gdLst>
                      <a:gd name="connsiteX0" fmla="*/ 188620 w 188847"/>
                      <a:gd name="connsiteY0" fmla="*/ 2704 h 57173"/>
                      <a:gd name="connsiteX1" fmla="*/ 185065 w 188847"/>
                      <a:gd name="connsiteY1" fmla="*/ 140 h 57173"/>
                      <a:gd name="connsiteX2" fmla="*/ 121040 w 188847"/>
                      <a:gd name="connsiteY2" fmla="*/ 24873 h 57173"/>
                      <a:gd name="connsiteX3" fmla="*/ 26453 w 188847"/>
                      <a:gd name="connsiteY3" fmla="*/ 33865 h 57173"/>
                      <a:gd name="connsiteX4" fmla="*/ 24146 w 188847"/>
                      <a:gd name="connsiteY4" fmla="*/ 31803 h 57173"/>
                      <a:gd name="connsiteX5" fmla="*/ 7254 w 188847"/>
                      <a:gd name="connsiteY5" fmla="*/ 36295 h 57173"/>
                      <a:gd name="connsiteX6" fmla="*/ 1720 w 188847"/>
                      <a:gd name="connsiteY6" fmla="*/ 45209 h 57173"/>
                      <a:gd name="connsiteX7" fmla="*/ 5090 w 188847"/>
                      <a:gd name="connsiteY7" fmla="*/ 55594 h 57173"/>
                      <a:gd name="connsiteX8" fmla="*/ 71885 w 188847"/>
                      <a:gd name="connsiteY8" fmla="*/ 51282 h 57173"/>
                      <a:gd name="connsiteX9" fmla="*/ 169578 w 188847"/>
                      <a:gd name="connsiteY9" fmla="*/ 15782 h 57173"/>
                      <a:gd name="connsiteX10" fmla="*/ 187829 w 188847"/>
                      <a:gd name="connsiteY10" fmla="*/ 5186 h 57173"/>
                      <a:gd name="connsiteX11" fmla="*/ 188620 w 188847"/>
                      <a:gd name="connsiteY11" fmla="*/ 2704 h 5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847" h="57173">
                        <a:moveTo>
                          <a:pt x="188620" y="2704"/>
                        </a:moveTo>
                        <a:cubicBezTo>
                          <a:pt x="187818" y="1371"/>
                          <a:pt x="186815" y="-534"/>
                          <a:pt x="185065" y="140"/>
                        </a:cubicBezTo>
                        <a:cubicBezTo>
                          <a:pt x="163790" y="9220"/>
                          <a:pt x="142249" y="17541"/>
                          <a:pt x="121040" y="24873"/>
                        </a:cubicBezTo>
                        <a:cubicBezTo>
                          <a:pt x="88703" y="37285"/>
                          <a:pt x="62491" y="26189"/>
                          <a:pt x="26453" y="33865"/>
                        </a:cubicBezTo>
                        <a:cubicBezTo>
                          <a:pt x="26590" y="32608"/>
                          <a:pt x="25417" y="31420"/>
                          <a:pt x="24146" y="31803"/>
                        </a:cubicBezTo>
                        <a:cubicBezTo>
                          <a:pt x="17102" y="33753"/>
                          <a:pt x="10937" y="35344"/>
                          <a:pt x="7254" y="36295"/>
                        </a:cubicBezTo>
                        <a:cubicBezTo>
                          <a:pt x="-887" y="38005"/>
                          <a:pt x="5786" y="38747"/>
                          <a:pt x="1720" y="45209"/>
                        </a:cubicBezTo>
                        <a:cubicBezTo>
                          <a:pt x="-875" y="49669"/>
                          <a:pt x="-1107" y="54863"/>
                          <a:pt x="5090" y="55594"/>
                        </a:cubicBezTo>
                        <a:cubicBezTo>
                          <a:pt x="26519" y="57935"/>
                          <a:pt x="50010" y="58523"/>
                          <a:pt x="71885" y="51282"/>
                        </a:cubicBezTo>
                        <a:cubicBezTo>
                          <a:pt x="104590" y="40181"/>
                          <a:pt x="140379" y="35558"/>
                          <a:pt x="169578" y="15782"/>
                        </a:cubicBezTo>
                        <a:cubicBezTo>
                          <a:pt x="175443" y="12067"/>
                          <a:pt x="181510" y="8229"/>
                          <a:pt x="187829" y="5186"/>
                        </a:cubicBezTo>
                        <a:cubicBezTo>
                          <a:pt x="188737" y="4774"/>
                          <a:pt x="189134" y="3567"/>
                          <a:pt x="188620" y="2704"/>
                        </a:cubicBezTo>
                        <a:close/>
                      </a:path>
                    </a:pathLst>
                  </a:custGeom>
                  <a:solidFill>
                    <a:srgbClr val="FFFFFF"/>
                  </a:solidFill>
                  <a:ln w="2826" cap="flat">
                    <a:noFill/>
                    <a:prstDash val="solid"/>
                    <a:miter/>
                  </a:ln>
                </p:spPr>
                <p:txBody>
                  <a:bodyPr rtlCol="0" anchor="ctr"/>
                  <a:lstStyle/>
                  <a:p>
                    <a:endParaRPr lang="fr-CA"/>
                  </a:p>
                </p:txBody>
              </p:sp>
              <p:sp>
                <p:nvSpPr>
                  <p:cNvPr id="1580" name="Forme libre : forme 1579">
                    <a:extLst>
                      <a:ext uri="{FF2B5EF4-FFF2-40B4-BE49-F238E27FC236}">
                        <a16:creationId xmlns:a16="http://schemas.microsoft.com/office/drawing/2014/main" id="{2B075B1E-DB17-E50A-7B2B-D1FD8826CBFA}"/>
                      </a:ext>
                    </a:extLst>
                  </p:cNvPr>
                  <p:cNvSpPr/>
                  <p:nvPr/>
                </p:nvSpPr>
                <p:spPr>
                  <a:xfrm>
                    <a:off x="9585773" y="4608277"/>
                    <a:ext cx="56215" cy="21346"/>
                  </a:xfrm>
                  <a:custGeom>
                    <a:avLst/>
                    <a:gdLst>
                      <a:gd name="connsiteX0" fmla="*/ 55536 w 56215"/>
                      <a:gd name="connsiteY0" fmla="*/ 7652 h 21346"/>
                      <a:gd name="connsiteX1" fmla="*/ 13965 w 56215"/>
                      <a:gd name="connsiteY1" fmla="*/ 8563 h 21346"/>
                      <a:gd name="connsiteX2" fmla="*/ 1261 w 56215"/>
                      <a:gd name="connsiteY2" fmla="*/ 15290 h 21346"/>
                      <a:gd name="connsiteX3" fmla="*/ 16 w 56215"/>
                      <a:gd name="connsiteY3" fmla="*/ 17240 h 21346"/>
                      <a:gd name="connsiteX4" fmla="*/ 9519 w 56215"/>
                      <a:gd name="connsiteY4" fmla="*/ 17680 h 21346"/>
                      <a:gd name="connsiteX5" fmla="*/ 23136 w 56215"/>
                      <a:gd name="connsiteY5" fmla="*/ 17714 h 21346"/>
                      <a:gd name="connsiteX6" fmla="*/ 24826 w 56215"/>
                      <a:gd name="connsiteY6" fmla="*/ 18625 h 21346"/>
                      <a:gd name="connsiteX7" fmla="*/ 38935 w 56215"/>
                      <a:gd name="connsiteY7" fmla="*/ 18500 h 21346"/>
                      <a:gd name="connsiteX8" fmla="*/ 44768 w 56215"/>
                      <a:gd name="connsiteY8" fmla="*/ 21346 h 21346"/>
                      <a:gd name="connsiteX9" fmla="*/ 53680 w 56215"/>
                      <a:gd name="connsiteY9" fmla="*/ 17460 h 21346"/>
                      <a:gd name="connsiteX10" fmla="*/ 54739 w 56215"/>
                      <a:gd name="connsiteY10" fmla="*/ 16344 h 21346"/>
                      <a:gd name="connsiteX11" fmla="*/ 55536 w 56215"/>
                      <a:gd name="connsiteY11" fmla="*/ 7652 h 2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5" h="21346">
                        <a:moveTo>
                          <a:pt x="55536" y="7652"/>
                        </a:moveTo>
                        <a:cubicBezTo>
                          <a:pt x="45962" y="-4797"/>
                          <a:pt x="25015" y="-269"/>
                          <a:pt x="13965" y="8563"/>
                        </a:cubicBezTo>
                        <a:cubicBezTo>
                          <a:pt x="9750" y="11304"/>
                          <a:pt x="5773" y="13894"/>
                          <a:pt x="1261" y="15290"/>
                        </a:cubicBezTo>
                        <a:cubicBezTo>
                          <a:pt x="425" y="15547"/>
                          <a:pt x="-101" y="16372"/>
                          <a:pt x="16" y="17240"/>
                        </a:cubicBezTo>
                        <a:cubicBezTo>
                          <a:pt x="967" y="20441"/>
                          <a:pt x="6130" y="17989"/>
                          <a:pt x="9519" y="17680"/>
                        </a:cubicBezTo>
                        <a:cubicBezTo>
                          <a:pt x="14381" y="16695"/>
                          <a:pt x="21731" y="15207"/>
                          <a:pt x="23136" y="17714"/>
                        </a:cubicBezTo>
                        <a:cubicBezTo>
                          <a:pt x="23476" y="18320"/>
                          <a:pt x="24130" y="18671"/>
                          <a:pt x="24826" y="18625"/>
                        </a:cubicBezTo>
                        <a:cubicBezTo>
                          <a:pt x="29655" y="18640"/>
                          <a:pt x="34586" y="17380"/>
                          <a:pt x="38935" y="18500"/>
                        </a:cubicBezTo>
                        <a:cubicBezTo>
                          <a:pt x="43252" y="18580"/>
                          <a:pt x="42096" y="20667"/>
                          <a:pt x="44768" y="21346"/>
                        </a:cubicBezTo>
                        <a:cubicBezTo>
                          <a:pt x="47723" y="20353"/>
                          <a:pt x="50330" y="18568"/>
                          <a:pt x="53680" y="17460"/>
                        </a:cubicBezTo>
                        <a:cubicBezTo>
                          <a:pt x="54182" y="17266"/>
                          <a:pt x="54571" y="16855"/>
                          <a:pt x="54739" y="16344"/>
                        </a:cubicBezTo>
                        <a:cubicBezTo>
                          <a:pt x="55633" y="13668"/>
                          <a:pt x="57080" y="10916"/>
                          <a:pt x="55536" y="7652"/>
                        </a:cubicBezTo>
                        <a:close/>
                      </a:path>
                    </a:pathLst>
                  </a:custGeom>
                  <a:solidFill>
                    <a:srgbClr val="FFFFFF"/>
                  </a:solidFill>
                  <a:ln w="2826" cap="flat">
                    <a:noFill/>
                    <a:prstDash val="solid"/>
                    <a:miter/>
                  </a:ln>
                </p:spPr>
                <p:txBody>
                  <a:bodyPr rtlCol="0" anchor="ctr"/>
                  <a:lstStyle/>
                  <a:p>
                    <a:endParaRPr lang="fr-CA"/>
                  </a:p>
                </p:txBody>
              </p:sp>
              <p:sp>
                <p:nvSpPr>
                  <p:cNvPr id="1581" name="Forme libre : forme 1580">
                    <a:extLst>
                      <a:ext uri="{FF2B5EF4-FFF2-40B4-BE49-F238E27FC236}">
                        <a16:creationId xmlns:a16="http://schemas.microsoft.com/office/drawing/2014/main" id="{EEBF1435-8A0C-22E0-7E0B-32FE19AEAF9C}"/>
                      </a:ext>
                    </a:extLst>
                  </p:cNvPr>
                  <p:cNvSpPr/>
                  <p:nvPr/>
                </p:nvSpPr>
                <p:spPr>
                  <a:xfrm>
                    <a:off x="9539751" y="4627716"/>
                    <a:ext cx="15875" cy="17897"/>
                  </a:xfrm>
                  <a:custGeom>
                    <a:avLst/>
                    <a:gdLst>
                      <a:gd name="connsiteX0" fmla="*/ 14019 w 15875"/>
                      <a:gd name="connsiteY0" fmla="*/ 4903 h 17897"/>
                      <a:gd name="connsiteX1" fmla="*/ 12286 w 15875"/>
                      <a:gd name="connsiteY1" fmla="*/ 3435 h 17897"/>
                      <a:gd name="connsiteX2" fmla="*/ 2697 w 15875"/>
                      <a:gd name="connsiteY2" fmla="*/ 248 h 17897"/>
                      <a:gd name="connsiteX3" fmla="*/ 19 w 15875"/>
                      <a:gd name="connsiteY3" fmla="*/ 2004 h 17897"/>
                      <a:gd name="connsiteX4" fmla="*/ 14027 w 15875"/>
                      <a:gd name="connsiteY4" fmla="*/ 17886 h 17897"/>
                      <a:gd name="connsiteX5" fmla="*/ 15538 w 15875"/>
                      <a:gd name="connsiteY5" fmla="*/ 17335 h 17897"/>
                      <a:gd name="connsiteX6" fmla="*/ 14019 w 15875"/>
                      <a:gd name="connsiteY6" fmla="*/ 4903 h 1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75" h="17897">
                        <a:moveTo>
                          <a:pt x="14019" y="4903"/>
                        </a:moveTo>
                        <a:cubicBezTo>
                          <a:pt x="13865" y="4063"/>
                          <a:pt x="13139" y="3449"/>
                          <a:pt x="12286" y="3435"/>
                        </a:cubicBezTo>
                        <a:cubicBezTo>
                          <a:pt x="9393" y="3389"/>
                          <a:pt x="6347" y="2376"/>
                          <a:pt x="2697" y="248"/>
                        </a:cubicBezTo>
                        <a:cubicBezTo>
                          <a:pt x="1487" y="-511"/>
                          <a:pt x="-198" y="585"/>
                          <a:pt x="19" y="2004"/>
                        </a:cubicBezTo>
                        <a:cubicBezTo>
                          <a:pt x="307" y="9799"/>
                          <a:pt x="5319" y="17206"/>
                          <a:pt x="14027" y="17886"/>
                        </a:cubicBezTo>
                        <a:cubicBezTo>
                          <a:pt x="14584" y="17951"/>
                          <a:pt x="15150" y="17749"/>
                          <a:pt x="15538" y="17335"/>
                        </a:cubicBezTo>
                        <a:cubicBezTo>
                          <a:pt x="16786" y="14708"/>
                          <a:pt x="14182" y="8186"/>
                          <a:pt x="14019" y="4903"/>
                        </a:cubicBezTo>
                        <a:close/>
                      </a:path>
                    </a:pathLst>
                  </a:custGeom>
                  <a:solidFill>
                    <a:srgbClr val="FFFFFF"/>
                  </a:solidFill>
                  <a:ln w="2826" cap="flat">
                    <a:noFill/>
                    <a:prstDash val="solid"/>
                    <a:miter/>
                  </a:ln>
                </p:spPr>
                <p:txBody>
                  <a:bodyPr rtlCol="0" anchor="ctr"/>
                  <a:lstStyle/>
                  <a:p>
                    <a:endParaRPr lang="fr-CA"/>
                  </a:p>
                </p:txBody>
              </p:sp>
            </p:grpSp>
            <p:grpSp>
              <p:nvGrpSpPr>
                <p:cNvPr id="1537" name="Graphique 35" descr="Garçon dans un fauteuil roulant">
                  <a:extLst>
                    <a:ext uri="{FF2B5EF4-FFF2-40B4-BE49-F238E27FC236}">
                      <a16:creationId xmlns:a16="http://schemas.microsoft.com/office/drawing/2014/main" id="{D8255582-A246-1496-B7A3-ED227F4A2664}"/>
                    </a:ext>
                  </a:extLst>
                </p:cNvPr>
                <p:cNvGrpSpPr/>
                <p:nvPr/>
              </p:nvGrpSpPr>
              <p:grpSpPr>
                <a:xfrm>
                  <a:off x="9534091" y="4553221"/>
                  <a:ext cx="305352" cy="84981"/>
                  <a:chOff x="9534091" y="4553221"/>
                  <a:chExt cx="305352" cy="84981"/>
                </a:xfrm>
                <a:solidFill>
                  <a:srgbClr val="FFFFFF"/>
                </a:solidFill>
              </p:grpSpPr>
              <p:sp>
                <p:nvSpPr>
                  <p:cNvPr id="1576" name="Forme libre : forme 1575">
                    <a:extLst>
                      <a:ext uri="{FF2B5EF4-FFF2-40B4-BE49-F238E27FC236}">
                        <a16:creationId xmlns:a16="http://schemas.microsoft.com/office/drawing/2014/main" id="{197812AA-C800-CE00-78F8-02C1E3A94E65}"/>
                      </a:ext>
                    </a:extLst>
                  </p:cNvPr>
                  <p:cNvSpPr/>
                  <p:nvPr/>
                </p:nvSpPr>
                <p:spPr>
                  <a:xfrm>
                    <a:off x="9659469" y="4553221"/>
                    <a:ext cx="179974" cy="84981"/>
                  </a:xfrm>
                  <a:custGeom>
                    <a:avLst/>
                    <a:gdLst>
                      <a:gd name="connsiteX0" fmla="*/ 178782 w 179974"/>
                      <a:gd name="connsiteY0" fmla="*/ 47523 h 84981"/>
                      <a:gd name="connsiteX1" fmla="*/ 118200 w 179974"/>
                      <a:gd name="connsiteY1" fmla="*/ 40322 h 84981"/>
                      <a:gd name="connsiteX2" fmla="*/ 99003 w 179974"/>
                      <a:gd name="connsiteY2" fmla="*/ 26762 h 84981"/>
                      <a:gd name="connsiteX3" fmla="*/ 95705 w 179974"/>
                      <a:gd name="connsiteY3" fmla="*/ 22927 h 84981"/>
                      <a:gd name="connsiteX4" fmla="*/ 89218 w 179974"/>
                      <a:gd name="connsiteY4" fmla="*/ 10575 h 84981"/>
                      <a:gd name="connsiteX5" fmla="*/ 83410 w 179974"/>
                      <a:gd name="connsiteY5" fmla="*/ 19 h 84981"/>
                      <a:gd name="connsiteX6" fmla="*/ 77637 w 179974"/>
                      <a:gd name="connsiteY6" fmla="*/ 9279 h 84981"/>
                      <a:gd name="connsiteX7" fmla="*/ 59708 w 179974"/>
                      <a:gd name="connsiteY7" fmla="*/ 20809 h 84981"/>
                      <a:gd name="connsiteX8" fmla="*/ 44369 w 179974"/>
                      <a:gd name="connsiteY8" fmla="*/ 32156 h 84981"/>
                      <a:gd name="connsiteX9" fmla="*/ 10293 w 179974"/>
                      <a:gd name="connsiteY9" fmla="*/ 37638 h 84981"/>
                      <a:gd name="connsiteX10" fmla="*/ 5125 w 179974"/>
                      <a:gd name="connsiteY10" fmla="*/ 32678 h 84981"/>
                      <a:gd name="connsiteX11" fmla="*/ 91 w 179974"/>
                      <a:gd name="connsiteY11" fmla="*/ 38552 h 84981"/>
                      <a:gd name="connsiteX12" fmla="*/ 5353 w 179974"/>
                      <a:gd name="connsiteY12" fmla="*/ 48677 h 84981"/>
                      <a:gd name="connsiteX13" fmla="*/ 3572 w 179974"/>
                      <a:gd name="connsiteY13" fmla="*/ 61597 h 84981"/>
                      <a:gd name="connsiteX14" fmla="*/ 3677 w 179974"/>
                      <a:gd name="connsiteY14" fmla="*/ 63776 h 84981"/>
                      <a:gd name="connsiteX15" fmla="*/ 45688 w 179974"/>
                      <a:gd name="connsiteY15" fmla="*/ 59513 h 84981"/>
                      <a:gd name="connsiteX16" fmla="*/ 58574 w 179974"/>
                      <a:gd name="connsiteY16" fmla="*/ 59227 h 84981"/>
                      <a:gd name="connsiteX17" fmla="*/ 68848 w 179974"/>
                      <a:gd name="connsiteY17" fmla="*/ 62731 h 84981"/>
                      <a:gd name="connsiteX18" fmla="*/ 19342 w 179974"/>
                      <a:gd name="connsiteY18" fmla="*/ 82664 h 84981"/>
                      <a:gd name="connsiteX19" fmla="*/ 20675 w 179974"/>
                      <a:gd name="connsiteY19" fmla="*/ 84980 h 84981"/>
                      <a:gd name="connsiteX20" fmla="*/ 90760 w 179974"/>
                      <a:gd name="connsiteY20" fmla="*/ 80845 h 84981"/>
                      <a:gd name="connsiteX21" fmla="*/ 155139 w 179974"/>
                      <a:gd name="connsiteY21" fmla="*/ 60430 h 84981"/>
                      <a:gd name="connsiteX22" fmla="*/ 178830 w 179974"/>
                      <a:gd name="connsiteY22" fmla="*/ 50898 h 84981"/>
                      <a:gd name="connsiteX23" fmla="*/ 178782 w 179974"/>
                      <a:gd name="connsiteY23" fmla="*/ 47523 h 84981"/>
                      <a:gd name="connsiteX24" fmla="*/ 106161 w 179974"/>
                      <a:gd name="connsiteY24" fmla="*/ 46087 h 84981"/>
                      <a:gd name="connsiteX25" fmla="*/ 106161 w 179974"/>
                      <a:gd name="connsiteY25" fmla="*/ 46087 h 84981"/>
                      <a:gd name="connsiteX26" fmla="*/ 106161 w 179974"/>
                      <a:gd name="connsiteY26" fmla="*/ 46087 h 84981"/>
                      <a:gd name="connsiteX27" fmla="*/ 106161 w 179974"/>
                      <a:gd name="connsiteY27" fmla="*/ 46087 h 8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974" h="84981">
                        <a:moveTo>
                          <a:pt x="178782" y="47523"/>
                        </a:moveTo>
                        <a:cubicBezTo>
                          <a:pt x="153780" y="40468"/>
                          <a:pt x="146853" y="54987"/>
                          <a:pt x="118200" y="40322"/>
                        </a:cubicBezTo>
                        <a:cubicBezTo>
                          <a:pt x="115867" y="39803"/>
                          <a:pt x="100174" y="28507"/>
                          <a:pt x="99003" y="26762"/>
                        </a:cubicBezTo>
                        <a:cubicBezTo>
                          <a:pt x="98472" y="26203"/>
                          <a:pt x="96705" y="24001"/>
                          <a:pt x="95705" y="22927"/>
                        </a:cubicBezTo>
                        <a:cubicBezTo>
                          <a:pt x="92641" y="19381"/>
                          <a:pt x="90977" y="15104"/>
                          <a:pt x="89218" y="10575"/>
                        </a:cubicBezTo>
                        <a:cubicBezTo>
                          <a:pt x="87713" y="7674"/>
                          <a:pt x="86494" y="1421"/>
                          <a:pt x="83410" y="19"/>
                        </a:cubicBezTo>
                        <a:cubicBezTo>
                          <a:pt x="81431" y="-444"/>
                          <a:pt x="77128" y="7700"/>
                          <a:pt x="77637" y="9279"/>
                        </a:cubicBezTo>
                        <a:cubicBezTo>
                          <a:pt x="77839" y="9776"/>
                          <a:pt x="65030" y="16820"/>
                          <a:pt x="59708" y="20809"/>
                        </a:cubicBezTo>
                        <a:cubicBezTo>
                          <a:pt x="54394" y="24347"/>
                          <a:pt x="49740" y="27259"/>
                          <a:pt x="44369" y="32156"/>
                        </a:cubicBezTo>
                        <a:cubicBezTo>
                          <a:pt x="33093" y="42607"/>
                          <a:pt x="19984" y="50861"/>
                          <a:pt x="10293" y="37638"/>
                        </a:cubicBezTo>
                        <a:cubicBezTo>
                          <a:pt x="8751" y="35888"/>
                          <a:pt x="7155" y="34075"/>
                          <a:pt x="5125" y="32678"/>
                        </a:cubicBezTo>
                        <a:cubicBezTo>
                          <a:pt x="1833" y="30985"/>
                          <a:pt x="-497" y="36014"/>
                          <a:pt x="91" y="38552"/>
                        </a:cubicBezTo>
                        <a:cubicBezTo>
                          <a:pt x="876" y="42452"/>
                          <a:pt x="4608" y="44985"/>
                          <a:pt x="5353" y="48677"/>
                        </a:cubicBezTo>
                        <a:cubicBezTo>
                          <a:pt x="6301" y="51938"/>
                          <a:pt x="5442" y="58117"/>
                          <a:pt x="3572" y="61597"/>
                        </a:cubicBezTo>
                        <a:cubicBezTo>
                          <a:pt x="3186" y="62308"/>
                          <a:pt x="3229" y="63142"/>
                          <a:pt x="3677" y="63776"/>
                        </a:cubicBezTo>
                        <a:cubicBezTo>
                          <a:pt x="6427" y="67080"/>
                          <a:pt x="36402" y="59165"/>
                          <a:pt x="45688" y="59513"/>
                        </a:cubicBezTo>
                        <a:cubicBezTo>
                          <a:pt x="50531" y="58985"/>
                          <a:pt x="54745" y="58893"/>
                          <a:pt x="58574" y="59227"/>
                        </a:cubicBezTo>
                        <a:cubicBezTo>
                          <a:pt x="62523" y="58063"/>
                          <a:pt x="66572" y="59739"/>
                          <a:pt x="68848" y="62731"/>
                        </a:cubicBezTo>
                        <a:cubicBezTo>
                          <a:pt x="69633" y="64818"/>
                          <a:pt x="57438" y="70849"/>
                          <a:pt x="19342" y="82664"/>
                        </a:cubicBezTo>
                        <a:cubicBezTo>
                          <a:pt x="18674" y="83829"/>
                          <a:pt x="19288" y="85023"/>
                          <a:pt x="20675" y="84980"/>
                        </a:cubicBezTo>
                        <a:cubicBezTo>
                          <a:pt x="52615" y="77981"/>
                          <a:pt x="70278" y="82170"/>
                          <a:pt x="90760" y="80845"/>
                        </a:cubicBezTo>
                        <a:cubicBezTo>
                          <a:pt x="107344" y="79772"/>
                          <a:pt x="124370" y="72256"/>
                          <a:pt x="155139" y="60430"/>
                        </a:cubicBezTo>
                        <a:cubicBezTo>
                          <a:pt x="163020" y="57400"/>
                          <a:pt x="170989" y="53819"/>
                          <a:pt x="178830" y="50898"/>
                        </a:cubicBezTo>
                        <a:cubicBezTo>
                          <a:pt x="180355" y="50384"/>
                          <a:pt x="180372" y="47989"/>
                          <a:pt x="178782" y="47523"/>
                        </a:cubicBezTo>
                        <a:close/>
                        <a:moveTo>
                          <a:pt x="106161" y="46087"/>
                        </a:moveTo>
                        <a:cubicBezTo>
                          <a:pt x="106161" y="46087"/>
                          <a:pt x="106161" y="46087"/>
                          <a:pt x="106161" y="46087"/>
                        </a:cubicBezTo>
                        <a:lnTo>
                          <a:pt x="106161" y="46087"/>
                        </a:lnTo>
                        <a:cubicBezTo>
                          <a:pt x="106161" y="46087"/>
                          <a:pt x="106161" y="46087"/>
                          <a:pt x="106161" y="46087"/>
                        </a:cubicBezTo>
                        <a:close/>
                      </a:path>
                    </a:pathLst>
                  </a:custGeom>
                  <a:solidFill>
                    <a:srgbClr val="FFFFFF"/>
                  </a:solidFill>
                  <a:ln w="2826" cap="flat">
                    <a:noFill/>
                    <a:prstDash val="solid"/>
                    <a:miter/>
                  </a:ln>
                </p:spPr>
                <p:txBody>
                  <a:bodyPr rtlCol="0" anchor="ctr"/>
                  <a:lstStyle/>
                  <a:p>
                    <a:endParaRPr lang="fr-CA"/>
                  </a:p>
                </p:txBody>
              </p:sp>
              <p:sp>
                <p:nvSpPr>
                  <p:cNvPr id="1577" name="Forme libre : forme 1576">
                    <a:extLst>
                      <a:ext uri="{FF2B5EF4-FFF2-40B4-BE49-F238E27FC236}">
                        <a16:creationId xmlns:a16="http://schemas.microsoft.com/office/drawing/2014/main" id="{97252771-D4C9-E1F0-16B5-22E2690ED76D}"/>
                      </a:ext>
                    </a:extLst>
                  </p:cNvPr>
                  <p:cNvSpPr/>
                  <p:nvPr/>
                </p:nvSpPr>
                <p:spPr>
                  <a:xfrm>
                    <a:off x="9555305" y="4555380"/>
                    <a:ext cx="83122" cy="73897"/>
                  </a:xfrm>
                  <a:custGeom>
                    <a:avLst/>
                    <a:gdLst>
                      <a:gd name="connsiteX0" fmla="*/ 69165 w 83122"/>
                      <a:gd name="connsiteY0" fmla="*/ 41321 h 73897"/>
                      <a:gd name="connsiteX1" fmla="*/ 49766 w 83122"/>
                      <a:gd name="connsiteY1" fmla="*/ 23286 h 73897"/>
                      <a:gd name="connsiteX2" fmla="*/ 36472 w 83122"/>
                      <a:gd name="connsiteY2" fmla="*/ 2023 h 73897"/>
                      <a:gd name="connsiteX3" fmla="*/ 30921 w 83122"/>
                      <a:gd name="connsiteY3" fmla="*/ 218 h 73897"/>
                      <a:gd name="connsiteX4" fmla="*/ 37 w 83122"/>
                      <a:gd name="connsiteY4" fmla="*/ 7742 h 73897"/>
                      <a:gd name="connsiteX5" fmla="*/ 11710 w 83122"/>
                      <a:gd name="connsiteY5" fmla="*/ 72427 h 73897"/>
                      <a:gd name="connsiteX6" fmla="*/ 13472 w 83122"/>
                      <a:gd name="connsiteY6" fmla="*/ 73897 h 73897"/>
                      <a:gd name="connsiteX7" fmla="*/ 26981 w 83122"/>
                      <a:gd name="connsiteY7" fmla="*/ 72427 h 73897"/>
                      <a:gd name="connsiteX8" fmla="*/ 32951 w 83122"/>
                      <a:gd name="connsiteY8" fmla="*/ 67216 h 73897"/>
                      <a:gd name="connsiteX9" fmla="*/ 74534 w 83122"/>
                      <a:gd name="connsiteY9" fmla="*/ 51683 h 73897"/>
                      <a:gd name="connsiteX10" fmla="*/ 83071 w 83122"/>
                      <a:gd name="connsiteY10" fmla="*/ 51300 h 73897"/>
                      <a:gd name="connsiteX11" fmla="*/ 69165 w 83122"/>
                      <a:gd name="connsiteY11" fmla="*/ 41321 h 7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122" h="73897">
                        <a:moveTo>
                          <a:pt x="69165" y="41321"/>
                        </a:moveTo>
                        <a:cubicBezTo>
                          <a:pt x="60203" y="38802"/>
                          <a:pt x="54852" y="30970"/>
                          <a:pt x="49766" y="23286"/>
                        </a:cubicBezTo>
                        <a:cubicBezTo>
                          <a:pt x="45075" y="16331"/>
                          <a:pt x="40218" y="9746"/>
                          <a:pt x="36472" y="2023"/>
                        </a:cubicBezTo>
                        <a:cubicBezTo>
                          <a:pt x="35812" y="503"/>
                          <a:pt x="31749" y="-453"/>
                          <a:pt x="30921" y="218"/>
                        </a:cubicBezTo>
                        <a:cubicBezTo>
                          <a:pt x="15910" y="12536"/>
                          <a:pt x="-899" y="2202"/>
                          <a:pt x="37" y="7742"/>
                        </a:cubicBezTo>
                        <a:cubicBezTo>
                          <a:pt x="3432" y="25611"/>
                          <a:pt x="7399" y="48593"/>
                          <a:pt x="11710" y="72427"/>
                        </a:cubicBezTo>
                        <a:cubicBezTo>
                          <a:pt x="11847" y="73261"/>
                          <a:pt x="12630" y="73912"/>
                          <a:pt x="13472" y="73897"/>
                        </a:cubicBezTo>
                        <a:cubicBezTo>
                          <a:pt x="16330" y="73166"/>
                          <a:pt x="23794" y="72712"/>
                          <a:pt x="26981" y="72427"/>
                        </a:cubicBezTo>
                        <a:cubicBezTo>
                          <a:pt x="29056" y="71999"/>
                          <a:pt x="31683" y="67993"/>
                          <a:pt x="32951" y="67216"/>
                        </a:cubicBezTo>
                        <a:cubicBezTo>
                          <a:pt x="46317" y="59047"/>
                          <a:pt x="56065" y="47597"/>
                          <a:pt x="74534" y="51683"/>
                        </a:cubicBezTo>
                        <a:cubicBezTo>
                          <a:pt x="77255" y="51671"/>
                          <a:pt x="83765" y="56537"/>
                          <a:pt x="83071" y="51300"/>
                        </a:cubicBezTo>
                        <a:cubicBezTo>
                          <a:pt x="80367" y="45315"/>
                          <a:pt x="74416" y="43194"/>
                          <a:pt x="69165" y="41321"/>
                        </a:cubicBezTo>
                        <a:close/>
                      </a:path>
                    </a:pathLst>
                  </a:custGeom>
                  <a:solidFill>
                    <a:srgbClr val="FFFFFF"/>
                  </a:solidFill>
                  <a:ln w="2826" cap="flat">
                    <a:noFill/>
                    <a:prstDash val="solid"/>
                    <a:miter/>
                  </a:ln>
                </p:spPr>
                <p:txBody>
                  <a:bodyPr rtlCol="0" anchor="ctr"/>
                  <a:lstStyle/>
                  <a:p>
                    <a:endParaRPr lang="fr-CA"/>
                  </a:p>
                </p:txBody>
              </p:sp>
              <p:sp>
                <p:nvSpPr>
                  <p:cNvPr id="1578" name="Forme libre : forme 1577">
                    <a:extLst>
                      <a:ext uri="{FF2B5EF4-FFF2-40B4-BE49-F238E27FC236}">
                        <a16:creationId xmlns:a16="http://schemas.microsoft.com/office/drawing/2014/main" id="{E78681D2-B0C6-C2B3-AD10-DB221FF5C26A}"/>
                      </a:ext>
                    </a:extLst>
                  </p:cNvPr>
                  <p:cNvSpPr/>
                  <p:nvPr/>
                </p:nvSpPr>
                <p:spPr>
                  <a:xfrm>
                    <a:off x="9534091" y="4580752"/>
                    <a:ext cx="18419" cy="49443"/>
                  </a:xfrm>
                  <a:custGeom>
                    <a:avLst/>
                    <a:gdLst>
                      <a:gd name="connsiteX0" fmla="*/ 10496 w 18419"/>
                      <a:gd name="connsiteY0" fmla="*/ 2632 h 49443"/>
                      <a:gd name="connsiteX1" fmla="*/ 5305 w 18419"/>
                      <a:gd name="connsiteY1" fmla="*/ 559 h 49443"/>
                      <a:gd name="connsiteX2" fmla="*/ 1404 w 18419"/>
                      <a:gd name="connsiteY2" fmla="*/ 339 h 49443"/>
                      <a:gd name="connsiteX3" fmla="*/ 3891 w 18419"/>
                      <a:gd name="connsiteY3" fmla="*/ 37407 h 49443"/>
                      <a:gd name="connsiteX4" fmla="*/ 6010 w 18419"/>
                      <a:gd name="connsiteY4" fmla="*/ 46079 h 49443"/>
                      <a:gd name="connsiteX5" fmla="*/ 18419 w 18419"/>
                      <a:gd name="connsiteY5" fmla="*/ 48954 h 49443"/>
                      <a:gd name="connsiteX6" fmla="*/ 10496 w 18419"/>
                      <a:gd name="connsiteY6" fmla="*/ 2632 h 4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19" h="49443">
                        <a:moveTo>
                          <a:pt x="10496" y="2632"/>
                        </a:moveTo>
                        <a:cubicBezTo>
                          <a:pt x="9876" y="407"/>
                          <a:pt x="7106" y="1381"/>
                          <a:pt x="5305" y="559"/>
                        </a:cubicBezTo>
                        <a:cubicBezTo>
                          <a:pt x="4080" y="376"/>
                          <a:pt x="2569" y="-458"/>
                          <a:pt x="1404" y="339"/>
                        </a:cubicBezTo>
                        <a:cubicBezTo>
                          <a:pt x="-2122" y="12257"/>
                          <a:pt x="1861" y="25617"/>
                          <a:pt x="3891" y="37407"/>
                        </a:cubicBezTo>
                        <a:cubicBezTo>
                          <a:pt x="4705" y="39477"/>
                          <a:pt x="4414" y="44931"/>
                          <a:pt x="6010" y="46079"/>
                        </a:cubicBezTo>
                        <a:cubicBezTo>
                          <a:pt x="9034" y="47589"/>
                          <a:pt x="15136" y="50630"/>
                          <a:pt x="18419" y="48954"/>
                        </a:cubicBezTo>
                        <a:cubicBezTo>
                          <a:pt x="17851" y="34794"/>
                          <a:pt x="13068" y="19715"/>
                          <a:pt x="10496" y="2632"/>
                        </a:cubicBezTo>
                        <a:close/>
                      </a:path>
                    </a:pathLst>
                  </a:custGeom>
                  <a:solidFill>
                    <a:srgbClr val="FFFFFF"/>
                  </a:solidFill>
                  <a:ln w="2826" cap="flat">
                    <a:noFill/>
                    <a:prstDash val="solid"/>
                    <a:miter/>
                  </a:ln>
                </p:spPr>
                <p:txBody>
                  <a:bodyPr rtlCol="0" anchor="ctr"/>
                  <a:lstStyle/>
                  <a:p>
                    <a:endParaRPr lang="fr-CA"/>
                  </a:p>
                </p:txBody>
              </p:sp>
            </p:grpSp>
            <p:grpSp>
              <p:nvGrpSpPr>
                <p:cNvPr id="1538" name="Graphique 35" descr="Garçon dans un fauteuil roulant">
                  <a:extLst>
                    <a:ext uri="{FF2B5EF4-FFF2-40B4-BE49-F238E27FC236}">
                      <a16:creationId xmlns:a16="http://schemas.microsoft.com/office/drawing/2014/main" id="{EF7C6284-0FBA-D596-0CF3-E5B5B03AAFD2}"/>
                    </a:ext>
                  </a:extLst>
                </p:cNvPr>
                <p:cNvGrpSpPr/>
                <p:nvPr/>
              </p:nvGrpSpPr>
              <p:grpSpPr>
                <a:xfrm>
                  <a:off x="9273740" y="4065232"/>
                  <a:ext cx="445587" cy="302515"/>
                  <a:chOff x="9273740" y="4065232"/>
                  <a:chExt cx="445587" cy="302515"/>
                </a:xfrm>
                <a:solidFill>
                  <a:srgbClr val="FFFFFF"/>
                </a:solidFill>
              </p:grpSpPr>
              <p:sp>
                <p:nvSpPr>
                  <p:cNvPr id="1572" name="Forme libre : forme 1571">
                    <a:extLst>
                      <a:ext uri="{FF2B5EF4-FFF2-40B4-BE49-F238E27FC236}">
                        <a16:creationId xmlns:a16="http://schemas.microsoft.com/office/drawing/2014/main" id="{63ADC221-5F92-6F72-424B-8049BB671310}"/>
                      </a:ext>
                    </a:extLst>
                  </p:cNvPr>
                  <p:cNvSpPr/>
                  <p:nvPr/>
                </p:nvSpPr>
                <p:spPr>
                  <a:xfrm>
                    <a:off x="9576589" y="4227399"/>
                    <a:ext cx="142737" cy="40853"/>
                  </a:xfrm>
                  <a:custGeom>
                    <a:avLst/>
                    <a:gdLst>
                      <a:gd name="connsiteX0" fmla="*/ 139752 w 142737"/>
                      <a:gd name="connsiteY0" fmla="*/ 23231 h 40853"/>
                      <a:gd name="connsiteX1" fmla="*/ 122846 w 142737"/>
                      <a:gd name="connsiteY1" fmla="*/ 15062 h 40853"/>
                      <a:gd name="connsiteX2" fmla="*/ 100155 w 142737"/>
                      <a:gd name="connsiteY2" fmla="*/ 13577 h 40853"/>
                      <a:gd name="connsiteX3" fmla="*/ 911 w 142737"/>
                      <a:gd name="connsiteY3" fmla="*/ 6 h 40853"/>
                      <a:gd name="connsiteX4" fmla="*/ 3455 w 142737"/>
                      <a:gd name="connsiteY4" fmla="*/ 7641 h 40853"/>
                      <a:gd name="connsiteX5" fmla="*/ 95920 w 142737"/>
                      <a:gd name="connsiteY5" fmla="*/ 28905 h 40853"/>
                      <a:gd name="connsiteX6" fmla="*/ 139752 w 142737"/>
                      <a:gd name="connsiteY6" fmla="*/ 23231 h 4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37" h="40853">
                        <a:moveTo>
                          <a:pt x="139752" y="23231"/>
                        </a:moveTo>
                        <a:cubicBezTo>
                          <a:pt x="136629" y="9123"/>
                          <a:pt x="141294" y="13577"/>
                          <a:pt x="122846" y="15062"/>
                        </a:cubicBezTo>
                        <a:cubicBezTo>
                          <a:pt x="121447" y="15173"/>
                          <a:pt x="100803" y="13392"/>
                          <a:pt x="100155" y="13577"/>
                        </a:cubicBezTo>
                        <a:cubicBezTo>
                          <a:pt x="96474" y="14605"/>
                          <a:pt x="4874" y="-337"/>
                          <a:pt x="911" y="6"/>
                        </a:cubicBezTo>
                        <a:cubicBezTo>
                          <a:pt x="-1473" y="668"/>
                          <a:pt x="1337" y="3823"/>
                          <a:pt x="3455" y="7641"/>
                        </a:cubicBezTo>
                        <a:cubicBezTo>
                          <a:pt x="3884" y="8412"/>
                          <a:pt x="95049" y="28768"/>
                          <a:pt x="95920" y="28905"/>
                        </a:cubicBezTo>
                        <a:cubicBezTo>
                          <a:pt x="144264" y="36480"/>
                          <a:pt x="146948" y="54206"/>
                          <a:pt x="139752" y="23231"/>
                        </a:cubicBezTo>
                        <a:close/>
                      </a:path>
                    </a:pathLst>
                  </a:custGeom>
                  <a:solidFill>
                    <a:srgbClr val="FFFFFF"/>
                  </a:solidFill>
                  <a:ln w="2826" cap="flat">
                    <a:noFill/>
                    <a:prstDash val="solid"/>
                    <a:miter/>
                  </a:ln>
                </p:spPr>
                <p:txBody>
                  <a:bodyPr rtlCol="0" anchor="ctr"/>
                  <a:lstStyle/>
                  <a:p>
                    <a:endParaRPr lang="fr-CA"/>
                  </a:p>
                </p:txBody>
              </p:sp>
              <p:sp>
                <p:nvSpPr>
                  <p:cNvPr id="1573" name="Forme libre : forme 1572">
                    <a:extLst>
                      <a:ext uri="{FF2B5EF4-FFF2-40B4-BE49-F238E27FC236}">
                        <a16:creationId xmlns:a16="http://schemas.microsoft.com/office/drawing/2014/main" id="{CD63CF4B-F323-DE00-DBCE-7E4A061EA9F4}"/>
                      </a:ext>
                    </a:extLst>
                  </p:cNvPr>
                  <p:cNvSpPr/>
                  <p:nvPr/>
                </p:nvSpPr>
                <p:spPr>
                  <a:xfrm>
                    <a:off x="9301435" y="4261725"/>
                    <a:ext cx="160284" cy="106022"/>
                  </a:xfrm>
                  <a:custGeom>
                    <a:avLst/>
                    <a:gdLst>
                      <a:gd name="connsiteX0" fmla="*/ 158654 w 160284"/>
                      <a:gd name="connsiteY0" fmla="*/ 3150 h 106022"/>
                      <a:gd name="connsiteX1" fmla="*/ 142473 w 160284"/>
                      <a:gd name="connsiteY1" fmla="*/ 860 h 106022"/>
                      <a:gd name="connsiteX2" fmla="*/ 135457 w 160284"/>
                      <a:gd name="connsiteY2" fmla="*/ 1111 h 106022"/>
                      <a:gd name="connsiteX3" fmla="*/ 92493 w 160284"/>
                      <a:gd name="connsiteY3" fmla="*/ 11833 h 106022"/>
                      <a:gd name="connsiteX4" fmla="*/ 2175 w 160284"/>
                      <a:gd name="connsiteY4" fmla="*/ 3413 h 106022"/>
                      <a:gd name="connsiteX5" fmla="*/ 759 w 160284"/>
                      <a:gd name="connsiteY5" fmla="*/ 6625 h 106022"/>
                      <a:gd name="connsiteX6" fmla="*/ 62768 w 160284"/>
                      <a:gd name="connsiteY6" fmla="*/ 90238 h 106022"/>
                      <a:gd name="connsiteX7" fmla="*/ 155373 w 160284"/>
                      <a:gd name="connsiteY7" fmla="*/ 106022 h 106022"/>
                      <a:gd name="connsiteX8" fmla="*/ 159145 w 160284"/>
                      <a:gd name="connsiteY8" fmla="*/ 90806 h 106022"/>
                      <a:gd name="connsiteX9" fmla="*/ 160284 w 160284"/>
                      <a:gd name="connsiteY9" fmla="*/ 4960 h 106022"/>
                      <a:gd name="connsiteX10" fmla="*/ 158654 w 160284"/>
                      <a:gd name="connsiteY10" fmla="*/ 3150 h 10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284" h="106022">
                        <a:moveTo>
                          <a:pt x="158654" y="3150"/>
                        </a:moveTo>
                        <a:cubicBezTo>
                          <a:pt x="153203" y="2670"/>
                          <a:pt x="147992" y="1791"/>
                          <a:pt x="142473" y="860"/>
                        </a:cubicBezTo>
                        <a:cubicBezTo>
                          <a:pt x="140328" y="891"/>
                          <a:pt x="136833" y="-1250"/>
                          <a:pt x="135457" y="1111"/>
                        </a:cubicBezTo>
                        <a:cubicBezTo>
                          <a:pt x="128721" y="17704"/>
                          <a:pt x="107663" y="14143"/>
                          <a:pt x="92493" y="11833"/>
                        </a:cubicBezTo>
                        <a:cubicBezTo>
                          <a:pt x="62320" y="9449"/>
                          <a:pt x="31999" y="10068"/>
                          <a:pt x="2175" y="3413"/>
                        </a:cubicBezTo>
                        <a:cubicBezTo>
                          <a:pt x="370" y="2953"/>
                          <a:pt x="-872" y="5568"/>
                          <a:pt x="759" y="6625"/>
                        </a:cubicBezTo>
                        <a:cubicBezTo>
                          <a:pt x="32025" y="28471"/>
                          <a:pt x="51738" y="64152"/>
                          <a:pt x="62768" y="90238"/>
                        </a:cubicBezTo>
                        <a:cubicBezTo>
                          <a:pt x="92935" y="96583"/>
                          <a:pt x="124658" y="100280"/>
                          <a:pt x="155373" y="106022"/>
                        </a:cubicBezTo>
                        <a:cubicBezTo>
                          <a:pt x="159522" y="106011"/>
                          <a:pt x="158934" y="93850"/>
                          <a:pt x="159145" y="90806"/>
                        </a:cubicBezTo>
                        <a:cubicBezTo>
                          <a:pt x="159042" y="61944"/>
                          <a:pt x="159827" y="33594"/>
                          <a:pt x="160284" y="4960"/>
                        </a:cubicBezTo>
                        <a:cubicBezTo>
                          <a:pt x="160301" y="4021"/>
                          <a:pt x="159587" y="3230"/>
                          <a:pt x="158654" y="3150"/>
                        </a:cubicBezTo>
                        <a:close/>
                      </a:path>
                    </a:pathLst>
                  </a:custGeom>
                  <a:solidFill>
                    <a:srgbClr val="FFFFFF"/>
                  </a:solidFill>
                  <a:ln w="2826" cap="flat">
                    <a:noFill/>
                    <a:prstDash val="solid"/>
                    <a:miter/>
                  </a:ln>
                </p:spPr>
                <p:txBody>
                  <a:bodyPr rtlCol="0" anchor="ctr"/>
                  <a:lstStyle/>
                  <a:p>
                    <a:endParaRPr lang="fr-CA"/>
                  </a:p>
                </p:txBody>
              </p:sp>
              <p:sp>
                <p:nvSpPr>
                  <p:cNvPr id="1574" name="Forme libre : forme 1573">
                    <a:extLst>
                      <a:ext uri="{FF2B5EF4-FFF2-40B4-BE49-F238E27FC236}">
                        <a16:creationId xmlns:a16="http://schemas.microsoft.com/office/drawing/2014/main" id="{85ED2BD0-3307-988A-9537-0D434F505996}"/>
                      </a:ext>
                    </a:extLst>
                  </p:cNvPr>
                  <p:cNvSpPr/>
                  <p:nvPr/>
                </p:nvSpPr>
                <p:spPr>
                  <a:xfrm>
                    <a:off x="9282459" y="4065232"/>
                    <a:ext cx="37648" cy="64890"/>
                  </a:xfrm>
                  <a:custGeom>
                    <a:avLst/>
                    <a:gdLst>
                      <a:gd name="connsiteX0" fmla="*/ 37648 w 37648"/>
                      <a:gd name="connsiteY0" fmla="*/ 5336 h 64890"/>
                      <a:gd name="connsiteX1" fmla="*/ 22492 w 37648"/>
                      <a:gd name="connsiteY1" fmla="*/ 2649 h 64890"/>
                      <a:gd name="connsiteX2" fmla="*/ 2091 w 37648"/>
                      <a:gd name="connsiteY2" fmla="*/ 31 h 64890"/>
                      <a:gd name="connsiteX3" fmla="*/ 126 w 37648"/>
                      <a:gd name="connsiteY3" fmla="*/ 2438 h 64890"/>
                      <a:gd name="connsiteX4" fmla="*/ 7316 w 37648"/>
                      <a:gd name="connsiteY4" fmla="*/ 63257 h 64890"/>
                      <a:gd name="connsiteX5" fmla="*/ 10857 w 37648"/>
                      <a:gd name="connsiteY5" fmla="*/ 63488 h 64890"/>
                      <a:gd name="connsiteX6" fmla="*/ 37648 w 37648"/>
                      <a:gd name="connsiteY6" fmla="*/ 5336 h 6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48" h="64890">
                        <a:moveTo>
                          <a:pt x="37648" y="5336"/>
                        </a:moveTo>
                        <a:cubicBezTo>
                          <a:pt x="36266" y="3118"/>
                          <a:pt x="25510" y="3437"/>
                          <a:pt x="22492" y="2649"/>
                        </a:cubicBezTo>
                        <a:cubicBezTo>
                          <a:pt x="15813" y="1918"/>
                          <a:pt x="8903" y="1164"/>
                          <a:pt x="2091" y="31"/>
                        </a:cubicBezTo>
                        <a:cubicBezTo>
                          <a:pt x="777" y="-229"/>
                          <a:pt x="-394" y="1199"/>
                          <a:pt x="126" y="2438"/>
                        </a:cubicBezTo>
                        <a:cubicBezTo>
                          <a:pt x="6782" y="21911"/>
                          <a:pt x="5711" y="43013"/>
                          <a:pt x="7316" y="63257"/>
                        </a:cubicBezTo>
                        <a:cubicBezTo>
                          <a:pt x="7402" y="65270"/>
                          <a:pt x="10505" y="65510"/>
                          <a:pt x="10857" y="63488"/>
                        </a:cubicBezTo>
                        <a:cubicBezTo>
                          <a:pt x="13621" y="44863"/>
                          <a:pt x="25582" y="25975"/>
                          <a:pt x="37648" y="5336"/>
                        </a:cubicBezTo>
                        <a:close/>
                      </a:path>
                    </a:pathLst>
                  </a:custGeom>
                  <a:solidFill>
                    <a:srgbClr val="FFFFFF"/>
                  </a:solidFill>
                  <a:ln w="2826" cap="flat">
                    <a:noFill/>
                    <a:prstDash val="solid"/>
                    <a:miter/>
                  </a:ln>
                </p:spPr>
                <p:txBody>
                  <a:bodyPr rtlCol="0" anchor="ctr"/>
                  <a:lstStyle/>
                  <a:p>
                    <a:endParaRPr lang="fr-CA"/>
                  </a:p>
                </p:txBody>
              </p:sp>
              <p:sp>
                <p:nvSpPr>
                  <p:cNvPr id="1575" name="Forme libre : forme 1574">
                    <a:extLst>
                      <a:ext uri="{FF2B5EF4-FFF2-40B4-BE49-F238E27FC236}">
                        <a16:creationId xmlns:a16="http://schemas.microsoft.com/office/drawing/2014/main" id="{163B7CB5-4E0C-A7E5-9CCA-0C48008DD928}"/>
                      </a:ext>
                    </a:extLst>
                  </p:cNvPr>
                  <p:cNvSpPr/>
                  <p:nvPr/>
                </p:nvSpPr>
                <p:spPr>
                  <a:xfrm>
                    <a:off x="9273740" y="4273588"/>
                    <a:ext cx="70301" cy="75161"/>
                  </a:xfrm>
                  <a:custGeom>
                    <a:avLst/>
                    <a:gdLst>
                      <a:gd name="connsiteX0" fmla="*/ 70162 w 70301"/>
                      <a:gd name="connsiteY0" fmla="*/ 72713 h 75161"/>
                      <a:gd name="connsiteX1" fmla="*/ 2390 w 70301"/>
                      <a:gd name="connsiteY1" fmla="*/ 107 h 75161"/>
                      <a:gd name="connsiteX2" fmla="*/ 3 w 70301"/>
                      <a:gd name="connsiteY2" fmla="*/ 1843 h 75161"/>
                      <a:gd name="connsiteX3" fmla="*/ 3855 w 70301"/>
                      <a:gd name="connsiteY3" fmla="*/ 62822 h 75161"/>
                      <a:gd name="connsiteX4" fmla="*/ 5494 w 70301"/>
                      <a:gd name="connsiteY4" fmla="*/ 64898 h 75161"/>
                      <a:gd name="connsiteX5" fmla="*/ 39864 w 70301"/>
                      <a:gd name="connsiteY5" fmla="*/ 69955 h 75161"/>
                      <a:gd name="connsiteX6" fmla="*/ 48133 w 70301"/>
                      <a:gd name="connsiteY6" fmla="*/ 72022 h 75161"/>
                      <a:gd name="connsiteX7" fmla="*/ 58315 w 70301"/>
                      <a:gd name="connsiteY7" fmla="*/ 73090 h 75161"/>
                      <a:gd name="connsiteX8" fmla="*/ 70162 w 70301"/>
                      <a:gd name="connsiteY8" fmla="*/ 72713 h 7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01" h="75161">
                        <a:moveTo>
                          <a:pt x="70162" y="72713"/>
                        </a:moveTo>
                        <a:cubicBezTo>
                          <a:pt x="54837" y="41173"/>
                          <a:pt x="32934" y="11468"/>
                          <a:pt x="2390" y="107"/>
                        </a:cubicBezTo>
                        <a:cubicBezTo>
                          <a:pt x="1256" y="-327"/>
                          <a:pt x="-71" y="621"/>
                          <a:pt x="3" y="1843"/>
                        </a:cubicBezTo>
                        <a:cubicBezTo>
                          <a:pt x="100" y="5272"/>
                          <a:pt x="4143" y="57865"/>
                          <a:pt x="3855" y="62822"/>
                        </a:cubicBezTo>
                        <a:cubicBezTo>
                          <a:pt x="3666" y="63827"/>
                          <a:pt x="4469" y="64849"/>
                          <a:pt x="5494" y="64898"/>
                        </a:cubicBezTo>
                        <a:cubicBezTo>
                          <a:pt x="16684" y="65692"/>
                          <a:pt x="28728" y="68638"/>
                          <a:pt x="39864" y="69955"/>
                        </a:cubicBezTo>
                        <a:cubicBezTo>
                          <a:pt x="40143" y="69889"/>
                          <a:pt x="47944" y="72162"/>
                          <a:pt x="48133" y="72022"/>
                        </a:cubicBezTo>
                        <a:cubicBezTo>
                          <a:pt x="53364" y="73207"/>
                          <a:pt x="53926" y="71357"/>
                          <a:pt x="58315" y="73090"/>
                        </a:cubicBezTo>
                        <a:cubicBezTo>
                          <a:pt x="60853" y="73207"/>
                          <a:pt x="71649" y="77930"/>
                          <a:pt x="70162" y="72713"/>
                        </a:cubicBezTo>
                        <a:close/>
                      </a:path>
                    </a:pathLst>
                  </a:custGeom>
                  <a:solidFill>
                    <a:srgbClr val="FFFFFF"/>
                  </a:solidFill>
                  <a:ln w="2826" cap="flat">
                    <a:noFill/>
                    <a:prstDash val="solid"/>
                    <a:miter/>
                  </a:ln>
                </p:spPr>
                <p:txBody>
                  <a:bodyPr rtlCol="0" anchor="ctr"/>
                  <a:lstStyle/>
                  <a:p>
                    <a:endParaRPr lang="fr-CA"/>
                  </a:p>
                </p:txBody>
              </p:sp>
            </p:grpSp>
            <p:grpSp>
              <p:nvGrpSpPr>
                <p:cNvPr id="1539" name="Graphique 35" descr="Garçon dans un fauteuil roulant">
                  <a:extLst>
                    <a:ext uri="{FF2B5EF4-FFF2-40B4-BE49-F238E27FC236}">
                      <a16:creationId xmlns:a16="http://schemas.microsoft.com/office/drawing/2014/main" id="{7103CA69-6A22-C2E3-9D54-548ADE6B994F}"/>
                    </a:ext>
                  </a:extLst>
                </p:cNvPr>
                <p:cNvGrpSpPr/>
                <p:nvPr/>
              </p:nvGrpSpPr>
              <p:grpSpPr>
                <a:xfrm>
                  <a:off x="9244017" y="4047030"/>
                  <a:ext cx="658452" cy="624853"/>
                  <a:chOff x="9244017" y="4047030"/>
                  <a:chExt cx="658452" cy="624853"/>
                </a:xfrm>
                <a:solidFill>
                  <a:srgbClr val="FFFFFF"/>
                </a:solidFill>
              </p:grpSpPr>
              <p:sp>
                <p:nvSpPr>
                  <p:cNvPr id="1562" name="Forme libre : forme 1561">
                    <a:extLst>
                      <a:ext uri="{FF2B5EF4-FFF2-40B4-BE49-F238E27FC236}">
                        <a16:creationId xmlns:a16="http://schemas.microsoft.com/office/drawing/2014/main" id="{7409929B-179D-ECDE-BE3C-EF390809F2FB}"/>
                      </a:ext>
                    </a:extLst>
                  </p:cNvPr>
                  <p:cNvSpPr/>
                  <p:nvPr/>
                </p:nvSpPr>
                <p:spPr>
                  <a:xfrm>
                    <a:off x="9803164" y="4607910"/>
                    <a:ext cx="99305" cy="30576"/>
                  </a:xfrm>
                  <a:custGeom>
                    <a:avLst/>
                    <a:gdLst>
                      <a:gd name="connsiteX0" fmla="*/ 98276 w 99305"/>
                      <a:gd name="connsiteY0" fmla="*/ 5227 h 30576"/>
                      <a:gd name="connsiteX1" fmla="*/ 78894 w 99305"/>
                      <a:gd name="connsiteY1" fmla="*/ 3359 h 30576"/>
                      <a:gd name="connsiteX2" fmla="*/ 72969 w 99305"/>
                      <a:gd name="connsiteY2" fmla="*/ 1281 h 30576"/>
                      <a:gd name="connsiteX3" fmla="*/ 61328 w 99305"/>
                      <a:gd name="connsiteY3" fmla="*/ 1915 h 30576"/>
                      <a:gd name="connsiteX4" fmla="*/ 1194 w 99305"/>
                      <a:gd name="connsiteY4" fmla="*/ 27073 h 30576"/>
                      <a:gd name="connsiteX5" fmla="*/ 2139 w 99305"/>
                      <a:gd name="connsiteY5" fmla="*/ 30519 h 30576"/>
                      <a:gd name="connsiteX6" fmla="*/ 35918 w 99305"/>
                      <a:gd name="connsiteY6" fmla="*/ 26736 h 30576"/>
                      <a:gd name="connsiteX7" fmla="*/ 70331 w 99305"/>
                      <a:gd name="connsiteY7" fmla="*/ 21285 h 30576"/>
                      <a:gd name="connsiteX8" fmla="*/ 78251 w 99305"/>
                      <a:gd name="connsiteY8" fmla="*/ 19261 h 30576"/>
                      <a:gd name="connsiteX9" fmla="*/ 79650 w 99305"/>
                      <a:gd name="connsiteY9" fmla="*/ 16186 h 30576"/>
                      <a:gd name="connsiteX10" fmla="*/ 87962 w 99305"/>
                      <a:gd name="connsiteY10" fmla="*/ 16186 h 30576"/>
                      <a:gd name="connsiteX11" fmla="*/ 98442 w 99305"/>
                      <a:gd name="connsiteY11" fmla="*/ 14424 h 30576"/>
                      <a:gd name="connsiteX12" fmla="*/ 98276 w 99305"/>
                      <a:gd name="connsiteY12" fmla="*/ 5227 h 3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305" h="30576">
                        <a:moveTo>
                          <a:pt x="98276" y="5227"/>
                        </a:moveTo>
                        <a:cubicBezTo>
                          <a:pt x="96680" y="1769"/>
                          <a:pt x="81803" y="3693"/>
                          <a:pt x="78894" y="3359"/>
                        </a:cubicBezTo>
                        <a:cubicBezTo>
                          <a:pt x="77497" y="-641"/>
                          <a:pt x="75102" y="-709"/>
                          <a:pt x="72969" y="1281"/>
                        </a:cubicBezTo>
                        <a:cubicBezTo>
                          <a:pt x="72332" y="1875"/>
                          <a:pt x="63689" y="2317"/>
                          <a:pt x="61328" y="1915"/>
                        </a:cubicBezTo>
                        <a:cubicBezTo>
                          <a:pt x="35875" y="-7"/>
                          <a:pt x="22800" y="18775"/>
                          <a:pt x="1194" y="27073"/>
                        </a:cubicBezTo>
                        <a:cubicBezTo>
                          <a:pt x="-899" y="27713"/>
                          <a:pt x="-22" y="31053"/>
                          <a:pt x="2139" y="30519"/>
                        </a:cubicBezTo>
                        <a:cubicBezTo>
                          <a:pt x="13272" y="28052"/>
                          <a:pt x="24634" y="28024"/>
                          <a:pt x="35918" y="26736"/>
                        </a:cubicBezTo>
                        <a:cubicBezTo>
                          <a:pt x="47613" y="25814"/>
                          <a:pt x="58684" y="22110"/>
                          <a:pt x="70331" y="21285"/>
                        </a:cubicBezTo>
                        <a:cubicBezTo>
                          <a:pt x="72772" y="20560"/>
                          <a:pt x="78040" y="22659"/>
                          <a:pt x="78251" y="19261"/>
                        </a:cubicBezTo>
                        <a:cubicBezTo>
                          <a:pt x="78254" y="18327"/>
                          <a:pt x="78565" y="16129"/>
                          <a:pt x="79650" y="16186"/>
                        </a:cubicBezTo>
                        <a:cubicBezTo>
                          <a:pt x="82417" y="16583"/>
                          <a:pt x="85264" y="16026"/>
                          <a:pt x="87962" y="16186"/>
                        </a:cubicBezTo>
                        <a:cubicBezTo>
                          <a:pt x="89598" y="15934"/>
                          <a:pt x="97316" y="16288"/>
                          <a:pt x="98442" y="14424"/>
                        </a:cubicBezTo>
                        <a:cubicBezTo>
                          <a:pt x="100229" y="11697"/>
                          <a:pt x="98767" y="6694"/>
                          <a:pt x="98276" y="5227"/>
                        </a:cubicBezTo>
                        <a:close/>
                      </a:path>
                    </a:pathLst>
                  </a:custGeom>
                  <a:solidFill>
                    <a:srgbClr val="FFFFFF"/>
                  </a:solidFill>
                  <a:ln w="2826" cap="flat">
                    <a:noFill/>
                    <a:prstDash val="solid"/>
                    <a:miter/>
                  </a:ln>
                </p:spPr>
                <p:txBody>
                  <a:bodyPr rtlCol="0" anchor="ctr"/>
                  <a:lstStyle/>
                  <a:p>
                    <a:endParaRPr lang="fr-CA"/>
                  </a:p>
                </p:txBody>
              </p:sp>
              <p:sp>
                <p:nvSpPr>
                  <p:cNvPr id="1563" name="Forme libre : forme 1562">
                    <a:extLst>
                      <a:ext uri="{FF2B5EF4-FFF2-40B4-BE49-F238E27FC236}">
                        <a16:creationId xmlns:a16="http://schemas.microsoft.com/office/drawing/2014/main" id="{4F07C63B-A9A1-73CE-404B-11C72D9CA5C3}"/>
                      </a:ext>
                    </a:extLst>
                  </p:cNvPr>
                  <p:cNvSpPr/>
                  <p:nvPr/>
                </p:nvSpPr>
                <p:spPr>
                  <a:xfrm>
                    <a:off x="9749693" y="4363125"/>
                    <a:ext cx="84061" cy="231562"/>
                  </a:xfrm>
                  <a:custGeom>
                    <a:avLst/>
                    <a:gdLst>
                      <a:gd name="connsiteX0" fmla="*/ 84029 w 84061"/>
                      <a:gd name="connsiteY0" fmla="*/ 229370 h 231562"/>
                      <a:gd name="connsiteX1" fmla="*/ 36299 w 84061"/>
                      <a:gd name="connsiteY1" fmla="*/ 32528 h 231562"/>
                      <a:gd name="connsiteX2" fmla="*/ 11320 w 84061"/>
                      <a:gd name="connsiteY2" fmla="*/ 0 h 231562"/>
                      <a:gd name="connsiteX3" fmla="*/ 9224 w 84061"/>
                      <a:gd name="connsiteY3" fmla="*/ 10271 h 231562"/>
                      <a:gd name="connsiteX4" fmla="*/ 9650 w 84061"/>
                      <a:gd name="connsiteY4" fmla="*/ 16504 h 231562"/>
                      <a:gd name="connsiteX5" fmla="*/ 19349 w 84061"/>
                      <a:gd name="connsiteY5" fmla="*/ 28839 h 231562"/>
                      <a:gd name="connsiteX6" fmla="*/ 51581 w 84061"/>
                      <a:gd name="connsiteY6" fmla="*/ 145680 h 231562"/>
                      <a:gd name="connsiteX7" fmla="*/ 48306 w 84061"/>
                      <a:gd name="connsiteY7" fmla="*/ 146225 h 231562"/>
                      <a:gd name="connsiteX8" fmla="*/ 12876 w 84061"/>
                      <a:gd name="connsiteY8" fmla="*/ 142165 h 231562"/>
                      <a:gd name="connsiteX9" fmla="*/ 12702 w 84061"/>
                      <a:gd name="connsiteY9" fmla="*/ 132862 h 231562"/>
                      <a:gd name="connsiteX10" fmla="*/ 14290 w 84061"/>
                      <a:gd name="connsiteY10" fmla="*/ 128839 h 231562"/>
                      <a:gd name="connsiteX11" fmla="*/ 12868 w 84061"/>
                      <a:gd name="connsiteY11" fmla="*/ 124048 h 231562"/>
                      <a:gd name="connsiteX12" fmla="*/ 9890 w 84061"/>
                      <a:gd name="connsiteY12" fmla="*/ 117021 h 231562"/>
                      <a:gd name="connsiteX13" fmla="*/ 2788 w 84061"/>
                      <a:gd name="connsiteY13" fmla="*/ 110465 h 231562"/>
                      <a:gd name="connsiteX14" fmla="*/ 781 w 84061"/>
                      <a:gd name="connsiteY14" fmla="*/ 112141 h 231562"/>
                      <a:gd name="connsiteX15" fmla="*/ 7 w 84061"/>
                      <a:gd name="connsiteY15" fmla="*/ 130878 h 231562"/>
                      <a:gd name="connsiteX16" fmla="*/ 11212 w 84061"/>
                      <a:gd name="connsiteY16" fmla="*/ 155834 h 231562"/>
                      <a:gd name="connsiteX17" fmla="*/ 4367 w 84061"/>
                      <a:gd name="connsiteY17" fmla="*/ 168266 h 231562"/>
                      <a:gd name="connsiteX18" fmla="*/ 4270 w 84061"/>
                      <a:gd name="connsiteY18" fmla="*/ 199603 h 231562"/>
                      <a:gd name="connsiteX19" fmla="*/ 16837 w 84061"/>
                      <a:gd name="connsiteY19" fmla="*/ 218648 h 231562"/>
                      <a:gd name="connsiteX20" fmla="*/ 19744 w 84061"/>
                      <a:gd name="connsiteY20" fmla="*/ 216958 h 231562"/>
                      <a:gd name="connsiteX21" fmla="*/ 17282 w 84061"/>
                      <a:gd name="connsiteY21" fmla="*/ 190475 h 231562"/>
                      <a:gd name="connsiteX22" fmla="*/ 19409 w 84061"/>
                      <a:gd name="connsiteY22" fmla="*/ 159029 h 231562"/>
                      <a:gd name="connsiteX23" fmla="*/ 19361 w 84061"/>
                      <a:gd name="connsiteY23" fmla="*/ 158823 h 231562"/>
                      <a:gd name="connsiteX24" fmla="*/ 33386 w 84061"/>
                      <a:gd name="connsiteY24" fmla="*/ 160608 h 231562"/>
                      <a:gd name="connsiteX25" fmla="*/ 53380 w 84061"/>
                      <a:gd name="connsiteY25" fmla="*/ 163118 h 231562"/>
                      <a:gd name="connsiteX26" fmla="*/ 55510 w 84061"/>
                      <a:gd name="connsiteY26" fmla="*/ 163440 h 231562"/>
                      <a:gd name="connsiteX27" fmla="*/ 74469 w 84061"/>
                      <a:gd name="connsiteY27" fmla="*/ 231398 h 231562"/>
                      <a:gd name="connsiteX28" fmla="*/ 84029 w 84061"/>
                      <a:gd name="connsiteY28" fmla="*/ 229370 h 23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4061" h="231562">
                        <a:moveTo>
                          <a:pt x="84029" y="229370"/>
                        </a:moveTo>
                        <a:cubicBezTo>
                          <a:pt x="68013" y="163475"/>
                          <a:pt x="52828" y="98632"/>
                          <a:pt x="36299" y="32528"/>
                        </a:cubicBezTo>
                        <a:cubicBezTo>
                          <a:pt x="31862" y="14183"/>
                          <a:pt x="27639" y="7984"/>
                          <a:pt x="11320" y="0"/>
                        </a:cubicBezTo>
                        <a:cubicBezTo>
                          <a:pt x="9233" y="1436"/>
                          <a:pt x="9953" y="7627"/>
                          <a:pt x="9224" y="10271"/>
                        </a:cubicBezTo>
                        <a:cubicBezTo>
                          <a:pt x="9333" y="11867"/>
                          <a:pt x="7880" y="15610"/>
                          <a:pt x="9650" y="16504"/>
                        </a:cubicBezTo>
                        <a:cubicBezTo>
                          <a:pt x="13416" y="18631"/>
                          <a:pt x="16680" y="22783"/>
                          <a:pt x="19349" y="28839"/>
                        </a:cubicBezTo>
                        <a:cubicBezTo>
                          <a:pt x="34820" y="66261"/>
                          <a:pt x="42995" y="106210"/>
                          <a:pt x="51581" y="145680"/>
                        </a:cubicBezTo>
                        <a:cubicBezTo>
                          <a:pt x="50456" y="145806"/>
                          <a:pt x="48046" y="145249"/>
                          <a:pt x="48306" y="146225"/>
                        </a:cubicBezTo>
                        <a:cubicBezTo>
                          <a:pt x="40959" y="145092"/>
                          <a:pt x="19838" y="144769"/>
                          <a:pt x="12876" y="142165"/>
                        </a:cubicBezTo>
                        <a:cubicBezTo>
                          <a:pt x="12816" y="139116"/>
                          <a:pt x="12388" y="135809"/>
                          <a:pt x="12702" y="132862"/>
                        </a:cubicBezTo>
                        <a:cubicBezTo>
                          <a:pt x="12814" y="131986"/>
                          <a:pt x="14550" y="130592"/>
                          <a:pt x="14290" y="128839"/>
                        </a:cubicBezTo>
                        <a:cubicBezTo>
                          <a:pt x="13833" y="127263"/>
                          <a:pt x="14681" y="124850"/>
                          <a:pt x="12868" y="124048"/>
                        </a:cubicBezTo>
                        <a:cubicBezTo>
                          <a:pt x="11055" y="123243"/>
                          <a:pt x="10681" y="119065"/>
                          <a:pt x="9890" y="117021"/>
                        </a:cubicBezTo>
                        <a:cubicBezTo>
                          <a:pt x="9236" y="111944"/>
                          <a:pt x="5938" y="110856"/>
                          <a:pt x="2788" y="110465"/>
                        </a:cubicBezTo>
                        <a:cubicBezTo>
                          <a:pt x="1792" y="110322"/>
                          <a:pt x="818" y="111133"/>
                          <a:pt x="781" y="112141"/>
                        </a:cubicBezTo>
                        <a:cubicBezTo>
                          <a:pt x="861" y="116573"/>
                          <a:pt x="-93" y="122283"/>
                          <a:pt x="7" y="130878"/>
                        </a:cubicBezTo>
                        <a:cubicBezTo>
                          <a:pt x="167" y="144398"/>
                          <a:pt x="14047" y="145412"/>
                          <a:pt x="11212" y="155834"/>
                        </a:cubicBezTo>
                        <a:cubicBezTo>
                          <a:pt x="11155" y="156053"/>
                          <a:pt x="6906" y="165373"/>
                          <a:pt x="4367" y="168266"/>
                        </a:cubicBezTo>
                        <a:cubicBezTo>
                          <a:pt x="2583" y="178519"/>
                          <a:pt x="4019" y="189236"/>
                          <a:pt x="4270" y="199603"/>
                        </a:cubicBezTo>
                        <a:cubicBezTo>
                          <a:pt x="4330" y="207227"/>
                          <a:pt x="10632" y="212826"/>
                          <a:pt x="16837" y="218648"/>
                        </a:cubicBezTo>
                        <a:cubicBezTo>
                          <a:pt x="18050" y="219722"/>
                          <a:pt x="20086" y="218549"/>
                          <a:pt x="19744" y="216958"/>
                        </a:cubicBezTo>
                        <a:cubicBezTo>
                          <a:pt x="17899" y="206736"/>
                          <a:pt x="17117" y="198321"/>
                          <a:pt x="17282" y="190475"/>
                        </a:cubicBezTo>
                        <a:cubicBezTo>
                          <a:pt x="17485" y="180478"/>
                          <a:pt x="19535" y="169097"/>
                          <a:pt x="19409" y="159029"/>
                        </a:cubicBezTo>
                        <a:cubicBezTo>
                          <a:pt x="19398" y="158957"/>
                          <a:pt x="19375" y="158892"/>
                          <a:pt x="19361" y="158823"/>
                        </a:cubicBezTo>
                        <a:cubicBezTo>
                          <a:pt x="24058" y="159406"/>
                          <a:pt x="28775" y="160011"/>
                          <a:pt x="33386" y="160608"/>
                        </a:cubicBezTo>
                        <a:cubicBezTo>
                          <a:pt x="39937" y="161456"/>
                          <a:pt x="46709" y="162330"/>
                          <a:pt x="53380" y="163118"/>
                        </a:cubicBezTo>
                        <a:cubicBezTo>
                          <a:pt x="53577" y="163140"/>
                          <a:pt x="54445" y="163283"/>
                          <a:pt x="55510" y="163440"/>
                        </a:cubicBezTo>
                        <a:cubicBezTo>
                          <a:pt x="60755" y="186626"/>
                          <a:pt x="66546" y="209483"/>
                          <a:pt x="74469" y="231398"/>
                        </a:cubicBezTo>
                        <a:cubicBezTo>
                          <a:pt x="77296" y="230515"/>
                          <a:pt x="84614" y="233348"/>
                          <a:pt x="84029" y="229370"/>
                        </a:cubicBezTo>
                        <a:close/>
                      </a:path>
                    </a:pathLst>
                  </a:custGeom>
                  <a:solidFill>
                    <a:srgbClr val="FFFFFF"/>
                  </a:solidFill>
                  <a:ln w="2826" cap="flat">
                    <a:noFill/>
                    <a:prstDash val="solid"/>
                    <a:miter/>
                  </a:ln>
                </p:spPr>
                <p:txBody>
                  <a:bodyPr rtlCol="0" anchor="ctr"/>
                  <a:lstStyle/>
                  <a:p>
                    <a:endParaRPr lang="fr-CA"/>
                  </a:p>
                </p:txBody>
              </p:sp>
              <p:sp>
                <p:nvSpPr>
                  <p:cNvPr id="1564" name="Forme libre : forme 1563">
                    <a:extLst>
                      <a:ext uri="{FF2B5EF4-FFF2-40B4-BE49-F238E27FC236}">
                        <a16:creationId xmlns:a16="http://schemas.microsoft.com/office/drawing/2014/main" id="{4B3C6292-8AAF-AFB0-CB86-B991BA226B2A}"/>
                      </a:ext>
                    </a:extLst>
                  </p:cNvPr>
                  <p:cNvSpPr/>
                  <p:nvPr/>
                </p:nvSpPr>
                <p:spPr>
                  <a:xfrm>
                    <a:off x="9713775" y="4233475"/>
                    <a:ext cx="18362" cy="41447"/>
                  </a:xfrm>
                  <a:custGeom>
                    <a:avLst/>
                    <a:gdLst>
                      <a:gd name="connsiteX0" fmla="*/ 16512 w 18362"/>
                      <a:gd name="connsiteY0" fmla="*/ 11873 h 41447"/>
                      <a:gd name="connsiteX1" fmla="*/ 2024 w 18362"/>
                      <a:gd name="connsiteY1" fmla="*/ 0 h 41447"/>
                      <a:gd name="connsiteX2" fmla="*/ 727 w 18362"/>
                      <a:gd name="connsiteY2" fmla="*/ 7201 h 41447"/>
                      <a:gd name="connsiteX3" fmla="*/ 2855 w 18362"/>
                      <a:gd name="connsiteY3" fmla="*/ 17772 h 41447"/>
                      <a:gd name="connsiteX4" fmla="*/ 5316 w 18362"/>
                      <a:gd name="connsiteY4" fmla="*/ 30749 h 41447"/>
                      <a:gd name="connsiteX5" fmla="*/ 6752 w 18362"/>
                      <a:gd name="connsiteY5" fmla="*/ 36035 h 41447"/>
                      <a:gd name="connsiteX6" fmla="*/ 15578 w 18362"/>
                      <a:gd name="connsiteY6" fmla="*/ 41146 h 41447"/>
                      <a:gd name="connsiteX7" fmla="*/ 18359 w 18362"/>
                      <a:gd name="connsiteY7" fmla="*/ 39598 h 41447"/>
                      <a:gd name="connsiteX8" fmla="*/ 16512 w 18362"/>
                      <a:gd name="connsiteY8" fmla="*/ 11873 h 4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2" h="41447">
                        <a:moveTo>
                          <a:pt x="16512" y="11873"/>
                        </a:moveTo>
                        <a:cubicBezTo>
                          <a:pt x="15335" y="-2296"/>
                          <a:pt x="15832" y="2927"/>
                          <a:pt x="2024" y="0"/>
                        </a:cubicBezTo>
                        <a:cubicBezTo>
                          <a:pt x="-1697" y="69"/>
                          <a:pt x="882" y="4977"/>
                          <a:pt x="727" y="7201"/>
                        </a:cubicBezTo>
                        <a:cubicBezTo>
                          <a:pt x="1159" y="10699"/>
                          <a:pt x="1601" y="14314"/>
                          <a:pt x="2855" y="17772"/>
                        </a:cubicBezTo>
                        <a:cubicBezTo>
                          <a:pt x="4308" y="21789"/>
                          <a:pt x="4819" y="26343"/>
                          <a:pt x="5316" y="30749"/>
                        </a:cubicBezTo>
                        <a:cubicBezTo>
                          <a:pt x="5759" y="32437"/>
                          <a:pt x="5102" y="34964"/>
                          <a:pt x="6752" y="36035"/>
                        </a:cubicBezTo>
                        <a:cubicBezTo>
                          <a:pt x="9856" y="37591"/>
                          <a:pt x="12826" y="39312"/>
                          <a:pt x="15578" y="41146"/>
                        </a:cubicBezTo>
                        <a:cubicBezTo>
                          <a:pt x="16726" y="41962"/>
                          <a:pt x="18451" y="41011"/>
                          <a:pt x="18359" y="39598"/>
                        </a:cubicBezTo>
                        <a:cubicBezTo>
                          <a:pt x="18065" y="30458"/>
                          <a:pt x="17460" y="21389"/>
                          <a:pt x="16512" y="11873"/>
                        </a:cubicBezTo>
                        <a:close/>
                      </a:path>
                    </a:pathLst>
                  </a:custGeom>
                  <a:solidFill>
                    <a:srgbClr val="FFFFFF"/>
                  </a:solidFill>
                  <a:ln w="2826" cap="flat">
                    <a:noFill/>
                    <a:prstDash val="solid"/>
                    <a:miter/>
                  </a:ln>
                </p:spPr>
                <p:txBody>
                  <a:bodyPr rtlCol="0" anchor="ctr"/>
                  <a:lstStyle/>
                  <a:p>
                    <a:endParaRPr lang="fr-CA"/>
                  </a:p>
                </p:txBody>
              </p:sp>
              <p:sp>
                <p:nvSpPr>
                  <p:cNvPr id="1565" name="Forme libre : forme 1564">
                    <a:extLst>
                      <a:ext uri="{FF2B5EF4-FFF2-40B4-BE49-F238E27FC236}">
                        <a16:creationId xmlns:a16="http://schemas.microsoft.com/office/drawing/2014/main" id="{D7F8662F-111C-E207-5FEE-9B5196EDCF0D}"/>
                      </a:ext>
                    </a:extLst>
                  </p:cNvPr>
                  <p:cNvSpPr/>
                  <p:nvPr/>
                </p:nvSpPr>
                <p:spPr>
                  <a:xfrm>
                    <a:off x="9589387" y="4334887"/>
                    <a:ext cx="49997" cy="28265"/>
                  </a:xfrm>
                  <a:custGeom>
                    <a:avLst/>
                    <a:gdLst>
                      <a:gd name="connsiteX0" fmla="*/ 49053 w 49997"/>
                      <a:gd name="connsiteY0" fmla="*/ 18810 h 28265"/>
                      <a:gd name="connsiteX1" fmla="*/ 23537 w 49997"/>
                      <a:gd name="connsiteY1" fmla="*/ 4944 h 28265"/>
                      <a:gd name="connsiteX2" fmla="*/ 6359 w 49997"/>
                      <a:gd name="connsiteY2" fmla="*/ 279 h 28265"/>
                      <a:gd name="connsiteX3" fmla="*/ 0 w 49997"/>
                      <a:gd name="connsiteY3" fmla="*/ 2480 h 28265"/>
                      <a:gd name="connsiteX4" fmla="*/ 2008 w 49997"/>
                      <a:gd name="connsiteY4" fmla="*/ 26562 h 28265"/>
                      <a:gd name="connsiteX5" fmla="*/ 4406 w 49997"/>
                      <a:gd name="connsiteY5" fmla="*/ 28153 h 28265"/>
                      <a:gd name="connsiteX6" fmla="*/ 48153 w 49997"/>
                      <a:gd name="connsiteY6" fmla="*/ 22188 h 28265"/>
                      <a:gd name="connsiteX7" fmla="*/ 49053 w 49997"/>
                      <a:gd name="connsiteY7" fmla="*/ 18810 h 2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7" h="28265">
                        <a:moveTo>
                          <a:pt x="49053" y="18810"/>
                        </a:moveTo>
                        <a:cubicBezTo>
                          <a:pt x="41720" y="15612"/>
                          <a:pt x="32317" y="6855"/>
                          <a:pt x="23537" y="4944"/>
                        </a:cubicBezTo>
                        <a:cubicBezTo>
                          <a:pt x="21478" y="4496"/>
                          <a:pt x="8589" y="1232"/>
                          <a:pt x="6359" y="279"/>
                        </a:cubicBezTo>
                        <a:cubicBezTo>
                          <a:pt x="4483" y="7"/>
                          <a:pt x="-54" y="-766"/>
                          <a:pt x="0" y="2480"/>
                        </a:cubicBezTo>
                        <a:cubicBezTo>
                          <a:pt x="509" y="4508"/>
                          <a:pt x="1982" y="19467"/>
                          <a:pt x="2008" y="26562"/>
                        </a:cubicBezTo>
                        <a:cubicBezTo>
                          <a:pt x="2039" y="27727"/>
                          <a:pt x="3324" y="28581"/>
                          <a:pt x="4406" y="28153"/>
                        </a:cubicBezTo>
                        <a:cubicBezTo>
                          <a:pt x="17138" y="23518"/>
                          <a:pt x="31855" y="21511"/>
                          <a:pt x="48153" y="22188"/>
                        </a:cubicBezTo>
                        <a:cubicBezTo>
                          <a:pt x="49992" y="22325"/>
                          <a:pt x="50746" y="19615"/>
                          <a:pt x="49053" y="18810"/>
                        </a:cubicBezTo>
                        <a:close/>
                      </a:path>
                    </a:pathLst>
                  </a:custGeom>
                  <a:solidFill>
                    <a:srgbClr val="FFFFFF"/>
                  </a:solidFill>
                  <a:ln w="2826" cap="flat">
                    <a:noFill/>
                    <a:prstDash val="solid"/>
                    <a:miter/>
                  </a:ln>
                </p:spPr>
                <p:txBody>
                  <a:bodyPr rtlCol="0" anchor="ctr"/>
                  <a:lstStyle/>
                  <a:p>
                    <a:endParaRPr lang="fr-CA"/>
                  </a:p>
                </p:txBody>
              </p:sp>
              <p:sp>
                <p:nvSpPr>
                  <p:cNvPr id="1566" name="Forme libre : forme 1565">
                    <a:extLst>
                      <a:ext uri="{FF2B5EF4-FFF2-40B4-BE49-F238E27FC236}">
                        <a16:creationId xmlns:a16="http://schemas.microsoft.com/office/drawing/2014/main" id="{2DAD0905-9B8D-1221-E188-EF178F28751D}"/>
                      </a:ext>
                    </a:extLst>
                  </p:cNvPr>
                  <p:cNvSpPr/>
                  <p:nvPr/>
                </p:nvSpPr>
                <p:spPr>
                  <a:xfrm>
                    <a:off x="9353480" y="4249836"/>
                    <a:ext cx="277241" cy="422047"/>
                  </a:xfrm>
                  <a:custGeom>
                    <a:avLst/>
                    <a:gdLst>
                      <a:gd name="connsiteX0" fmla="*/ 276781 w 277241"/>
                      <a:gd name="connsiteY0" fmla="*/ 380062 h 422047"/>
                      <a:gd name="connsiteX1" fmla="*/ 270220 w 277241"/>
                      <a:gd name="connsiteY1" fmla="*/ 376233 h 422047"/>
                      <a:gd name="connsiteX2" fmla="*/ 252916 w 277241"/>
                      <a:gd name="connsiteY2" fmla="*/ 375939 h 422047"/>
                      <a:gd name="connsiteX3" fmla="*/ 248945 w 277241"/>
                      <a:gd name="connsiteY3" fmla="*/ 374482 h 422047"/>
                      <a:gd name="connsiteX4" fmla="*/ 216291 w 277241"/>
                      <a:gd name="connsiteY4" fmla="*/ 379245 h 422047"/>
                      <a:gd name="connsiteX5" fmla="*/ 212713 w 277241"/>
                      <a:gd name="connsiteY5" fmla="*/ 378817 h 422047"/>
                      <a:gd name="connsiteX6" fmla="*/ 175822 w 277241"/>
                      <a:gd name="connsiteY6" fmla="*/ 189350 h 422047"/>
                      <a:gd name="connsiteX7" fmla="*/ 126304 w 277241"/>
                      <a:gd name="connsiteY7" fmla="*/ 148199 h 422047"/>
                      <a:gd name="connsiteX8" fmla="*/ 125542 w 277241"/>
                      <a:gd name="connsiteY8" fmla="*/ 130373 h 422047"/>
                      <a:gd name="connsiteX9" fmla="*/ 141629 w 277241"/>
                      <a:gd name="connsiteY9" fmla="*/ 126672 h 422047"/>
                      <a:gd name="connsiteX10" fmla="*/ 141860 w 277241"/>
                      <a:gd name="connsiteY10" fmla="*/ 123800 h 422047"/>
                      <a:gd name="connsiteX11" fmla="*/ 140650 w 277241"/>
                      <a:gd name="connsiteY11" fmla="*/ 119220 h 422047"/>
                      <a:gd name="connsiteX12" fmla="*/ 130619 w 277241"/>
                      <a:gd name="connsiteY12" fmla="*/ 112076 h 422047"/>
                      <a:gd name="connsiteX13" fmla="*/ 124840 w 277241"/>
                      <a:gd name="connsiteY13" fmla="*/ 110742 h 422047"/>
                      <a:gd name="connsiteX14" fmla="*/ 123960 w 277241"/>
                      <a:gd name="connsiteY14" fmla="*/ 2479 h 422047"/>
                      <a:gd name="connsiteX15" fmla="*/ 122173 w 277241"/>
                      <a:gd name="connsiteY15" fmla="*/ 440 h 422047"/>
                      <a:gd name="connsiteX16" fmla="*/ 110334 w 277241"/>
                      <a:gd name="connsiteY16" fmla="*/ 12 h 422047"/>
                      <a:gd name="connsiteX17" fmla="*/ 108364 w 277241"/>
                      <a:gd name="connsiteY17" fmla="*/ 1833 h 422047"/>
                      <a:gd name="connsiteX18" fmla="*/ 108250 w 277241"/>
                      <a:gd name="connsiteY18" fmla="*/ 83676 h 422047"/>
                      <a:gd name="connsiteX19" fmla="*/ 106031 w 277241"/>
                      <a:gd name="connsiteY19" fmla="*/ 118120 h 422047"/>
                      <a:gd name="connsiteX20" fmla="*/ 12268 w 277241"/>
                      <a:gd name="connsiteY20" fmla="*/ 103370 h 422047"/>
                      <a:gd name="connsiteX21" fmla="*/ 11991 w 277241"/>
                      <a:gd name="connsiteY21" fmla="*/ 105183 h 422047"/>
                      <a:gd name="connsiteX22" fmla="*/ 20879 w 277241"/>
                      <a:gd name="connsiteY22" fmla="*/ 128377 h 422047"/>
                      <a:gd name="connsiteX23" fmla="*/ 26447 w 277241"/>
                      <a:gd name="connsiteY23" fmla="*/ 150849 h 422047"/>
                      <a:gd name="connsiteX24" fmla="*/ 27981 w 277241"/>
                      <a:gd name="connsiteY24" fmla="*/ 152216 h 422047"/>
                      <a:gd name="connsiteX25" fmla="*/ 83417 w 277241"/>
                      <a:gd name="connsiteY25" fmla="*/ 157807 h 422047"/>
                      <a:gd name="connsiteX26" fmla="*/ 88742 w 277241"/>
                      <a:gd name="connsiteY26" fmla="*/ 158841 h 422047"/>
                      <a:gd name="connsiteX27" fmla="*/ 109158 w 277241"/>
                      <a:gd name="connsiteY27" fmla="*/ 159871 h 422047"/>
                      <a:gd name="connsiteX28" fmla="*/ 113007 w 277241"/>
                      <a:gd name="connsiteY28" fmla="*/ 282286 h 422047"/>
                      <a:gd name="connsiteX29" fmla="*/ 97523 w 277241"/>
                      <a:gd name="connsiteY29" fmla="*/ 286086 h 422047"/>
                      <a:gd name="connsiteX30" fmla="*/ 92429 w 277241"/>
                      <a:gd name="connsiteY30" fmla="*/ 294370 h 422047"/>
                      <a:gd name="connsiteX31" fmla="*/ 52588 w 277241"/>
                      <a:gd name="connsiteY31" fmla="*/ 321199 h 422047"/>
                      <a:gd name="connsiteX32" fmla="*/ 41692 w 277241"/>
                      <a:gd name="connsiteY32" fmla="*/ 343962 h 422047"/>
                      <a:gd name="connsiteX33" fmla="*/ 25591 w 277241"/>
                      <a:gd name="connsiteY33" fmla="*/ 345883 h 422047"/>
                      <a:gd name="connsiteX34" fmla="*/ 244 w 277241"/>
                      <a:gd name="connsiteY34" fmla="*/ 359734 h 422047"/>
                      <a:gd name="connsiteX35" fmla="*/ 1546 w 277241"/>
                      <a:gd name="connsiteY35" fmla="*/ 362410 h 422047"/>
                      <a:gd name="connsiteX36" fmla="*/ 16391 w 277241"/>
                      <a:gd name="connsiteY36" fmla="*/ 364908 h 422047"/>
                      <a:gd name="connsiteX37" fmla="*/ 44627 w 277241"/>
                      <a:gd name="connsiteY37" fmla="*/ 366310 h 422047"/>
                      <a:gd name="connsiteX38" fmla="*/ 54472 w 277241"/>
                      <a:gd name="connsiteY38" fmla="*/ 358838 h 422047"/>
                      <a:gd name="connsiteX39" fmla="*/ 64775 w 277241"/>
                      <a:gd name="connsiteY39" fmla="*/ 332118 h 422047"/>
                      <a:gd name="connsiteX40" fmla="*/ 91501 w 277241"/>
                      <a:gd name="connsiteY40" fmla="*/ 310557 h 422047"/>
                      <a:gd name="connsiteX41" fmla="*/ 93448 w 277241"/>
                      <a:gd name="connsiteY41" fmla="*/ 309812 h 422047"/>
                      <a:gd name="connsiteX42" fmla="*/ 94010 w 277241"/>
                      <a:gd name="connsiteY42" fmla="*/ 318900 h 422047"/>
                      <a:gd name="connsiteX43" fmla="*/ 98174 w 277241"/>
                      <a:gd name="connsiteY43" fmla="*/ 325596 h 422047"/>
                      <a:gd name="connsiteX44" fmla="*/ 93614 w 277241"/>
                      <a:gd name="connsiteY44" fmla="*/ 337154 h 422047"/>
                      <a:gd name="connsiteX45" fmla="*/ 61140 w 277241"/>
                      <a:gd name="connsiteY45" fmla="*/ 415939 h 422047"/>
                      <a:gd name="connsiteX46" fmla="*/ 72207 w 277241"/>
                      <a:gd name="connsiteY46" fmla="*/ 417687 h 422047"/>
                      <a:gd name="connsiteX47" fmla="*/ 83863 w 277241"/>
                      <a:gd name="connsiteY47" fmla="*/ 415865 h 422047"/>
                      <a:gd name="connsiteX48" fmla="*/ 113889 w 277241"/>
                      <a:gd name="connsiteY48" fmla="*/ 342474 h 422047"/>
                      <a:gd name="connsiteX49" fmla="*/ 118389 w 277241"/>
                      <a:gd name="connsiteY49" fmla="*/ 316482 h 422047"/>
                      <a:gd name="connsiteX50" fmla="*/ 188317 w 277241"/>
                      <a:gd name="connsiteY50" fmla="*/ 332306 h 422047"/>
                      <a:gd name="connsiteX51" fmla="*/ 192223 w 277241"/>
                      <a:gd name="connsiteY51" fmla="*/ 332751 h 422047"/>
                      <a:gd name="connsiteX52" fmla="*/ 206648 w 277241"/>
                      <a:gd name="connsiteY52" fmla="*/ 413486 h 422047"/>
                      <a:gd name="connsiteX53" fmla="*/ 209718 w 277241"/>
                      <a:gd name="connsiteY53" fmla="*/ 414554 h 422047"/>
                      <a:gd name="connsiteX54" fmla="*/ 215548 w 277241"/>
                      <a:gd name="connsiteY54" fmla="*/ 421764 h 422047"/>
                      <a:gd name="connsiteX55" fmla="*/ 216788 w 277241"/>
                      <a:gd name="connsiteY55" fmla="*/ 414003 h 422047"/>
                      <a:gd name="connsiteX56" fmla="*/ 218198 w 277241"/>
                      <a:gd name="connsiteY56" fmla="*/ 409872 h 422047"/>
                      <a:gd name="connsiteX57" fmla="*/ 220851 w 277241"/>
                      <a:gd name="connsiteY57" fmla="*/ 408407 h 422047"/>
                      <a:gd name="connsiteX58" fmla="*/ 231016 w 277241"/>
                      <a:gd name="connsiteY58" fmla="*/ 407262 h 422047"/>
                      <a:gd name="connsiteX59" fmla="*/ 249427 w 277241"/>
                      <a:gd name="connsiteY59" fmla="*/ 403221 h 422047"/>
                      <a:gd name="connsiteX60" fmla="*/ 259130 w 277241"/>
                      <a:gd name="connsiteY60" fmla="*/ 400175 h 422047"/>
                      <a:gd name="connsiteX61" fmla="*/ 260366 w 277241"/>
                      <a:gd name="connsiteY61" fmla="*/ 398050 h 422047"/>
                      <a:gd name="connsiteX62" fmla="*/ 259032 w 277241"/>
                      <a:gd name="connsiteY62" fmla="*/ 391723 h 422047"/>
                      <a:gd name="connsiteX63" fmla="*/ 271396 w 277241"/>
                      <a:gd name="connsiteY63" fmla="*/ 388913 h 422047"/>
                      <a:gd name="connsiteX64" fmla="*/ 276781 w 277241"/>
                      <a:gd name="connsiteY64" fmla="*/ 380062 h 422047"/>
                      <a:gd name="connsiteX65" fmla="*/ 109803 w 277241"/>
                      <a:gd name="connsiteY65" fmla="*/ 145566 h 422047"/>
                      <a:gd name="connsiteX66" fmla="*/ 106657 w 277241"/>
                      <a:gd name="connsiteY66" fmla="*/ 146137 h 422047"/>
                      <a:gd name="connsiteX67" fmla="*/ 90735 w 277241"/>
                      <a:gd name="connsiteY67" fmla="*/ 144521 h 422047"/>
                      <a:gd name="connsiteX68" fmla="*/ 87831 w 277241"/>
                      <a:gd name="connsiteY68" fmla="*/ 145475 h 422047"/>
                      <a:gd name="connsiteX69" fmla="*/ 84611 w 277241"/>
                      <a:gd name="connsiteY69" fmla="*/ 136260 h 422047"/>
                      <a:gd name="connsiteX70" fmla="*/ 97577 w 277241"/>
                      <a:gd name="connsiteY70" fmla="*/ 137431 h 422047"/>
                      <a:gd name="connsiteX71" fmla="*/ 109484 w 277241"/>
                      <a:gd name="connsiteY71" fmla="*/ 139487 h 422047"/>
                      <a:gd name="connsiteX72" fmla="*/ 109803 w 277241"/>
                      <a:gd name="connsiteY72" fmla="*/ 145566 h 422047"/>
                      <a:gd name="connsiteX73" fmla="*/ 185856 w 277241"/>
                      <a:gd name="connsiteY73" fmla="*/ 312813 h 422047"/>
                      <a:gd name="connsiteX74" fmla="*/ 134328 w 277241"/>
                      <a:gd name="connsiteY74" fmla="*/ 303116 h 422047"/>
                      <a:gd name="connsiteX75" fmla="*/ 131030 w 277241"/>
                      <a:gd name="connsiteY75" fmla="*/ 302927 h 422047"/>
                      <a:gd name="connsiteX76" fmla="*/ 127115 w 277241"/>
                      <a:gd name="connsiteY76" fmla="*/ 162164 h 422047"/>
                      <a:gd name="connsiteX77" fmla="*/ 127107 w 277241"/>
                      <a:gd name="connsiteY77" fmla="*/ 162147 h 422047"/>
                      <a:gd name="connsiteX78" fmla="*/ 127584 w 277241"/>
                      <a:gd name="connsiteY78" fmla="*/ 161950 h 422047"/>
                      <a:gd name="connsiteX79" fmla="*/ 175051 w 277241"/>
                      <a:gd name="connsiteY79" fmla="*/ 244750 h 422047"/>
                      <a:gd name="connsiteX80" fmla="*/ 186038 w 277241"/>
                      <a:gd name="connsiteY80" fmla="*/ 300923 h 422047"/>
                      <a:gd name="connsiteX81" fmla="*/ 188448 w 277241"/>
                      <a:gd name="connsiteY81" fmla="*/ 313278 h 422047"/>
                      <a:gd name="connsiteX82" fmla="*/ 185856 w 277241"/>
                      <a:gd name="connsiteY82" fmla="*/ 312813 h 42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77241" h="422047">
                        <a:moveTo>
                          <a:pt x="276781" y="380062"/>
                        </a:moveTo>
                        <a:cubicBezTo>
                          <a:pt x="275768" y="375976"/>
                          <a:pt x="272024" y="376150"/>
                          <a:pt x="270220" y="376233"/>
                        </a:cubicBezTo>
                        <a:cubicBezTo>
                          <a:pt x="269963" y="376244"/>
                          <a:pt x="258453" y="376541"/>
                          <a:pt x="252916" y="375939"/>
                        </a:cubicBezTo>
                        <a:cubicBezTo>
                          <a:pt x="252282" y="375927"/>
                          <a:pt x="250081" y="374231"/>
                          <a:pt x="248945" y="374482"/>
                        </a:cubicBezTo>
                        <a:cubicBezTo>
                          <a:pt x="228346" y="379194"/>
                          <a:pt x="219517" y="378012"/>
                          <a:pt x="216291" y="379245"/>
                        </a:cubicBezTo>
                        <a:cubicBezTo>
                          <a:pt x="213176" y="380436"/>
                          <a:pt x="212773" y="379165"/>
                          <a:pt x="212713" y="378817"/>
                        </a:cubicBezTo>
                        <a:cubicBezTo>
                          <a:pt x="201340" y="314103"/>
                          <a:pt x="188965" y="250517"/>
                          <a:pt x="175822" y="189350"/>
                        </a:cubicBezTo>
                        <a:cubicBezTo>
                          <a:pt x="170771" y="165753"/>
                          <a:pt x="152422" y="148144"/>
                          <a:pt x="126304" y="148199"/>
                        </a:cubicBezTo>
                        <a:cubicBezTo>
                          <a:pt x="126030" y="142245"/>
                          <a:pt x="125776" y="136303"/>
                          <a:pt x="125542" y="130373"/>
                        </a:cubicBezTo>
                        <a:cubicBezTo>
                          <a:pt x="128409" y="130004"/>
                          <a:pt x="141306" y="127049"/>
                          <a:pt x="141629" y="126672"/>
                        </a:cubicBezTo>
                        <a:cubicBezTo>
                          <a:pt x="142354" y="125867"/>
                          <a:pt x="141943" y="124756"/>
                          <a:pt x="141860" y="123800"/>
                        </a:cubicBezTo>
                        <a:cubicBezTo>
                          <a:pt x="141409" y="122232"/>
                          <a:pt x="142132" y="120205"/>
                          <a:pt x="140650" y="119220"/>
                        </a:cubicBezTo>
                        <a:cubicBezTo>
                          <a:pt x="136921" y="117227"/>
                          <a:pt x="134368" y="113940"/>
                          <a:pt x="130619" y="112076"/>
                        </a:cubicBezTo>
                        <a:cubicBezTo>
                          <a:pt x="128711" y="111042"/>
                          <a:pt x="126324" y="111122"/>
                          <a:pt x="124840" y="110742"/>
                        </a:cubicBezTo>
                        <a:cubicBezTo>
                          <a:pt x="123689" y="74702"/>
                          <a:pt x="123332" y="38882"/>
                          <a:pt x="123960" y="2479"/>
                        </a:cubicBezTo>
                        <a:cubicBezTo>
                          <a:pt x="124134" y="1437"/>
                          <a:pt x="123235" y="403"/>
                          <a:pt x="122173" y="440"/>
                        </a:cubicBezTo>
                        <a:cubicBezTo>
                          <a:pt x="118701" y="471"/>
                          <a:pt x="114578" y="443"/>
                          <a:pt x="110334" y="12"/>
                        </a:cubicBezTo>
                        <a:cubicBezTo>
                          <a:pt x="109295" y="-114"/>
                          <a:pt x="108316" y="786"/>
                          <a:pt x="108364" y="1833"/>
                        </a:cubicBezTo>
                        <a:cubicBezTo>
                          <a:pt x="109110" y="29813"/>
                          <a:pt x="108170" y="56656"/>
                          <a:pt x="108250" y="83676"/>
                        </a:cubicBezTo>
                        <a:cubicBezTo>
                          <a:pt x="107725" y="94995"/>
                          <a:pt x="110229" y="107536"/>
                          <a:pt x="106031" y="118120"/>
                        </a:cubicBezTo>
                        <a:cubicBezTo>
                          <a:pt x="74823" y="112744"/>
                          <a:pt x="43137" y="106822"/>
                          <a:pt x="12268" y="103370"/>
                        </a:cubicBezTo>
                        <a:cubicBezTo>
                          <a:pt x="11848" y="103878"/>
                          <a:pt x="11742" y="104575"/>
                          <a:pt x="11991" y="105183"/>
                        </a:cubicBezTo>
                        <a:cubicBezTo>
                          <a:pt x="15488" y="112507"/>
                          <a:pt x="17105" y="121298"/>
                          <a:pt x="20879" y="128377"/>
                        </a:cubicBezTo>
                        <a:cubicBezTo>
                          <a:pt x="21619" y="135678"/>
                          <a:pt x="25122" y="143159"/>
                          <a:pt x="26447" y="150849"/>
                        </a:cubicBezTo>
                        <a:cubicBezTo>
                          <a:pt x="26621" y="151582"/>
                          <a:pt x="27232" y="152128"/>
                          <a:pt x="27981" y="152216"/>
                        </a:cubicBezTo>
                        <a:cubicBezTo>
                          <a:pt x="46549" y="154398"/>
                          <a:pt x="64863" y="155523"/>
                          <a:pt x="83417" y="157807"/>
                        </a:cubicBezTo>
                        <a:cubicBezTo>
                          <a:pt x="84337" y="157941"/>
                          <a:pt x="87223" y="159012"/>
                          <a:pt x="88742" y="158841"/>
                        </a:cubicBezTo>
                        <a:cubicBezTo>
                          <a:pt x="95267" y="157798"/>
                          <a:pt x="102402" y="158715"/>
                          <a:pt x="109158" y="159871"/>
                        </a:cubicBezTo>
                        <a:cubicBezTo>
                          <a:pt x="112130" y="200563"/>
                          <a:pt x="112239" y="241243"/>
                          <a:pt x="113007" y="282286"/>
                        </a:cubicBezTo>
                        <a:cubicBezTo>
                          <a:pt x="113007" y="282849"/>
                          <a:pt x="107559" y="279396"/>
                          <a:pt x="97523" y="286086"/>
                        </a:cubicBezTo>
                        <a:cubicBezTo>
                          <a:pt x="92040" y="289390"/>
                          <a:pt x="92797" y="287925"/>
                          <a:pt x="92429" y="294370"/>
                        </a:cubicBezTo>
                        <a:cubicBezTo>
                          <a:pt x="70008" y="281823"/>
                          <a:pt x="58284" y="300540"/>
                          <a:pt x="52588" y="321199"/>
                        </a:cubicBezTo>
                        <a:cubicBezTo>
                          <a:pt x="49855" y="329648"/>
                          <a:pt x="47274" y="337628"/>
                          <a:pt x="41692" y="343962"/>
                        </a:cubicBezTo>
                        <a:cubicBezTo>
                          <a:pt x="37629" y="348233"/>
                          <a:pt x="30987" y="346600"/>
                          <a:pt x="25591" y="345883"/>
                        </a:cubicBezTo>
                        <a:cubicBezTo>
                          <a:pt x="3322" y="343342"/>
                          <a:pt x="14560" y="337437"/>
                          <a:pt x="244" y="359734"/>
                        </a:cubicBezTo>
                        <a:cubicBezTo>
                          <a:pt x="-404" y="360782"/>
                          <a:pt x="312" y="362281"/>
                          <a:pt x="1546" y="362410"/>
                        </a:cubicBezTo>
                        <a:cubicBezTo>
                          <a:pt x="6503" y="363084"/>
                          <a:pt x="11528" y="364012"/>
                          <a:pt x="16391" y="364908"/>
                        </a:cubicBezTo>
                        <a:cubicBezTo>
                          <a:pt x="25048" y="365916"/>
                          <a:pt x="35913" y="369114"/>
                          <a:pt x="44627" y="366310"/>
                        </a:cubicBezTo>
                        <a:cubicBezTo>
                          <a:pt x="47968" y="363252"/>
                          <a:pt x="51306" y="362247"/>
                          <a:pt x="54472" y="358838"/>
                        </a:cubicBezTo>
                        <a:cubicBezTo>
                          <a:pt x="58450" y="350112"/>
                          <a:pt x="61565" y="341095"/>
                          <a:pt x="64775" y="332118"/>
                        </a:cubicBezTo>
                        <a:cubicBezTo>
                          <a:pt x="69086" y="317984"/>
                          <a:pt x="74197" y="305517"/>
                          <a:pt x="91501" y="310557"/>
                        </a:cubicBezTo>
                        <a:cubicBezTo>
                          <a:pt x="92226" y="310757"/>
                          <a:pt x="93043" y="310443"/>
                          <a:pt x="93448" y="309812"/>
                        </a:cubicBezTo>
                        <a:cubicBezTo>
                          <a:pt x="93645" y="312850"/>
                          <a:pt x="93771" y="315851"/>
                          <a:pt x="94010" y="318900"/>
                        </a:cubicBezTo>
                        <a:cubicBezTo>
                          <a:pt x="93882" y="321990"/>
                          <a:pt x="94567" y="324959"/>
                          <a:pt x="98174" y="325596"/>
                        </a:cubicBezTo>
                        <a:cubicBezTo>
                          <a:pt x="98719" y="325693"/>
                          <a:pt x="93733" y="336823"/>
                          <a:pt x="93614" y="337154"/>
                        </a:cubicBezTo>
                        <a:cubicBezTo>
                          <a:pt x="83945" y="363832"/>
                          <a:pt x="71279" y="389484"/>
                          <a:pt x="61140" y="415939"/>
                        </a:cubicBezTo>
                        <a:cubicBezTo>
                          <a:pt x="60060" y="420505"/>
                          <a:pt x="69780" y="417355"/>
                          <a:pt x="72207" y="417687"/>
                        </a:cubicBezTo>
                        <a:cubicBezTo>
                          <a:pt x="74677" y="416956"/>
                          <a:pt x="83200" y="417932"/>
                          <a:pt x="83863" y="415865"/>
                        </a:cubicBezTo>
                        <a:cubicBezTo>
                          <a:pt x="93568" y="391318"/>
                          <a:pt x="102562" y="366582"/>
                          <a:pt x="113889" y="342474"/>
                        </a:cubicBezTo>
                        <a:cubicBezTo>
                          <a:pt x="116411" y="335670"/>
                          <a:pt x="118110" y="322946"/>
                          <a:pt x="118389" y="316482"/>
                        </a:cubicBezTo>
                        <a:cubicBezTo>
                          <a:pt x="142603" y="322509"/>
                          <a:pt x="166042" y="326807"/>
                          <a:pt x="188317" y="332306"/>
                        </a:cubicBezTo>
                        <a:cubicBezTo>
                          <a:pt x="188879" y="332455"/>
                          <a:pt x="190590" y="332677"/>
                          <a:pt x="192223" y="332751"/>
                        </a:cubicBezTo>
                        <a:cubicBezTo>
                          <a:pt x="197363" y="359469"/>
                          <a:pt x="202377" y="386583"/>
                          <a:pt x="206648" y="413486"/>
                        </a:cubicBezTo>
                        <a:cubicBezTo>
                          <a:pt x="206782" y="414469"/>
                          <a:pt x="209124" y="414660"/>
                          <a:pt x="209718" y="414554"/>
                        </a:cubicBezTo>
                        <a:cubicBezTo>
                          <a:pt x="210923" y="414340"/>
                          <a:pt x="209615" y="423786"/>
                          <a:pt x="215548" y="421764"/>
                        </a:cubicBezTo>
                        <a:cubicBezTo>
                          <a:pt x="220531" y="420068"/>
                          <a:pt x="216048" y="414197"/>
                          <a:pt x="216788" y="414003"/>
                        </a:cubicBezTo>
                        <a:cubicBezTo>
                          <a:pt x="218095" y="413658"/>
                          <a:pt x="218692" y="412693"/>
                          <a:pt x="218198" y="409872"/>
                        </a:cubicBezTo>
                        <a:cubicBezTo>
                          <a:pt x="218090" y="409258"/>
                          <a:pt x="218835" y="408724"/>
                          <a:pt x="220851" y="408407"/>
                        </a:cubicBezTo>
                        <a:cubicBezTo>
                          <a:pt x="223012" y="408067"/>
                          <a:pt x="228780" y="407973"/>
                          <a:pt x="231016" y="407262"/>
                        </a:cubicBezTo>
                        <a:cubicBezTo>
                          <a:pt x="237123" y="405720"/>
                          <a:pt x="243477" y="404983"/>
                          <a:pt x="249427" y="403221"/>
                        </a:cubicBezTo>
                        <a:cubicBezTo>
                          <a:pt x="252819" y="403339"/>
                          <a:pt x="255957" y="400977"/>
                          <a:pt x="259130" y="400175"/>
                        </a:cubicBezTo>
                        <a:cubicBezTo>
                          <a:pt x="260040" y="399906"/>
                          <a:pt x="260583" y="398976"/>
                          <a:pt x="260366" y="398050"/>
                        </a:cubicBezTo>
                        <a:cubicBezTo>
                          <a:pt x="259692" y="396075"/>
                          <a:pt x="260086" y="393550"/>
                          <a:pt x="259032" y="391723"/>
                        </a:cubicBezTo>
                        <a:cubicBezTo>
                          <a:pt x="261674" y="390735"/>
                          <a:pt x="270899" y="391455"/>
                          <a:pt x="271396" y="388913"/>
                        </a:cubicBezTo>
                        <a:cubicBezTo>
                          <a:pt x="277261" y="391926"/>
                          <a:pt x="277912" y="382837"/>
                          <a:pt x="276781" y="380062"/>
                        </a:cubicBezTo>
                        <a:close/>
                        <a:moveTo>
                          <a:pt x="109803" y="145566"/>
                        </a:moveTo>
                        <a:cubicBezTo>
                          <a:pt x="109407" y="146506"/>
                          <a:pt x="109138" y="146631"/>
                          <a:pt x="106657" y="146137"/>
                        </a:cubicBezTo>
                        <a:cubicBezTo>
                          <a:pt x="101140" y="144835"/>
                          <a:pt x="96238" y="145558"/>
                          <a:pt x="90735" y="144521"/>
                        </a:cubicBezTo>
                        <a:cubicBezTo>
                          <a:pt x="89942" y="144335"/>
                          <a:pt x="88460" y="145124"/>
                          <a:pt x="87831" y="145475"/>
                        </a:cubicBezTo>
                        <a:cubicBezTo>
                          <a:pt x="86712" y="142976"/>
                          <a:pt x="85367" y="138516"/>
                          <a:pt x="84611" y="136260"/>
                        </a:cubicBezTo>
                        <a:cubicBezTo>
                          <a:pt x="84731" y="135375"/>
                          <a:pt x="91886" y="136766"/>
                          <a:pt x="97577" y="137431"/>
                        </a:cubicBezTo>
                        <a:cubicBezTo>
                          <a:pt x="100172" y="137734"/>
                          <a:pt x="107882" y="138351"/>
                          <a:pt x="109484" y="139487"/>
                        </a:cubicBezTo>
                        <a:cubicBezTo>
                          <a:pt x="110123" y="141531"/>
                          <a:pt x="111017" y="142802"/>
                          <a:pt x="109803" y="145566"/>
                        </a:cubicBezTo>
                        <a:close/>
                        <a:moveTo>
                          <a:pt x="185856" y="312813"/>
                        </a:moveTo>
                        <a:cubicBezTo>
                          <a:pt x="166128" y="310231"/>
                          <a:pt x="152077" y="308858"/>
                          <a:pt x="134328" y="303116"/>
                        </a:cubicBezTo>
                        <a:cubicBezTo>
                          <a:pt x="133668" y="302845"/>
                          <a:pt x="131527" y="302413"/>
                          <a:pt x="131030" y="302927"/>
                        </a:cubicBezTo>
                        <a:cubicBezTo>
                          <a:pt x="126781" y="256842"/>
                          <a:pt x="127292" y="208161"/>
                          <a:pt x="127115" y="162164"/>
                        </a:cubicBezTo>
                        <a:cubicBezTo>
                          <a:pt x="127113" y="162159"/>
                          <a:pt x="127110" y="162153"/>
                          <a:pt x="127107" y="162147"/>
                        </a:cubicBezTo>
                        <a:cubicBezTo>
                          <a:pt x="127275" y="162104"/>
                          <a:pt x="127435" y="162039"/>
                          <a:pt x="127584" y="161950"/>
                        </a:cubicBezTo>
                        <a:cubicBezTo>
                          <a:pt x="168975" y="166687"/>
                          <a:pt x="167156" y="216582"/>
                          <a:pt x="175051" y="244750"/>
                        </a:cubicBezTo>
                        <a:cubicBezTo>
                          <a:pt x="178780" y="263315"/>
                          <a:pt x="182418" y="282474"/>
                          <a:pt x="186038" y="300923"/>
                        </a:cubicBezTo>
                        <a:cubicBezTo>
                          <a:pt x="186841" y="305026"/>
                          <a:pt x="187643" y="309146"/>
                          <a:pt x="188448" y="313278"/>
                        </a:cubicBezTo>
                        <a:cubicBezTo>
                          <a:pt x="187280" y="313024"/>
                          <a:pt x="186187" y="312847"/>
                          <a:pt x="185856" y="312813"/>
                        </a:cubicBezTo>
                        <a:close/>
                      </a:path>
                    </a:pathLst>
                  </a:custGeom>
                  <a:solidFill>
                    <a:srgbClr val="FFFFFF"/>
                  </a:solidFill>
                  <a:ln w="2826" cap="flat">
                    <a:noFill/>
                    <a:prstDash val="solid"/>
                    <a:miter/>
                  </a:ln>
                </p:spPr>
                <p:txBody>
                  <a:bodyPr rtlCol="0" anchor="ctr"/>
                  <a:lstStyle/>
                  <a:p>
                    <a:endParaRPr lang="fr-CA"/>
                  </a:p>
                </p:txBody>
              </p:sp>
              <p:sp>
                <p:nvSpPr>
                  <p:cNvPr id="1567" name="Forme libre : forme 1566">
                    <a:extLst>
                      <a:ext uri="{FF2B5EF4-FFF2-40B4-BE49-F238E27FC236}">
                        <a16:creationId xmlns:a16="http://schemas.microsoft.com/office/drawing/2014/main" id="{79B40E3F-F521-BB7C-2F63-38F1B72A5232}"/>
                      </a:ext>
                    </a:extLst>
                  </p:cNvPr>
                  <p:cNvSpPr/>
                  <p:nvPr/>
                </p:nvSpPr>
                <p:spPr>
                  <a:xfrm>
                    <a:off x="9279160" y="4338486"/>
                    <a:ext cx="74751" cy="98673"/>
                  </a:xfrm>
                  <a:custGeom>
                    <a:avLst/>
                    <a:gdLst>
                      <a:gd name="connsiteX0" fmla="*/ 74672 w 74751"/>
                      <a:gd name="connsiteY0" fmla="*/ 31495 h 98673"/>
                      <a:gd name="connsiteX1" fmla="*/ 66434 w 74751"/>
                      <a:gd name="connsiteY1" fmla="*/ 11413 h 98673"/>
                      <a:gd name="connsiteX2" fmla="*/ 2163 w 74751"/>
                      <a:gd name="connsiteY2" fmla="*/ 23 h 98673"/>
                      <a:gd name="connsiteX3" fmla="*/ 733 w 74751"/>
                      <a:gd name="connsiteY3" fmla="*/ 414 h 98673"/>
                      <a:gd name="connsiteX4" fmla="*/ 1835 w 74751"/>
                      <a:gd name="connsiteY4" fmla="*/ 20239 h 98673"/>
                      <a:gd name="connsiteX5" fmla="*/ 3936 w 74751"/>
                      <a:gd name="connsiteY5" fmla="*/ 22172 h 98673"/>
                      <a:gd name="connsiteX6" fmla="*/ 1972 w 74751"/>
                      <a:gd name="connsiteY6" fmla="*/ 88887 h 98673"/>
                      <a:gd name="connsiteX7" fmla="*/ 3322 w 74751"/>
                      <a:gd name="connsiteY7" fmla="*/ 90660 h 98673"/>
                      <a:gd name="connsiteX8" fmla="*/ 12851 w 74751"/>
                      <a:gd name="connsiteY8" fmla="*/ 97833 h 98673"/>
                      <a:gd name="connsiteX9" fmla="*/ 16166 w 74751"/>
                      <a:gd name="connsiteY9" fmla="*/ 96968 h 98673"/>
                      <a:gd name="connsiteX10" fmla="*/ 18596 w 74751"/>
                      <a:gd name="connsiteY10" fmla="*/ 24850 h 98673"/>
                      <a:gd name="connsiteX11" fmla="*/ 48228 w 74751"/>
                      <a:gd name="connsiteY11" fmla="*/ 29230 h 98673"/>
                      <a:gd name="connsiteX12" fmla="*/ 54273 w 74751"/>
                      <a:gd name="connsiteY12" fmla="*/ 31458 h 98673"/>
                      <a:gd name="connsiteX13" fmla="*/ 74672 w 74751"/>
                      <a:gd name="connsiteY13" fmla="*/ 31495 h 9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51" h="98673">
                        <a:moveTo>
                          <a:pt x="74672" y="31495"/>
                        </a:moveTo>
                        <a:cubicBezTo>
                          <a:pt x="72153" y="24588"/>
                          <a:pt x="69381" y="17829"/>
                          <a:pt x="66434" y="11413"/>
                        </a:cubicBezTo>
                        <a:cubicBezTo>
                          <a:pt x="64401" y="9243"/>
                          <a:pt x="6206" y="685"/>
                          <a:pt x="2163" y="23"/>
                        </a:cubicBezTo>
                        <a:cubicBezTo>
                          <a:pt x="1652" y="-60"/>
                          <a:pt x="1130" y="83"/>
                          <a:pt x="733" y="414"/>
                        </a:cubicBezTo>
                        <a:cubicBezTo>
                          <a:pt x="-1186" y="5911"/>
                          <a:pt x="1198" y="13486"/>
                          <a:pt x="1835" y="20239"/>
                        </a:cubicBezTo>
                        <a:cubicBezTo>
                          <a:pt x="1955" y="21407"/>
                          <a:pt x="3160" y="21598"/>
                          <a:pt x="3936" y="22172"/>
                        </a:cubicBezTo>
                        <a:cubicBezTo>
                          <a:pt x="2780" y="23143"/>
                          <a:pt x="2383" y="87677"/>
                          <a:pt x="1972" y="88887"/>
                        </a:cubicBezTo>
                        <a:cubicBezTo>
                          <a:pt x="1952" y="89718"/>
                          <a:pt x="2511" y="90455"/>
                          <a:pt x="3322" y="90660"/>
                        </a:cubicBezTo>
                        <a:cubicBezTo>
                          <a:pt x="7468" y="91694"/>
                          <a:pt x="10761" y="94255"/>
                          <a:pt x="12851" y="97833"/>
                        </a:cubicBezTo>
                        <a:cubicBezTo>
                          <a:pt x="13707" y="99329"/>
                          <a:pt x="16157" y="98695"/>
                          <a:pt x="16166" y="96968"/>
                        </a:cubicBezTo>
                        <a:cubicBezTo>
                          <a:pt x="15926" y="95746"/>
                          <a:pt x="19344" y="25990"/>
                          <a:pt x="18596" y="24850"/>
                        </a:cubicBezTo>
                        <a:cubicBezTo>
                          <a:pt x="26979" y="26415"/>
                          <a:pt x="38694" y="28362"/>
                          <a:pt x="48228" y="29230"/>
                        </a:cubicBezTo>
                        <a:cubicBezTo>
                          <a:pt x="49722" y="30464"/>
                          <a:pt x="53488" y="32003"/>
                          <a:pt x="54273" y="31458"/>
                        </a:cubicBezTo>
                        <a:cubicBezTo>
                          <a:pt x="56560" y="29382"/>
                          <a:pt x="76151" y="37331"/>
                          <a:pt x="74672" y="31495"/>
                        </a:cubicBezTo>
                        <a:close/>
                      </a:path>
                    </a:pathLst>
                  </a:custGeom>
                  <a:solidFill>
                    <a:srgbClr val="FFFFFF"/>
                  </a:solidFill>
                  <a:ln w="2826" cap="flat">
                    <a:noFill/>
                    <a:prstDash val="solid"/>
                    <a:miter/>
                  </a:ln>
                </p:spPr>
                <p:txBody>
                  <a:bodyPr rtlCol="0" anchor="ctr"/>
                  <a:lstStyle/>
                  <a:p>
                    <a:endParaRPr lang="fr-CA"/>
                  </a:p>
                </p:txBody>
              </p:sp>
              <p:sp>
                <p:nvSpPr>
                  <p:cNvPr id="1568" name="Forme libre : forme 1567">
                    <a:extLst>
                      <a:ext uri="{FF2B5EF4-FFF2-40B4-BE49-F238E27FC236}">
                        <a16:creationId xmlns:a16="http://schemas.microsoft.com/office/drawing/2014/main" id="{BC543D2C-96E6-B903-D5F8-3D0EBC5947B6}"/>
                      </a:ext>
                    </a:extLst>
                  </p:cNvPr>
                  <p:cNvSpPr/>
                  <p:nvPr/>
                </p:nvSpPr>
                <p:spPr>
                  <a:xfrm>
                    <a:off x="9252901" y="4572260"/>
                    <a:ext cx="92973" cy="33700"/>
                  </a:xfrm>
                  <a:custGeom>
                    <a:avLst/>
                    <a:gdLst>
                      <a:gd name="connsiteX0" fmla="*/ 91626 w 92973"/>
                      <a:gd name="connsiteY0" fmla="*/ 17057 h 33700"/>
                      <a:gd name="connsiteX1" fmla="*/ 63775 w 92973"/>
                      <a:gd name="connsiteY1" fmla="*/ 11529 h 33700"/>
                      <a:gd name="connsiteX2" fmla="*/ 22129 w 92973"/>
                      <a:gd name="connsiteY2" fmla="*/ 2852 h 33700"/>
                      <a:gd name="connsiteX3" fmla="*/ 4478 w 92973"/>
                      <a:gd name="connsiteY3" fmla="*/ 490 h 33700"/>
                      <a:gd name="connsiteX4" fmla="*/ 2299 w 92973"/>
                      <a:gd name="connsiteY4" fmla="*/ 14227 h 33700"/>
                      <a:gd name="connsiteX5" fmla="*/ 13147 w 92973"/>
                      <a:gd name="connsiteY5" fmla="*/ 17962 h 33700"/>
                      <a:gd name="connsiteX6" fmla="*/ 56725 w 92973"/>
                      <a:gd name="connsiteY6" fmla="*/ 29892 h 33700"/>
                      <a:gd name="connsiteX7" fmla="*/ 83511 w 92973"/>
                      <a:gd name="connsiteY7" fmla="*/ 33541 h 33700"/>
                      <a:gd name="connsiteX8" fmla="*/ 92677 w 92973"/>
                      <a:gd name="connsiteY8" fmla="*/ 19787 h 33700"/>
                      <a:gd name="connsiteX9" fmla="*/ 91626 w 92973"/>
                      <a:gd name="connsiteY9" fmla="*/ 17057 h 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73" h="33700">
                        <a:moveTo>
                          <a:pt x="91626" y="17057"/>
                        </a:moveTo>
                        <a:cubicBezTo>
                          <a:pt x="85313" y="15435"/>
                          <a:pt x="64183" y="11586"/>
                          <a:pt x="63775" y="11529"/>
                        </a:cubicBezTo>
                        <a:cubicBezTo>
                          <a:pt x="49624" y="9547"/>
                          <a:pt x="36258" y="5124"/>
                          <a:pt x="22129" y="2852"/>
                        </a:cubicBezTo>
                        <a:cubicBezTo>
                          <a:pt x="16353" y="1941"/>
                          <a:pt x="10562" y="-1197"/>
                          <a:pt x="4478" y="490"/>
                        </a:cubicBezTo>
                        <a:cubicBezTo>
                          <a:pt x="-1433" y="2489"/>
                          <a:pt x="-762" y="10019"/>
                          <a:pt x="2299" y="14227"/>
                        </a:cubicBezTo>
                        <a:cubicBezTo>
                          <a:pt x="2913" y="16592"/>
                          <a:pt x="10831" y="16780"/>
                          <a:pt x="13147" y="17962"/>
                        </a:cubicBezTo>
                        <a:cubicBezTo>
                          <a:pt x="19183" y="19772"/>
                          <a:pt x="48933" y="28458"/>
                          <a:pt x="56725" y="29892"/>
                        </a:cubicBezTo>
                        <a:cubicBezTo>
                          <a:pt x="60066" y="30845"/>
                          <a:pt x="81378" y="34503"/>
                          <a:pt x="83511" y="33541"/>
                        </a:cubicBezTo>
                        <a:cubicBezTo>
                          <a:pt x="83511" y="33541"/>
                          <a:pt x="92677" y="19787"/>
                          <a:pt x="92677" y="19787"/>
                        </a:cubicBezTo>
                        <a:cubicBezTo>
                          <a:pt x="93365" y="18807"/>
                          <a:pt x="92794" y="17320"/>
                          <a:pt x="91626" y="17057"/>
                        </a:cubicBezTo>
                        <a:close/>
                      </a:path>
                    </a:pathLst>
                  </a:custGeom>
                  <a:solidFill>
                    <a:srgbClr val="FFFFFF"/>
                  </a:solidFill>
                  <a:ln w="2826" cap="flat">
                    <a:noFill/>
                    <a:prstDash val="solid"/>
                    <a:miter/>
                  </a:ln>
                </p:spPr>
                <p:txBody>
                  <a:bodyPr rtlCol="0" anchor="ctr"/>
                  <a:lstStyle/>
                  <a:p>
                    <a:endParaRPr lang="fr-CA"/>
                  </a:p>
                </p:txBody>
              </p:sp>
              <p:sp>
                <p:nvSpPr>
                  <p:cNvPr id="1569" name="Forme libre : forme 1568">
                    <a:extLst>
                      <a:ext uri="{FF2B5EF4-FFF2-40B4-BE49-F238E27FC236}">
                        <a16:creationId xmlns:a16="http://schemas.microsoft.com/office/drawing/2014/main" id="{17B0959B-7BED-3C43-3715-6B956508EA4B}"/>
                      </a:ext>
                    </a:extLst>
                  </p:cNvPr>
                  <p:cNvSpPr/>
                  <p:nvPr/>
                </p:nvSpPr>
                <p:spPr>
                  <a:xfrm>
                    <a:off x="9253800" y="4047030"/>
                    <a:ext cx="34716" cy="211841"/>
                  </a:xfrm>
                  <a:custGeom>
                    <a:avLst/>
                    <a:gdLst>
                      <a:gd name="connsiteX0" fmla="*/ 3673 w 34716"/>
                      <a:gd name="connsiteY0" fmla="*/ 16611 h 211841"/>
                      <a:gd name="connsiteX1" fmla="*/ 13921 w 34716"/>
                      <a:gd name="connsiteY1" fmla="*/ 34617 h 211841"/>
                      <a:gd name="connsiteX2" fmla="*/ 18406 w 34716"/>
                      <a:gd name="connsiteY2" fmla="*/ 87618 h 211841"/>
                      <a:gd name="connsiteX3" fmla="*/ 23460 w 34716"/>
                      <a:gd name="connsiteY3" fmla="*/ 192178 h 211841"/>
                      <a:gd name="connsiteX4" fmla="*/ 22903 w 34716"/>
                      <a:gd name="connsiteY4" fmla="*/ 200767 h 211841"/>
                      <a:gd name="connsiteX5" fmla="*/ 21830 w 34716"/>
                      <a:gd name="connsiteY5" fmla="*/ 208260 h 211841"/>
                      <a:gd name="connsiteX6" fmla="*/ 31213 w 34716"/>
                      <a:gd name="connsiteY6" fmla="*/ 211689 h 211841"/>
                      <a:gd name="connsiteX7" fmla="*/ 33642 w 34716"/>
                      <a:gd name="connsiteY7" fmla="*/ 209550 h 211841"/>
                      <a:gd name="connsiteX8" fmla="*/ 32980 w 34716"/>
                      <a:gd name="connsiteY8" fmla="*/ 67996 h 211841"/>
                      <a:gd name="connsiteX9" fmla="*/ 6551 w 34716"/>
                      <a:gd name="connsiteY9" fmla="*/ 73 h 211841"/>
                      <a:gd name="connsiteX10" fmla="*/ 4743 w 34716"/>
                      <a:gd name="connsiteY10" fmla="*/ 561 h 211841"/>
                      <a:gd name="connsiteX11" fmla="*/ 3673 w 34716"/>
                      <a:gd name="connsiteY11" fmla="*/ 16611 h 21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716" h="211841">
                        <a:moveTo>
                          <a:pt x="3673" y="16611"/>
                        </a:moveTo>
                        <a:cubicBezTo>
                          <a:pt x="9109" y="19315"/>
                          <a:pt x="12938" y="26043"/>
                          <a:pt x="13921" y="34617"/>
                        </a:cubicBezTo>
                        <a:cubicBezTo>
                          <a:pt x="15991" y="52323"/>
                          <a:pt x="17084" y="70026"/>
                          <a:pt x="18406" y="87618"/>
                        </a:cubicBezTo>
                        <a:cubicBezTo>
                          <a:pt x="20548" y="128458"/>
                          <a:pt x="23497" y="154425"/>
                          <a:pt x="23460" y="192178"/>
                        </a:cubicBezTo>
                        <a:cubicBezTo>
                          <a:pt x="23452" y="192307"/>
                          <a:pt x="23300" y="200721"/>
                          <a:pt x="22903" y="200767"/>
                        </a:cubicBezTo>
                        <a:cubicBezTo>
                          <a:pt x="21407" y="200887"/>
                          <a:pt x="19771" y="207440"/>
                          <a:pt x="21830" y="208260"/>
                        </a:cubicBezTo>
                        <a:cubicBezTo>
                          <a:pt x="24942" y="209182"/>
                          <a:pt x="28097" y="210335"/>
                          <a:pt x="31213" y="211689"/>
                        </a:cubicBezTo>
                        <a:cubicBezTo>
                          <a:pt x="32532" y="212303"/>
                          <a:pt x="34102" y="210958"/>
                          <a:pt x="33642" y="209550"/>
                        </a:cubicBezTo>
                        <a:cubicBezTo>
                          <a:pt x="33026" y="166060"/>
                          <a:pt x="36806" y="114367"/>
                          <a:pt x="32980" y="67996"/>
                        </a:cubicBezTo>
                        <a:cubicBezTo>
                          <a:pt x="31115" y="44894"/>
                          <a:pt x="34479" y="9410"/>
                          <a:pt x="6551" y="73"/>
                        </a:cubicBezTo>
                        <a:cubicBezTo>
                          <a:pt x="5906" y="-118"/>
                          <a:pt x="5206" y="73"/>
                          <a:pt x="4743" y="561"/>
                        </a:cubicBezTo>
                        <a:cubicBezTo>
                          <a:pt x="640" y="4622"/>
                          <a:pt x="-2966" y="10644"/>
                          <a:pt x="3673" y="16611"/>
                        </a:cubicBezTo>
                        <a:close/>
                      </a:path>
                    </a:pathLst>
                  </a:custGeom>
                  <a:solidFill>
                    <a:srgbClr val="FFFFFF"/>
                  </a:solidFill>
                  <a:ln w="2826" cap="flat">
                    <a:noFill/>
                    <a:prstDash val="solid"/>
                    <a:miter/>
                  </a:ln>
                </p:spPr>
                <p:txBody>
                  <a:bodyPr rtlCol="0" anchor="ctr"/>
                  <a:lstStyle/>
                  <a:p>
                    <a:endParaRPr lang="fr-CA"/>
                  </a:p>
                </p:txBody>
              </p:sp>
              <p:sp>
                <p:nvSpPr>
                  <p:cNvPr id="1570" name="Forme libre : forme 1569">
                    <a:extLst>
                      <a:ext uri="{FF2B5EF4-FFF2-40B4-BE49-F238E27FC236}">
                        <a16:creationId xmlns:a16="http://schemas.microsoft.com/office/drawing/2014/main" id="{53D90865-1C4E-7C2B-9D05-9DD01BB48FDD}"/>
                      </a:ext>
                    </a:extLst>
                  </p:cNvPr>
                  <p:cNvSpPr/>
                  <p:nvPr/>
                </p:nvSpPr>
                <p:spPr>
                  <a:xfrm>
                    <a:off x="9260367" y="4438513"/>
                    <a:ext cx="13525" cy="21450"/>
                  </a:xfrm>
                  <a:custGeom>
                    <a:avLst/>
                    <a:gdLst>
                      <a:gd name="connsiteX0" fmla="*/ 3182 w 13525"/>
                      <a:gd name="connsiteY0" fmla="*/ 20769 h 21450"/>
                      <a:gd name="connsiteX1" fmla="*/ 4724 w 13525"/>
                      <a:gd name="connsiteY1" fmla="*/ 21445 h 21450"/>
                      <a:gd name="connsiteX2" fmla="*/ 11831 w 13525"/>
                      <a:gd name="connsiteY2" fmla="*/ 6089 h 21450"/>
                      <a:gd name="connsiteX3" fmla="*/ 158 w 13525"/>
                      <a:gd name="connsiteY3" fmla="*/ 1270 h 21450"/>
                      <a:gd name="connsiteX4" fmla="*/ 1692 w 13525"/>
                      <a:gd name="connsiteY4" fmla="*/ 5938 h 21450"/>
                      <a:gd name="connsiteX5" fmla="*/ 2885 w 13525"/>
                      <a:gd name="connsiteY5" fmla="*/ 19113 h 21450"/>
                      <a:gd name="connsiteX6" fmla="*/ 3182 w 13525"/>
                      <a:gd name="connsiteY6" fmla="*/ 20769 h 2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21450">
                        <a:moveTo>
                          <a:pt x="3182" y="20769"/>
                        </a:moveTo>
                        <a:cubicBezTo>
                          <a:pt x="3551" y="21237"/>
                          <a:pt x="4133" y="21491"/>
                          <a:pt x="4724" y="21445"/>
                        </a:cubicBezTo>
                        <a:cubicBezTo>
                          <a:pt x="13496" y="20752"/>
                          <a:pt x="15389" y="14127"/>
                          <a:pt x="11831" y="6089"/>
                        </a:cubicBezTo>
                        <a:cubicBezTo>
                          <a:pt x="10246" y="-852"/>
                          <a:pt x="2086" y="-915"/>
                          <a:pt x="158" y="1270"/>
                        </a:cubicBezTo>
                        <a:cubicBezTo>
                          <a:pt x="-547" y="2869"/>
                          <a:pt x="1309" y="4587"/>
                          <a:pt x="1692" y="5938"/>
                        </a:cubicBezTo>
                        <a:cubicBezTo>
                          <a:pt x="3902" y="10595"/>
                          <a:pt x="4282" y="14781"/>
                          <a:pt x="2885" y="19113"/>
                        </a:cubicBezTo>
                        <a:cubicBezTo>
                          <a:pt x="2700" y="19681"/>
                          <a:pt x="2811" y="20300"/>
                          <a:pt x="3182" y="20769"/>
                        </a:cubicBezTo>
                        <a:close/>
                      </a:path>
                    </a:pathLst>
                  </a:custGeom>
                  <a:solidFill>
                    <a:srgbClr val="FFFFFF"/>
                  </a:solidFill>
                  <a:ln w="2826" cap="flat">
                    <a:noFill/>
                    <a:prstDash val="solid"/>
                    <a:miter/>
                  </a:ln>
                </p:spPr>
                <p:txBody>
                  <a:bodyPr rtlCol="0" anchor="ctr"/>
                  <a:lstStyle/>
                  <a:p>
                    <a:endParaRPr lang="fr-CA"/>
                  </a:p>
                </p:txBody>
              </p:sp>
              <p:sp>
                <p:nvSpPr>
                  <p:cNvPr id="1571" name="Forme libre : forme 1570">
                    <a:extLst>
                      <a:ext uri="{FF2B5EF4-FFF2-40B4-BE49-F238E27FC236}">
                        <a16:creationId xmlns:a16="http://schemas.microsoft.com/office/drawing/2014/main" id="{0618C18F-584D-763A-246F-7165266B10D3}"/>
                      </a:ext>
                    </a:extLst>
                  </p:cNvPr>
                  <p:cNvSpPr/>
                  <p:nvPr/>
                </p:nvSpPr>
                <p:spPr>
                  <a:xfrm>
                    <a:off x="9244017" y="4441987"/>
                    <a:ext cx="10938" cy="19412"/>
                  </a:xfrm>
                  <a:custGeom>
                    <a:avLst/>
                    <a:gdLst>
                      <a:gd name="connsiteX0" fmla="*/ 10904 w 10938"/>
                      <a:gd name="connsiteY0" fmla="*/ 8463 h 19412"/>
                      <a:gd name="connsiteX1" fmla="*/ 3197 w 10938"/>
                      <a:gd name="connsiteY1" fmla="*/ 5 h 19412"/>
                      <a:gd name="connsiteX2" fmla="*/ 22 w 10938"/>
                      <a:gd name="connsiteY2" fmla="*/ 9628 h 19412"/>
                      <a:gd name="connsiteX3" fmla="*/ 8220 w 10938"/>
                      <a:gd name="connsiteY3" fmla="*/ 19002 h 19412"/>
                      <a:gd name="connsiteX4" fmla="*/ 10904 w 10938"/>
                      <a:gd name="connsiteY4" fmla="*/ 8463 h 1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8" h="19412">
                        <a:moveTo>
                          <a:pt x="10904" y="8463"/>
                        </a:moveTo>
                        <a:cubicBezTo>
                          <a:pt x="10752" y="3143"/>
                          <a:pt x="8357" y="-152"/>
                          <a:pt x="3197" y="5"/>
                        </a:cubicBezTo>
                        <a:cubicBezTo>
                          <a:pt x="76" y="936"/>
                          <a:pt x="-84" y="6984"/>
                          <a:pt x="22" y="9628"/>
                        </a:cubicBezTo>
                        <a:cubicBezTo>
                          <a:pt x="267" y="13446"/>
                          <a:pt x="3263" y="21289"/>
                          <a:pt x="8220" y="19002"/>
                        </a:cubicBezTo>
                        <a:cubicBezTo>
                          <a:pt x="11309" y="17040"/>
                          <a:pt x="10946" y="9217"/>
                          <a:pt x="10904" y="8463"/>
                        </a:cubicBezTo>
                        <a:close/>
                      </a:path>
                    </a:pathLst>
                  </a:custGeom>
                  <a:solidFill>
                    <a:srgbClr val="FFFFFF"/>
                  </a:solidFill>
                  <a:ln w="2826" cap="flat">
                    <a:noFill/>
                    <a:prstDash val="solid"/>
                    <a:miter/>
                  </a:ln>
                </p:spPr>
                <p:txBody>
                  <a:bodyPr rtlCol="0" anchor="ctr"/>
                  <a:lstStyle/>
                  <a:p>
                    <a:endParaRPr lang="fr-CA"/>
                  </a:p>
                </p:txBody>
              </p:sp>
            </p:grpSp>
            <p:grpSp>
              <p:nvGrpSpPr>
                <p:cNvPr id="1540" name="Graphique 35" descr="Garçon dans un fauteuil roulant">
                  <a:extLst>
                    <a:ext uri="{FF2B5EF4-FFF2-40B4-BE49-F238E27FC236}">
                      <a16:creationId xmlns:a16="http://schemas.microsoft.com/office/drawing/2014/main" id="{DD9CD7DF-5827-B172-7062-86D65636578D}"/>
                    </a:ext>
                  </a:extLst>
                </p:cNvPr>
                <p:cNvGrpSpPr/>
                <p:nvPr/>
              </p:nvGrpSpPr>
              <p:grpSpPr>
                <a:xfrm>
                  <a:off x="9156994" y="4044915"/>
                  <a:ext cx="736590" cy="661795"/>
                  <a:chOff x="9156994" y="4044915"/>
                  <a:chExt cx="736590" cy="661795"/>
                </a:xfrm>
                <a:solidFill>
                  <a:srgbClr val="FFFFFF"/>
                </a:solidFill>
              </p:grpSpPr>
              <p:sp>
                <p:nvSpPr>
                  <p:cNvPr id="1553" name="Forme libre : forme 1552">
                    <a:extLst>
                      <a:ext uri="{FF2B5EF4-FFF2-40B4-BE49-F238E27FC236}">
                        <a16:creationId xmlns:a16="http://schemas.microsoft.com/office/drawing/2014/main" id="{B08020A3-DAF4-9A6C-023F-D9AE680CE711}"/>
                      </a:ext>
                    </a:extLst>
                  </p:cNvPr>
                  <p:cNvSpPr/>
                  <p:nvPr/>
                </p:nvSpPr>
                <p:spPr>
                  <a:xfrm>
                    <a:off x="9737875" y="4629270"/>
                    <a:ext cx="155709" cy="31664"/>
                  </a:xfrm>
                  <a:custGeom>
                    <a:avLst/>
                    <a:gdLst>
                      <a:gd name="connsiteX0" fmla="*/ 155710 w 155709"/>
                      <a:gd name="connsiteY0" fmla="*/ 2143 h 31664"/>
                      <a:gd name="connsiteX1" fmla="*/ 120515 w 155709"/>
                      <a:gd name="connsiteY1" fmla="*/ 3000 h 31664"/>
                      <a:gd name="connsiteX2" fmla="*/ 60718 w 155709"/>
                      <a:gd name="connsiteY2" fmla="*/ 9316 h 31664"/>
                      <a:gd name="connsiteX3" fmla="*/ 58674 w 155709"/>
                      <a:gd name="connsiteY3" fmla="*/ 8571 h 31664"/>
                      <a:gd name="connsiteX4" fmla="*/ 21763 w 155709"/>
                      <a:gd name="connsiteY4" fmla="*/ 19681 h 31664"/>
                      <a:gd name="connsiteX5" fmla="*/ 1821 w 155709"/>
                      <a:gd name="connsiteY5" fmla="*/ 25594 h 31664"/>
                      <a:gd name="connsiteX6" fmla="*/ 562 w 155709"/>
                      <a:gd name="connsiteY6" fmla="*/ 27065 h 31664"/>
                      <a:gd name="connsiteX7" fmla="*/ 1689 w 155709"/>
                      <a:gd name="connsiteY7" fmla="*/ 31665 h 31664"/>
                      <a:gd name="connsiteX8" fmla="*/ 155710 w 155709"/>
                      <a:gd name="connsiteY8" fmla="*/ 2143 h 3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09" h="31664">
                        <a:moveTo>
                          <a:pt x="155710" y="2143"/>
                        </a:moveTo>
                        <a:cubicBezTo>
                          <a:pt x="153445" y="-2636"/>
                          <a:pt x="125537" y="1915"/>
                          <a:pt x="120515" y="3000"/>
                        </a:cubicBezTo>
                        <a:cubicBezTo>
                          <a:pt x="100887" y="7586"/>
                          <a:pt x="80586" y="5933"/>
                          <a:pt x="60718" y="9316"/>
                        </a:cubicBezTo>
                        <a:cubicBezTo>
                          <a:pt x="60298" y="8645"/>
                          <a:pt x="59427" y="8322"/>
                          <a:pt x="58674" y="8571"/>
                        </a:cubicBezTo>
                        <a:cubicBezTo>
                          <a:pt x="46421" y="12417"/>
                          <a:pt x="33886" y="16112"/>
                          <a:pt x="21763" y="19681"/>
                        </a:cubicBezTo>
                        <a:cubicBezTo>
                          <a:pt x="15224" y="21608"/>
                          <a:pt x="8462" y="23599"/>
                          <a:pt x="1821" y="25594"/>
                        </a:cubicBezTo>
                        <a:cubicBezTo>
                          <a:pt x="1150" y="25794"/>
                          <a:pt x="659" y="26371"/>
                          <a:pt x="562" y="27065"/>
                        </a:cubicBezTo>
                        <a:cubicBezTo>
                          <a:pt x="222" y="28595"/>
                          <a:pt x="-972" y="31531"/>
                          <a:pt x="1689" y="31665"/>
                        </a:cubicBezTo>
                        <a:cubicBezTo>
                          <a:pt x="55201" y="25697"/>
                          <a:pt x="111777" y="20064"/>
                          <a:pt x="155710" y="2143"/>
                        </a:cubicBezTo>
                        <a:close/>
                      </a:path>
                    </a:pathLst>
                  </a:custGeom>
                  <a:solidFill>
                    <a:srgbClr val="FFFFFF"/>
                  </a:solidFill>
                  <a:ln w="2826" cap="flat">
                    <a:noFill/>
                    <a:prstDash val="solid"/>
                    <a:miter/>
                  </a:ln>
                </p:spPr>
                <p:txBody>
                  <a:bodyPr rtlCol="0" anchor="ctr"/>
                  <a:lstStyle/>
                  <a:p>
                    <a:endParaRPr lang="fr-CA"/>
                  </a:p>
                </p:txBody>
              </p:sp>
              <p:sp>
                <p:nvSpPr>
                  <p:cNvPr id="1554" name="Forme libre : forme 1553">
                    <a:extLst>
                      <a:ext uri="{FF2B5EF4-FFF2-40B4-BE49-F238E27FC236}">
                        <a16:creationId xmlns:a16="http://schemas.microsoft.com/office/drawing/2014/main" id="{442434F0-FF76-7CB8-FE90-8AC4DFA7B202}"/>
                      </a:ext>
                    </a:extLst>
                  </p:cNvPr>
                  <p:cNvSpPr/>
                  <p:nvPr/>
                </p:nvSpPr>
                <p:spPr>
                  <a:xfrm>
                    <a:off x="9563280" y="4199016"/>
                    <a:ext cx="151163" cy="43779"/>
                  </a:xfrm>
                  <a:custGeom>
                    <a:avLst/>
                    <a:gdLst>
                      <a:gd name="connsiteX0" fmla="*/ 144002 w 151163"/>
                      <a:gd name="connsiteY0" fmla="*/ 23934 h 43779"/>
                      <a:gd name="connsiteX1" fmla="*/ 12 w 151163"/>
                      <a:gd name="connsiteY1" fmla="*/ 820 h 43779"/>
                      <a:gd name="connsiteX2" fmla="*/ 11040 w 151163"/>
                      <a:gd name="connsiteY2" fmla="*/ 27752 h 43779"/>
                      <a:gd name="connsiteX3" fmla="*/ 124069 w 151163"/>
                      <a:gd name="connsiteY3" fmla="*/ 43020 h 43779"/>
                      <a:gd name="connsiteX4" fmla="*/ 145912 w 151163"/>
                      <a:gd name="connsiteY4" fmla="*/ 43020 h 43779"/>
                      <a:gd name="connsiteX5" fmla="*/ 150578 w 151163"/>
                      <a:gd name="connsiteY5" fmla="*/ 37931 h 43779"/>
                      <a:gd name="connsiteX6" fmla="*/ 144002 w 151163"/>
                      <a:gd name="connsiteY6" fmla="*/ 23934 h 4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163" h="43779">
                        <a:moveTo>
                          <a:pt x="144002" y="23934"/>
                        </a:moveTo>
                        <a:cubicBezTo>
                          <a:pt x="121279" y="7376"/>
                          <a:pt x="1012" y="-3091"/>
                          <a:pt x="12" y="820"/>
                        </a:cubicBezTo>
                        <a:cubicBezTo>
                          <a:pt x="-439" y="5083"/>
                          <a:pt x="11579" y="22381"/>
                          <a:pt x="11040" y="27752"/>
                        </a:cubicBezTo>
                        <a:cubicBezTo>
                          <a:pt x="10920" y="28740"/>
                          <a:pt x="123069" y="42994"/>
                          <a:pt x="124069" y="43020"/>
                        </a:cubicBezTo>
                        <a:cubicBezTo>
                          <a:pt x="132515" y="43425"/>
                          <a:pt x="137429" y="44504"/>
                          <a:pt x="145912" y="43020"/>
                        </a:cubicBezTo>
                        <a:cubicBezTo>
                          <a:pt x="147537" y="42734"/>
                          <a:pt x="149099" y="40695"/>
                          <a:pt x="150578" y="37931"/>
                        </a:cubicBezTo>
                        <a:cubicBezTo>
                          <a:pt x="153050" y="33303"/>
                          <a:pt x="147083" y="26815"/>
                          <a:pt x="144002" y="23934"/>
                        </a:cubicBezTo>
                        <a:close/>
                      </a:path>
                    </a:pathLst>
                  </a:custGeom>
                  <a:solidFill>
                    <a:srgbClr val="FFFFFF"/>
                  </a:solidFill>
                  <a:ln w="2826" cap="flat">
                    <a:noFill/>
                    <a:prstDash val="solid"/>
                    <a:miter/>
                  </a:ln>
                </p:spPr>
                <p:txBody>
                  <a:bodyPr rtlCol="0" anchor="ctr"/>
                  <a:lstStyle/>
                  <a:p>
                    <a:endParaRPr lang="fr-CA"/>
                  </a:p>
                </p:txBody>
              </p:sp>
              <p:sp>
                <p:nvSpPr>
                  <p:cNvPr id="1555" name="Forme libre : forme 1554">
                    <a:extLst>
                      <a:ext uri="{FF2B5EF4-FFF2-40B4-BE49-F238E27FC236}">
                        <a16:creationId xmlns:a16="http://schemas.microsoft.com/office/drawing/2014/main" id="{377277EB-36C0-B90A-3A60-9B92CE5CDCCD}"/>
                      </a:ext>
                    </a:extLst>
                  </p:cNvPr>
                  <p:cNvSpPr/>
                  <p:nvPr/>
                </p:nvSpPr>
                <p:spPr>
                  <a:xfrm>
                    <a:off x="9612271" y="4613779"/>
                    <a:ext cx="112353" cy="34159"/>
                  </a:xfrm>
                  <a:custGeom>
                    <a:avLst/>
                    <a:gdLst>
                      <a:gd name="connsiteX0" fmla="*/ 111269 w 112353"/>
                      <a:gd name="connsiteY0" fmla="*/ 634 h 34159"/>
                      <a:gd name="connsiteX1" fmla="*/ 106381 w 112353"/>
                      <a:gd name="connsiteY1" fmla="*/ 354 h 34159"/>
                      <a:gd name="connsiteX2" fmla="*/ 104539 w 112353"/>
                      <a:gd name="connsiteY2" fmla="*/ 34 h 34159"/>
                      <a:gd name="connsiteX3" fmla="*/ 65138 w 112353"/>
                      <a:gd name="connsiteY3" fmla="*/ 4229 h 34159"/>
                      <a:gd name="connsiteX4" fmla="*/ 48834 w 112353"/>
                      <a:gd name="connsiteY4" fmla="*/ 5699 h 34159"/>
                      <a:gd name="connsiteX5" fmla="*/ 31242 w 112353"/>
                      <a:gd name="connsiteY5" fmla="*/ 12158 h 34159"/>
                      <a:gd name="connsiteX6" fmla="*/ 18707 w 112353"/>
                      <a:gd name="connsiteY6" fmla="*/ 16064 h 34159"/>
                      <a:gd name="connsiteX7" fmla="*/ 16429 w 112353"/>
                      <a:gd name="connsiteY7" fmla="*/ 24036 h 34159"/>
                      <a:gd name="connsiteX8" fmla="*/ 13368 w 112353"/>
                      <a:gd name="connsiteY8" fmla="*/ 24919 h 34159"/>
                      <a:gd name="connsiteX9" fmla="*/ 148 w 112353"/>
                      <a:gd name="connsiteY9" fmla="*/ 27651 h 34159"/>
                      <a:gd name="connsiteX10" fmla="*/ 1355 w 112353"/>
                      <a:gd name="connsiteY10" fmla="*/ 31934 h 34159"/>
                      <a:gd name="connsiteX11" fmla="*/ 9625 w 112353"/>
                      <a:gd name="connsiteY11" fmla="*/ 34147 h 34159"/>
                      <a:gd name="connsiteX12" fmla="*/ 111269 w 112353"/>
                      <a:gd name="connsiteY12" fmla="*/ 634 h 3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353" h="34159">
                        <a:moveTo>
                          <a:pt x="111269" y="634"/>
                        </a:moveTo>
                        <a:cubicBezTo>
                          <a:pt x="109739" y="-43"/>
                          <a:pt x="107840" y="505"/>
                          <a:pt x="106381" y="354"/>
                        </a:cubicBezTo>
                        <a:cubicBezTo>
                          <a:pt x="105847" y="-40"/>
                          <a:pt x="105173" y="-31"/>
                          <a:pt x="104539" y="34"/>
                        </a:cubicBezTo>
                        <a:cubicBezTo>
                          <a:pt x="91542" y="2250"/>
                          <a:pt x="78161" y="2119"/>
                          <a:pt x="65138" y="4229"/>
                        </a:cubicBezTo>
                        <a:cubicBezTo>
                          <a:pt x="59773" y="4977"/>
                          <a:pt x="54222" y="5742"/>
                          <a:pt x="48834" y="5699"/>
                        </a:cubicBezTo>
                        <a:cubicBezTo>
                          <a:pt x="43355" y="8512"/>
                          <a:pt x="37741" y="10788"/>
                          <a:pt x="31242" y="12158"/>
                        </a:cubicBezTo>
                        <a:cubicBezTo>
                          <a:pt x="27062" y="13220"/>
                          <a:pt x="22742" y="14320"/>
                          <a:pt x="18707" y="16064"/>
                        </a:cubicBezTo>
                        <a:cubicBezTo>
                          <a:pt x="16446" y="17109"/>
                          <a:pt x="18913" y="21829"/>
                          <a:pt x="16429" y="24036"/>
                        </a:cubicBezTo>
                        <a:cubicBezTo>
                          <a:pt x="15698" y="25050"/>
                          <a:pt x="14347" y="24416"/>
                          <a:pt x="13368" y="24919"/>
                        </a:cubicBezTo>
                        <a:cubicBezTo>
                          <a:pt x="10307" y="27309"/>
                          <a:pt x="2463" y="25033"/>
                          <a:pt x="148" y="27651"/>
                        </a:cubicBezTo>
                        <a:cubicBezTo>
                          <a:pt x="-498" y="29179"/>
                          <a:pt x="1170" y="30424"/>
                          <a:pt x="1355" y="31934"/>
                        </a:cubicBezTo>
                        <a:cubicBezTo>
                          <a:pt x="2869" y="34456"/>
                          <a:pt x="7126" y="33816"/>
                          <a:pt x="9625" y="34147"/>
                        </a:cubicBezTo>
                        <a:cubicBezTo>
                          <a:pt x="15409" y="34821"/>
                          <a:pt x="124315" y="6707"/>
                          <a:pt x="111269" y="634"/>
                        </a:cubicBezTo>
                        <a:close/>
                      </a:path>
                    </a:pathLst>
                  </a:custGeom>
                  <a:solidFill>
                    <a:srgbClr val="FFFFFF"/>
                  </a:solidFill>
                  <a:ln w="2826" cap="flat">
                    <a:noFill/>
                    <a:prstDash val="solid"/>
                    <a:miter/>
                  </a:ln>
                </p:spPr>
                <p:txBody>
                  <a:bodyPr rtlCol="0" anchor="ctr"/>
                  <a:lstStyle/>
                  <a:p>
                    <a:endParaRPr lang="fr-CA"/>
                  </a:p>
                </p:txBody>
              </p:sp>
              <p:sp>
                <p:nvSpPr>
                  <p:cNvPr id="1556" name="Forme libre : forme 1555">
                    <a:extLst>
                      <a:ext uri="{FF2B5EF4-FFF2-40B4-BE49-F238E27FC236}">
                        <a16:creationId xmlns:a16="http://schemas.microsoft.com/office/drawing/2014/main" id="{39EA93FE-7A8A-1323-72AE-A62A68976A32}"/>
                      </a:ext>
                    </a:extLst>
                  </p:cNvPr>
                  <p:cNvSpPr/>
                  <p:nvPr/>
                </p:nvSpPr>
                <p:spPr>
                  <a:xfrm>
                    <a:off x="9378256" y="4605068"/>
                    <a:ext cx="102665" cy="101642"/>
                  </a:xfrm>
                  <a:custGeom>
                    <a:avLst/>
                    <a:gdLst>
                      <a:gd name="connsiteX0" fmla="*/ 81933 w 102665"/>
                      <a:gd name="connsiteY0" fmla="*/ 10381 h 101642"/>
                      <a:gd name="connsiteX1" fmla="*/ 79206 w 102665"/>
                      <a:gd name="connsiteY1" fmla="*/ 11120 h 101642"/>
                      <a:gd name="connsiteX2" fmla="*/ 75300 w 102665"/>
                      <a:gd name="connsiteY2" fmla="*/ 23833 h 101642"/>
                      <a:gd name="connsiteX3" fmla="*/ 81499 w 102665"/>
                      <a:gd name="connsiteY3" fmla="*/ 70934 h 101642"/>
                      <a:gd name="connsiteX4" fmla="*/ 52260 w 102665"/>
                      <a:gd name="connsiteY4" fmla="*/ 87293 h 101642"/>
                      <a:gd name="connsiteX5" fmla="*/ 21525 w 102665"/>
                      <a:gd name="connsiteY5" fmla="*/ 30477 h 101642"/>
                      <a:gd name="connsiteX6" fmla="*/ 53970 w 102665"/>
                      <a:gd name="connsiteY6" fmla="*/ 14890 h 101642"/>
                      <a:gd name="connsiteX7" fmla="*/ 55712 w 102665"/>
                      <a:gd name="connsiteY7" fmla="*/ 13785 h 101642"/>
                      <a:gd name="connsiteX8" fmla="*/ 60126 w 102665"/>
                      <a:gd name="connsiteY8" fmla="*/ 3146 h 101642"/>
                      <a:gd name="connsiteX9" fmla="*/ 58750 w 102665"/>
                      <a:gd name="connsiteY9" fmla="*/ 687 h 101642"/>
                      <a:gd name="connsiteX10" fmla="*/ 2303 w 102665"/>
                      <a:gd name="connsiteY10" fmla="*/ 37164 h 101642"/>
                      <a:gd name="connsiteX11" fmla="*/ 16742 w 102665"/>
                      <a:gd name="connsiteY11" fmla="*/ 88680 h 101642"/>
                      <a:gd name="connsiteX12" fmla="*/ 91235 w 102665"/>
                      <a:gd name="connsiteY12" fmla="*/ 82416 h 101642"/>
                      <a:gd name="connsiteX13" fmla="*/ 81933 w 102665"/>
                      <a:gd name="connsiteY13" fmla="*/ 10381 h 10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665" h="101642">
                        <a:moveTo>
                          <a:pt x="81933" y="10381"/>
                        </a:moveTo>
                        <a:cubicBezTo>
                          <a:pt x="81042" y="9679"/>
                          <a:pt x="79617" y="10061"/>
                          <a:pt x="79206" y="11120"/>
                        </a:cubicBezTo>
                        <a:cubicBezTo>
                          <a:pt x="79049" y="12614"/>
                          <a:pt x="73115" y="22728"/>
                          <a:pt x="75300" y="23833"/>
                        </a:cubicBezTo>
                        <a:cubicBezTo>
                          <a:pt x="89545" y="35494"/>
                          <a:pt x="90610" y="56326"/>
                          <a:pt x="81499" y="70934"/>
                        </a:cubicBezTo>
                        <a:cubicBezTo>
                          <a:pt x="75662" y="80288"/>
                          <a:pt x="65654" y="87090"/>
                          <a:pt x="52260" y="87293"/>
                        </a:cubicBezTo>
                        <a:cubicBezTo>
                          <a:pt x="21902" y="88746"/>
                          <a:pt x="6366" y="54031"/>
                          <a:pt x="21525" y="30477"/>
                        </a:cubicBezTo>
                        <a:cubicBezTo>
                          <a:pt x="28321" y="19727"/>
                          <a:pt x="39839" y="14193"/>
                          <a:pt x="53970" y="14890"/>
                        </a:cubicBezTo>
                        <a:cubicBezTo>
                          <a:pt x="54724" y="14932"/>
                          <a:pt x="55424" y="14484"/>
                          <a:pt x="55712" y="13785"/>
                        </a:cubicBezTo>
                        <a:cubicBezTo>
                          <a:pt x="57340" y="9839"/>
                          <a:pt x="58781" y="6358"/>
                          <a:pt x="60126" y="3146"/>
                        </a:cubicBezTo>
                        <a:cubicBezTo>
                          <a:pt x="60589" y="2120"/>
                          <a:pt x="59867" y="827"/>
                          <a:pt x="58750" y="687"/>
                        </a:cubicBezTo>
                        <a:cubicBezTo>
                          <a:pt x="31284" y="-3836"/>
                          <a:pt x="9278" y="14613"/>
                          <a:pt x="2303" y="37164"/>
                        </a:cubicBezTo>
                        <a:cubicBezTo>
                          <a:pt x="-3122" y="54705"/>
                          <a:pt x="784" y="74652"/>
                          <a:pt x="16742" y="88680"/>
                        </a:cubicBezTo>
                        <a:cubicBezTo>
                          <a:pt x="44813" y="110604"/>
                          <a:pt x="75194" y="102143"/>
                          <a:pt x="91235" y="82416"/>
                        </a:cubicBezTo>
                        <a:cubicBezTo>
                          <a:pt x="106857" y="63199"/>
                          <a:pt x="108881" y="33304"/>
                          <a:pt x="81933" y="10381"/>
                        </a:cubicBezTo>
                        <a:close/>
                      </a:path>
                    </a:pathLst>
                  </a:custGeom>
                  <a:solidFill>
                    <a:srgbClr val="FFFFFF"/>
                  </a:solidFill>
                  <a:ln w="2826" cap="flat">
                    <a:noFill/>
                    <a:prstDash val="solid"/>
                    <a:miter/>
                  </a:ln>
                </p:spPr>
                <p:txBody>
                  <a:bodyPr rtlCol="0" anchor="ctr"/>
                  <a:lstStyle/>
                  <a:p>
                    <a:endParaRPr lang="fr-CA"/>
                  </a:p>
                </p:txBody>
              </p:sp>
              <p:sp>
                <p:nvSpPr>
                  <p:cNvPr id="1557" name="Forme libre : forme 1556">
                    <a:extLst>
                      <a:ext uri="{FF2B5EF4-FFF2-40B4-BE49-F238E27FC236}">
                        <a16:creationId xmlns:a16="http://schemas.microsoft.com/office/drawing/2014/main" id="{797DB4DF-4B6C-4B9E-3A6F-07163390660F}"/>
                      </a:ext>
                    </a:extLst>
                  </p:cNvPr>
                  <p:cNvSpPr/>
                  <p:nvPr/>
                </p:nvSpPr>
                <p:spPr>
                  <a:xfrm>
                    <a:off x="9218398" y="4044915"/>
                    <a:ext cx="35286" cy="15969"/>
                  </a:xfrm>
                  <a:custGeom>
                    <a:avLst/>
                    <a:gdLst>
                      <a:gd name="connsiteX0" fmla="*/ 1761 w 35286"/>
                      <a:gd name="connsiteY0" fmla="*/ 12430 h 15969"/>
                      <a:gd name="connsiteX1" fmla="*/ 7946 w 35286"/>
                      <a:gd name="connsiteY1" fmla="*/ 13935 h 15969"/>
                      <a:gd name="connsiteX2" fmla="*/ 31171 w 35286"/>
                      <a:gd name="connsiteY2" fmla="*/ 15951 h 15969"/>
                      <a:gd name="connsiteX3" fmla="*/ 32782 w 35286"/>
                      <a:gd name="connsiteY3" fmla="*/ 15357 h 15969"/>
                      <a:gd name="connsiteX4" fmla="*/ 33153 w 35286"/>
                      <a:gd name="connsiteY4" fmla="*/ 13684 h 15969"/>
                      <a:gd name="connsiteX5" fmla="*/ 34932 w 35286"/>
                      <a:gd name="connsiteY5" fmla="*/ 3987 h 15969"/>
                      <a:gd name="connsiteX6" fmla="*/ 35140 w 35286"/>
                      <a:gd name="connsiteY6" fmla="*/ 2211 h 15969"/>
                      <a:gd name="connsiteX7" fmla="*/ 33710 w 35286"/>
                      <a:gd name="connsiteY7" fmla="*/ 1140 h 15969"/>
                      <a:gd name="connsiteX8" fmla="*/ 7369 w 35286"/>
                      <a:gd name="connsiteY8" fmla="*/ 238 h 15969"/>
                      <a:gd name="connsiteX9" fmla="*/ 1761 w 35286"/>
                      <a:gd name="connsiteY9" fmla="*/ 12430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86" h="15969">
                        <a:moveTo>
                          <a:pt x="1761" y="12430"/>
                        </a:moveTo>
                        <a:cubicBezTo>
                          <a:pt x="3614" y="14158"/>
                          <a:pt x="5956" y="13898"/>
                          <a:pt x="7946" y="13935"/>
                        </a:cubicBezTo>
                        <a:cubicBezTo>
                          <a:pt x="15347" y="14089"/>
                          <a:pt x="23162" y="14766"/>
                          <a:pt x="31171" y="15951"/>
                        </a:cubicBezTo>
                        <a:cubicBezTo>
                          <a:pt x="31765" y="16039"/>
                          <a:pt x="32382" y="15816"/>
                          <a:pt x="32782" y="15357"/>
                        </a:cubicBezTo>
                        <a:cubicBezTo>
                          <a:pt x="33181" y="14897"/>
                          <a:pt x="33321" y="14266"/>
                          <a:pt x="33153" y="13684"/>
                        </a:cubicBezTo>
                        <a:cubicBezTo>
                          <a:pt x="32156" y="10237"/>
                          <a:pt x="32773" y="6885"/>
                          <a:pt x="34932" y="3987"/>
                        </a:cubicBezTo>
                        <a:cubicBezTo>
                          <a:pt x="35314" y="3476"/>
                          <a:pt x="35394" y="2799"/>
                          <a:pt x="35140" y="2211"/>
                        </a:cubicBezTo>
                        <a:cubicBezTo>
                          <a:pt x="34889" y="1625"/>
                          <a:pt x="34343" y="1217"/>
                          <a:pt x="33710" y="1140"/>
                        </a:cubicBezTo>
                        <a:cubicBezTo>
                          <a:pt x="25558" y="252"/>
                          <a:pt x="16732" y="-359"/>
                          <a:pt x="7369" y="238"/>
                        </a:cubicBezTo>
                        <a:cubicBezTo>
                          <a:pt x="4022" y="1140"/>
                          <a:pt x="-3373" y="6931"/>
                          <a:pt x="1761" y="12430"/>
                        </a:cubicBezTo>
                        <a:close/>
                      </a:path>
                    </a:pathLst>
                  </a:custGeom>
                  <a:solidFill>
                    <a:srgbClr val="FFFFFF"/>
                  </a:solidFill>
                  <a:ln w="2826" cap="flat">
                    <a:noFill/>
                    <a:prstDash val="solid"/>
                    <a:miter/>
                  </a:ln>
                </p:spPr>
                <p:txBody>
                  <a:bodyPr rtlCol="0" anchor="ctr"/>
                  <a:lstStyle/>
                  <a:p>
                    <a:endParaRPr lang="fr-CA"/>
                  </a:p>
                </p:txBody>
              </p:sp>
              <p:sp>
                <p:nvSpPr>
                  <p:cNvPr id="1558" name="Forme libre : forme 1557">
                    <a:extLst>
                      <a:ext uri="{FF2B5EF4-FFF2-40B4-BE49-F238E27FC236}">
                        <a16:creationId xmlns:a16="http://schemas.microsoft.com/office/drawing/2014/main" id="{4BA2CA09-BF7A-90C7-43B3-BDE5338E357E}"/>
                      </a:ext>
                    </a:extLst>
                  </p:cNvPr>
                  <p:cNvSpPr/>
                  <p:nvPr/>
                </p:nvSpPr>
                <p:spPr>
                  <a:xfrm>
                    <a:off x="9156994" y="4253261"/>
                    <a:ext cx="231515" cy="394784"/>
                  </a:xfrm>
                  <a:custGeom>
                    <a:avLst/>
                    <a:gdLst>
                      <a:gd name="connsiteX0" fmla="*/ 230697 w 231515"/>
                      <a:gd name="connsiteY0" fmla="*/ 200832 h 394784"/>
                      <a:gd name="connsiteX1" fmla="*/ 199717 w 231515"/>
                      <a:gd name="connsiteY1" fmla="*/ 83195 h 394784"/>
                      <a:gd name="connsiteX2" fmla="*/ 91565 w 231515"/>
                      <a:gd name="connsiteY2" fmla="*/ 138 h 394784"/>
                      <a:gd name="connsiteX3" fmla="*/ 24872 w 231515"/>
                      <a:gd name="connsiteY3" fmla="*/ 60189 h 394784"/>
                      <a:gd name="connsiteX4" fmla="*/ 5196 w 231515"/>
                      <a:gd name="connsiteY4" fmla="*/ 129845 h 394784"/>
                      <a:gd name="connsiteX5" fmla="*/ 425 w 231515"/>
                      <a:gd name="connsiteY5" fmla="*/ 165355 h 394784"/>
                      <a:gd name="connsiteX6" fmla="*/ 21417 w 231515"/>
                      <a:gd name="connsiteY6" fmla="*/ 297363 h 394784"/>
                      <a:gd name="connsiteX7" fmla="*/ 72311 w 231515"/>
                      <a:gd name="connsiteY7" fmla="*/ 363844 h 394784"/>
                      <a:gd name="connsiteX8" fmla="*/ 74864 w 231515"/>
                      <a:gd name="connsiteY8" fmla="*/ 368124 h 394784"/>
                      <a:gd name="connsiteX9" fmla="*/ 142570 w 231515"/>
                      <a:gd name="connsiteY9" fmla="*/ 394365 h 394784"/>
                      <a:gd name="connsiteX10" fmla="*/ 197238 w 231515"/>
                      <a:gd name="connsiteY10" fmla="*/ 356300 h 394784"/>
                      <a:gd name="connsiteX11" fmla="*/ 230697 w 231515"/>
                      <a:gd name="connsiteY11" fmla="*/ 200832 h 394784"/>
                      <a:gd name="connsiteX12" fmla="*/ 104439 w 231515"/>
                      <a:gd name="connsiteY12" fmla="*/ 372427 h 394784"/>
                      <a:gd name="connsiteX13" fmla="*/ 75175 w 231515"/>
                      <a:gd name="connsiteY13" fmla="*/ 347617 h 394784"/>
                      <a:gd name="connsiteX14" fmla="*/ 56407 w 231515"/>
                      <a:gd name="connsiteY14" fmla="*/ 322807 h 394784"/>
                      <a:gd name="connsiteX15" fmla="*/ 32345 w 231515"/>
                      <a:gd name="connsiteY15" fmla="*/ 69683 h 394784"/>
                      <a:gd name="connsiteX16" fmla="*/ 35731 w 231515"/>
                      <a:gd name="connsiteY16" fmla="*/ 63247 h 394784"/>
                      <a:gd name="connsiteX17" fmla="*/ 49428 w 231515"/>
                      <a:gd name="connsiteY17" fmla="*/ 39377 h 394784"/>
                      <a:gd name="connsiteX18" fmla="*/ 132242 w 231515"/>
                      <a:gd name="connsiteY18" fmla="*/ 26210 h 394784"/>
                      <a:gd name="connsiteX19" fmla="*/ 192198 w 231515"/>
                      <a:gd name="connsiteY19" fmla="*/ 104167 h 394784"/>
                      <a:gd name="connsiteX20" fmla="*/ 209091 w 231515"/>
                      <a:gd name="connsiteY20" fmla="*/ 292912 h 394784"/>
                      <a:gd name="connsiteX21" fmla="*/ 150245 w 231515"/>
                      <a:gd name="connsiteY21" fmla="*/ 374980 h 394784"/>
                      <a:gd name="connsiteX22" fmla="*/ 104439 w 231515"/>
                      <a:gd name="connsiteY22" fmla="*/ 372427 h 39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1515" h="394784">
                        <a:moveTo>
                          <a:pt x="230697" y="200832"/>
                        </a:moveTo>
                        <a:cubicBezTo>
                          <a:pt x="228835" y="166057"/>
                          <a:pt x="218425" y="121499"/>
                          <a:pt x="199717" y="83195"/>
                        </a:cubicBezTo>
                        <a:cubicBezTo>
                          <a:pt x="176397" y="35445"/>
                          <a:pt x="140183" y="-2591"/>
                          <a:pt x="91565" y="138"/>
                        </a:cubicBezTo>
                        <a:cubicBezTo>
                          <a:pt x="59782" y="4941"/>
                          <a:pt x="38646" y="29751"/>
                          <a:pt x="24872" y="60189"/>
                        </a:cubicBezTo>
                        <a:cubicBezTo>
                          <a:pt x="24096" y="61908"/>
                          <a:pt x="7966" y="99933"/>
                          <a:pt x="5196" y="129845"/>
                        </a:cubicBezTo>
                        <a:cubicBezTo>
                          <a:pt x="2715" y="141190"/>
                          <a:pt x="1064" y="153117"/>
                          <a:pt x="425" y="165355"/>
                        </a:cubicBezTo>
                        <a:cubicBezTo>
                          <a:pt x="-1817" y="208151"/>
                          <a:pt x="4762" y="258862"/>
                          <a:pt x="21417" y="297363"/>
                        </a:cubicBezTo>
                        <a:cubicBezTo>
                          <a:pt x="31477" y="320611"/>
                          <a:pt x="51958" y="347455"/>
                          <a:pt x="72311" y="363844"/>
                        </a:cubicBezTo>
                        <a:cubicBezTo>
                          <a:pt x="71811" y="364550"/>
                          <a:pt x="74058" y="367476"/>
                          <a:pt x="74864" y="368124"/>
                        </a:cubicBezTo>
                        <a:cubicBezTo>
                          <a:pt x="97427" y="387738"/>
                          <a:pt x="118693" y="396921"/>
                          <a:pt x="142570" y="394365"/>
                        </a:cubicBezTo>
                        <a:cubicBezTo>
                          <a:pt x="165969" y="389625"/>
                          <a:pt x="183858" y="375514"/>
                          <a:pt x="197238" y="356300"/>
                        </a:cubicBezTo>
                        <a:cubicBezTo>
                          <a:pt x="226671" y="314027"/>
                          <a:pt x="234272" y="247060"/>
                          <a:pt x="230697" y="200832"/>
                        </a:cubicBezTo>
                        <a:close/>
                        <a:moveTo>
                          <a:pt x="104439" y="372427"/>
                        </a:moveTo>
                        <a:cubicBezTo>
                          <a:pt x="92267" y="364338"/>
                          <a:pt x="81471" y="354459"/>
                          <a:pt x="75175" y="347617"/>
                        </a:cubicBezTo>
                        <a:cubicBezTo>
                          <a:pt x="68042" y="339868"/>
                          <a:pt x="61144" y="330491"/>
                          <a:pt x="56407" y="322807"/>
                        </a:cubicBezTo>
                        <a:cubicBezTo>
                          <a:pt x="11886" y="250561"/>
                          <a:pt x="-1234" y="155926"/>
                          <a:pt x="32345" y="69683"/>
                        </a:cubicBezTo>
                        <a:cubicBezTo>
                          <a:pt x="33958" y="66445"/>
                          <a:pt x="35271" y="63887"/>
                          <a:pt x="35731" y="63247"/>
                        </a:cubicBezTo>
                        <a:cubicBezTo>
                          <a:pt x="41493" y="55207"/>
                          <a:pt x="42053" y="46007"/>
                          <a:pt x="49428" y="39377"/>
                        </a:cubicBezTo>
                        <a:cubicBezTo>
                          <a:pt x="72811" y="18353"/>
                          <a:pt x="103057" y="7479"/>
                          <a:pt x="132242" y="26210"/>
                        </a:cubicBezTo>
                        <a:cubicBezTo>
                          <a:pt x="157443" y="40207"/>
                          <a:pt x="177836" y="68924"/>
                          <a:pt x="192198" y="104167"/>
                        </a:cubicBezTo>
                        <a:cubicBezTo>
                          <a:pt x="215589" y="161563"/>
                          <a:pt x="222982" y="236270"/>
                          <a:pt x="209091" y="292912"/>
                        </a:cubicBezTo>
                        <a:cubicBezTo>
                          <a:pt x="199474" y="332127"/>
                          <a:pt x="173464" y="367662"/>
                          <a:pt x="150245" y="374980"/>
                        </a:cubicBezTo>
                        <a:cubicBezTo>
                          <a:pt x="137961" y="378843"/>
                          <a:pt x="122571" y="377835"/>
                          <a:pt x="104439" y="372427"/>
                        </a:cubicBezTo>
                        <a:close/>
                      </a:path>
                    </a:pathLst>
                  </a:custGeom>
                  <a:solidFill>
                    <a:srgbClr val="FFFFFF"/>
                  </a:solidFill>
                  <a:ln w="2826" cap="flat">
                    <a:noFill/>
                    <a:prstDash val="solid"/>
                    <a:miter/>
                  </a:ln>
                </p:spPr>
                <p:txBody>
                  <a:bodyPr rtlCol="0" anchor="ctr"/>
                  <a:lstStyle/>
                  <a:p>
                    <a:endParaRPr lang="fr-CA"/>
                  </a:p>
                </p:txBody>
              </p:sp>
              <p:sp>
                <p:nvSpPr>
                  <p:cNvPr id="1559" name="Forme libre : forme 1558">
                    <a:extLst>
                      <a:ext uri="{FF2B5EF4-FFF2-40B4-BE49-F238E27FC236}">
                        <a16:creationId xmlns:a16="http://schemas.microsoft.com/office/drawing/2014/main" id="{9C69B058-1EBE-2DDC-DC90-24CFD34B985A}"/>
                      </a:ext>
                    </a:extLst>
                  </p:cNvPr>
                  <p:cNvSpPr/>
                  <p:nvPr/>
                </p:nvSpPr>
                <p:spPr>
                  <a:xfrm>
                    <a:off x="9271862" y="4429877"/>
                    <a:ext cx="22922" cy="35961"/>
                  </a:xfrm>
                  <a:custGeom>
                    <a:avLst/>
                    <a:gdLst>
                      <a:gd name="connsiteX0" fmla="*/ 19555 w 22922"/>
                      <a:gd name="connsiteY0" fmla="*/ 7618 h 35961"/>
                      <a:gd name="connsiteX1" fmla="*/ 8468 w 22922"/>
                      <a:gd name="connsiteY1" fmla="*/ 0 h 35961"/>
                      <a:gd name="connsiteX2" fmla="*/ 510 w 22922"/>
                      <a:gd name="connsiteY2" fmla="*/ 12312 h 35961"/>
                      <a:gd name="connsiteX3" fmla="*/ 1415 w 22922"/>
                      <a:gd name="connsiteY3" fmla="*/ 20045 h 35961"/>
                      <a:gd name="connsiteX4" fmla="*/ 1767 w 22922"/>
                      <a:gd name="connsiteY4" fmla="*/ 26483 h 35961"/>
                      <a:gd name="connsiteX5" fmla="*/ 10481 w 22922"/>
                      <a:gd name="connsiteY5" fmla="*/ 35172 h 35961"/>
                      <a:gd name="connsiteX6" fmla="*/ 11712 w 22922"/>
                      <a:gd name="connsiteY6" fmla="*/ 35837 h 35961"/>
                      <a:gd name="connsiteX7" fmla="*/ 21334 w 22922"/>
                      <a:gd name="connsiteY7" fmla="*/ 30986 h 35961"/>
                      <a:gd name="connsiteX8" fmla="*/ 19555 w 22922"/>
                      <a:gd name="connsiteY8" fmla="*/ 7618 h 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 h="35961">
                        <a:moveTo>
                          <a:pt x="19555" y="7618"/>
                        </a:moveTo>
                        <a:cubicBezTo>
                          <a:pt x="17003" y="3358"/>
                          <a:pt x="13168" y="722"/>
                          <a:pt x="8468" y="0"/>
                        </a:cubicBezTo>
                        <a:cubicBezTo>
                          <a:pt x="4368" y="297"/>
                          <a:pt x="2972" y="10097"/>
                          <a:pt x="510" y="12312"/>
                        </a:cubicBezTo>
                        <a:cubicBezTo>
                          <a:pt x="-1146" y="13417"/>
                          <a:pt x="1792" y="18857"/>
                          <a:pt x="1415" y="20045"/>
                        </a:cubicBezTo>
                        <a:cubicBezTo>
                          <a:pt x="2195" y="22443"/>
                          <a:pt x="490" y="24505"/>
                          <a:pt x="1767" y="26483"/>
                        </a:cubicBezTo>
                        <a:cubicBezTo>
                          <a:pt x="4596" y="29433"/>
                          <a:pt x="7997" y="32080"/>
                          <a:pt x="10481" y="35172"/>
                        </a:cubicBezTo>
                        <a:cubicBezTo>
                          <a:pt x="10784" y="35552"/>
                          <a:pt x="11226" y="35792"/>
                          <a:pt x="11712" y="35837"/>
                        </a:cubicBezTo>
                        <a:cubicBezTo>
                          <a:pt x="15378" y="36166"/>
                          <a:pt x="19613" y="36214"/>
                          <a:pt x="21334" y="30986"/>
                        </a:cubicBezTo>
                        <a:cubicBezTo>
                          <a:pt x="23990" y="23408"/>
                          <a:pt x="23262" y="13806"/>
                          <a:pt x="19555" y="7618"/>
                        </a:cubicBezTo>
                        <a:close/>
                      </a:path>
                    </a:pathLst>
                  </a:custGeom>
                  <a:solidFill>
                    <a:srgbClr val="FFFFFF"/>
                  </a:solidFill>
                  <a:ln w="2826" cap="flat">
                    <a:noFill/>
                    <a:prstDash val="solid"/>
                    <a:miter/>
                  </a:ln>
                </p:spPr>
                <p:txBody>
                  <a:bodyPr rtlCol="0" anchor="ctr"/>
                  <a:lstStyle/>
                  <a:p>
                    <a:endParaRPr lang="fr-CA"/>
                  </a:p>
                </p:txBody>
              </p:sp>
              <p:sp>
                <p:nvSpPr>
                  <p:cNvPr id="1560" name="Forme libre : forme 1559">
                    <a:extLst>
                      <a:ext uri="{FF2B5EF4-FFF2-40B4-BE49-F238E27FC236}">
                        <a16:creationId xmlns:a16="http://schemas.microsoft.com/office/drawing/2014/main" id="{72FF5839-1081-9183-0883-E9D701630E27}"/>
                      </a:ext>
                    </a:extLst>
                  </p:cNvPr>
                  <p:cNvSpPr/>
                  <p:nvPr/>
                </p:nvSpPr>
                <p:spPr>
                  <a:xfrm>
                    <a:off x="9245388" y="4433424"/>
                    <a:ext cx="19273" cy="36497"/>
                  </a:xfrm>
                  <a:custGeom>
                    <a:avLst/>
                    <a:gdLst>
                      <a:gd name="connsiteX0" fmla="*/ 19178 w 19273"/>
                      <a:gd name="connsiteY0" fmla="*/ 17897 h 36497"/>
                      <a:gd name="connsiteX1" fmla="*/ 6657 w 19273"/>
                      <a:gd name="connsiteY1" fmla="*/ 0 h 36497"/>
                      <a:gd name="connsiteX2" fmla="*/ 2177 w 19273"/>
                      <a:gd name="connsiteY2" fmla="*/ 8757 h 36497"/>
                      <a:gd name="connsiteX3" fmla="*/ 4493 w 19273"/>
                      <a:gd name="connsiteY3" fmla="*/ 28434 h 36497"/>
                      <a:gd name="connsiteX4" fmla="*/ 9164 w 19273"/>
                      <a:gd name="connsiteY4" fmla="*/ 36497 h 36497"/>
                      <a:gd name="connsiteX5" fmla="*/ 19178 w 19273"/>
                      <a:gd name="connsiteY5" fmla="*/ 17897 h 3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3" h="36497">
                        <a:moveTo>
                          <a:pt x="19178" y="17897"/>
                        </a:moveTo>
                        <a:cubicBezTo>
                          <a:pt x="18447" y="12858"/>
                          <a:pt x="13356" y="68"/>
                          <a:pt x="6657" y="0"/>
                        </a:cubicBezTo>
                        <a:cubicBezTo>
                          <a:pt x="2971" y="166"/>
                          <a:pt x="-3357" y="8846"/>
                          <a:pt x="2177" y="8757"/>
                        </a:cubicBezTo>
                        <a:cubicBezTo>
                          <a:pt x="11874" y="5896"/>
                          <a:pt x="13590" y="28359"/>
                          <a:pt x="4493" y="28434"/>
                        </a:cubicBezTo>
                        <a:cubicBezTo>
                          <a:pt x="-339" y="28573"/>
                          <a:pt x="4738" y="36069"/>
                          <a:pt x="9164" y="36497"/>
                        </a:cubicBezTo>
                        <a:cubicBezTo>
                          <a:pt x="15517" y="35792"/>
                          <a:pt x="19994" y="22209"/>
                          <a:pt x="19178" y="17897"/>
                        </a:cubicBezTo>
                        <a:close/>
                      </a:path>
                    </a:pathLst>
                  </a:custGeom>
                  <a:solidFill>
                    <a:srgbClr val="FFFFFF"/>
                  </a:solidFill>
                  <a:ln w="2826" cap="flat">
                    <a:noFill/>
                    <a:prstDash val="solid"/>
                    <a:miter/>
                  </a:ln>
                </p:spPr>
                <p:txBody>
                  <a:bodyPr rtlCol="0" anchor="ctr"/>
                  <a:lstStyle/>
                  <a:p>
                    <a:endParaRPr lang="fr-CA"/>
                  </a:p>
                </p:txBody>
              </p:sp>
              <p:sp>
                <p:nvSpPr>
                  <p:cNvPr id="1561" name="Forme libre : forme 1560">
                    <a:extLst>
                      <a:ext uri="{FF2B5EF4-FFF2-40B4-BE49-F238E27FC236}">
                        <a16:creationId xmlns:a16="http://schemas.microsoft.com/office/drawing/2014/main" id="{9C8DA102-E15B-B45C-1309-A9662601A888}"/>
                      </a:ext>
                    </a:extLst>
                  </p:cNvPr>
                  <p:cNvSpPr/>
                  <p:nvPr/>
                </p:nvSpPr>
                <p:spPr>
                  <a:xfrm>
                    <a:off x="9289044" y="4244828"/>
                    <a:ext cx="172667" cy="28029"/>
                  </a:xfrm>
                  <a:custGeom>
                    <a:avLst/>
                    <a:gdLst>
                      <a:gd name="connsiteX0" fmla="*/ 171158 w 172667"/>
                      <a:gd name="connsiteY0" fmla="*/ 12983 h 28029"/>
                      <a:gd name="connsiteX1" fmla="*/ 170633 w 172667"/>
                      <a:gd name="connsiteY1" fmla="*/ 12929 h 28029"/>
                      <a:gd name="connsiteX2" fmla="*/ 170636 w 172667"/>
                      <a:gd name="connsiteY2" fmla="*/ 12900 h 28029"/>
                      <a:gd name="connsiteX3" fmla="*/ 151622 w 172667"/>
                      <a:gd name="connsiteY3" fmla="*/ 9868 h 28029"/>
                      <a:gd name="connsiteX4" fmla="*/ 136731 w 172667"/>
                      <a:gd name="connsiteY4" fmla="*/ 8080 h 28029"/>
                      <a:gd name="connsiteX5" fmla="*/ 123308 w 172667"/>
                      <a:gd name="connsiteY5" fmla="*/ 10068 h 28029"/>
                      <a:gd name="connsiteX6" fmla="*/ 97587 w 172667"/>
                      <a:gd name="connsiteY6" fmla="*/ 12366 h 28029"/>
                      <a:gd name="connsiteX7" fmla="*/ 2987 w 172667"/>
                      <a:gd name="connsiteY7" fmla="*/ 377 h 28029"/>
                      <a:gd name="connsiteX8" fmla="*/ 451 w 172667"/>
                      <a:gd name="connsiteY8" fmla="*/ 7181 h 28029"/>
                      <a:gd name="connsiteX9" fmla="*/ 2207 w 172667"/>
                      <a:gd name="connsiteY9" fmla="*/ 14602 h 28029"/>
                      <a:gd name="connsiteX10" fmla="*/ 105842 w 172667"/>
                      <a:gd name="connsiteY10" fmla="*/ 25889 h 28029"/>
                      <a:gd name="connsiteX11" fmla="*/ 146380 w 172667"/>
                      <a:gd name="connsiteY11" fmla="*/ 16475 h 28029"/>
                      <a:gd name="connsiteX12" fmla="*/ 161407 w 172667"/>
                      <a:gd name="connsiteY12" fmla="*/ 18522 h 28029"/>
                      <a:gd name="connsiteX13" fmla="*/ 170542 w 172667"/>
                      <a:gd name="connsiteY13" fmla="*/ 19747 h 28029"/>
                      <a:gd name="connsiteX14" fmla="*/ 172657 w 172667"/>
                      <a:gd name="connsiteY14" fmla="*/ 17983 h 28029"/>
                      <a:gd name="connsiteX15" fmla="*/ 171158 w 172667"/>
                      <a:gd name="connsiteY15" fmla="*/ 12983 h 2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667" h="28029">
                        <a:moveTo>
                          <a:pt x="171158" y="12983"/>
                        </a:moveTo>
                        <a:cubicBezTo>
                          <a:pt x="170984" y="12954"/>
                          <a:pt x="170819" y="12929"/>
                          <a:pt x="170633" y="12929"/>
                        </a:cubicBezTo>
                        <a:cubicBezTo>
                          <a:pt x="170633" y="12917"/>
                          <a:pt x="170633" y="12909"/>
                          <a:pt x="170636" y="12900"/>
                        </a:cubicBezTo>
                        <a:lnTo>
                          <a:pt x="151622" y="9868"/>
                        </a:lnTo>
                        <a:cubicBezTo>
                          <a:pt x="151613" y="10019"/>
                          <a:pt x="139378" y="8246"/>
                          <a:pt x="136731" y="8080"/>
                        </a:cubicBezTo>
                        <a:cubicBezTo>
                          <a:pt x="132354" y="9277"/>
                          <a:pt x="127960" y="9662"/>
                          <a:pt x="123308" y="10068"/>
                        </a:cubicBezTo>
                        <a:cubicBezTo>
                          <a:pt x="114702" y="10927"/>
                          <a:pt x="106910" y="11424"/>
                          <a:pt x="97587" y="12366"/>
                        </a:cubicBezTo>
                        <a:cubicBezTo>
                          <a:pt x="65391" y="15441"/>
                          <a:pt x="25321" y="19268"/>
                          <a:pt x="2987" y="377"/>
                        </a:cubicBezTo>
                        <a:cubicBezTo>
                          <a:pt x="-1216" y="-1642"/>
                          <a:pt x="152" y="5011"/>
                          <a:pt x="451" y="7181"/>
                        </a:cubicBezTo>
                        <a:cubicBezTo>
                          <a:pt x="1174" y="9379"/>
                          <a:pt x="-519" y="14236"/>
                          <a:pt x="2207" y="14602"/>
                        </a:cubicBezTo>
                        <a:cubicBezTo>
                          <a:pt x="36412" y="22574"/>
                          <a:pt x="71130" y="22977"/>
                          <a:pt x="105842" y="25889"/>
                        </a:cubicBezTo>
                        <a:cubicBezTo>
                          <a:pt x="119454" y="28682"/>
                          <a:pt x="140295" y="31217"/>
                          <a:pt x="146380" y="16475"/>
                        </a:cubicBezTo>
                        <a:cubicBezTo>
                          <a:pt x="151511" y="17280"/>
                          <a:pt x="158732" y="18231"/>
                          <a:pt x="161407" y="18522"/>
                        </a:cubicBezTo>
                        <a:cubicBezTo>
                          <a:pt x="164414" y="18851"/>
                          <a:pt x="167526" y="19188"/>
                          <a:pt x="170542" y="19747"/>
                        </a:cubicBezTo>
                        <a:cubicBezTo>
                          <a:pt x="171601" y="19973"/>
                          <a:pt x="172689" y="19071"/>
                          <a:pt x="172657" y="17983"/>
                        </a:cubicBezTo>
                        <a:cubicBezTo>
                          <a:pt x="172535" y="16549"/>
                          <a:pt x="173197" y="13411"/>
                          <a:pt x="171158" y="12983"/>
                        </a:cubicBezTo>
                        <a:close/>
                      </a:path>
                    </a:pathLst>
                  </a:custGeom>
                  <a:solidFill>
                    <a:srgbClr val="FFFFFF"/>
                  </a:solidFill>
                  <a:ln w="2826" cap="flat">
                    <a:noFill/>
                    <a:prstDash val="solid"/>
                    <a:miter/>
                  </a:ln>
                </p:spPr>
                <p:txBody>
                  <a:bodyPr rtlCol="0" anchor="ctr"/>
                  <a:lstStyle/>
                  <a:p>
                    <a:endParaRPr lang="fr-CA"/>
                  </a:p>
                </p:txBody>
              </p:sp>
            </p:grpSp>
            <p:grpSp>
              <p:nvGrpSpPr>
                <p:cNvPr id="1541" name="Graphique 35" descr="Garçon dans un fauteuil roulant">
                  <a:extLst>
                    <a:ext uri="{FF2B5EF4-FFF2-40B4-BE49-F238E27FC236}">
                      <a16:creationId xmlns:a16="http://schemas.microsoft.com/office/drawing/2014/main" id="{394AB73B-27E8-10A4-44D0-6AC67A555B2D}"/>
                    </a:ext>
                  </a:extLst>
                </p:cNvPr>
                <p:cNvGrpSpPr/>
                <p:nvPr/>
              </p:nvGrpSpPr>
              <p:grpSpPr>
                <a:xfrm>
                  <a:off x="9476564" y="4235455"/>
                  <a:ext cx="283060" cy="335695"/>
                  <a:chOff x="9476564" y="4235455"/>
                  <a:chExt cx="283060" cy="335695"/>
                </a:xfrm>
                <a:solidFill>
                  <a:srgbClr val="000000"/>
                </a:solidFill>
              </p:grpSpPr>
              <p:sp>
                <p:nvSpPr>
                  <p:cNvPr id="1551" name="Forme libre : forme 1550">
                    <a:extLst>
                      <a:ext uri="{FF2B5EF4-FFF2-40B4-BE49-F238E27FC236}">
                        <a16:creationId xmlns:a16="http://schemas.microsoft.com/office/drawing/2014/main" id="{A3F96804-5016-51C5-BA5F-EC1F582D227B}"/>
                      </a:ext>
                    </a:extLst>
                  </p:cNvPr>
                  <p:cNvSpPr/>
                  <p:nvPr/>
                </p:nvSpPr>
                <p:spPr>
                  <a:xfrm>
                    <a:off x="9476564" y="4235455"/>
                    <a:ext cx="283060" cy="335695"/>
                  </a:xfrm>
                  <a:custGeom>
                    <a:avLst/>
                    <a:gdLst>
                      <a:gd name="connsiteX0" fmla="*/ 280186 w 283060"/>
                      <a:gd name="connsiteY0" fmla="*/ 129361 h 335695"/>
                      <a:gd name="connsiteX1" fmla="*/ 217592 w 283060"/>
                      <a:gd name="connsiteY1" fmla="*/ 27439 h 335695"/>
                      <a:gd name="connsiteX2" fmla="*/ 102632 w 283060"/>
                      <a:gd name="connsiteY2" fmla="*/ 5 h 335695"/>
                      <a:gd name="connsiteX3" fmla="*/ 54494 w 283060"/>
                      <a:gd name="connsiteY3" fmla="*/ 6792 h 335695"/>
                      <a:gd name="connsiteX4" fmla="*/ 52532 w 283060"/>
                      <a:gd name="connsiteY4" fmla="*/ 9179 h 335695"/>
                      <a:gd name="connsiteX5" fmla="*/ 53249 w 283060"/>
                      <a:gd name="connsiteY5" fmla="*/ 13950 h 335695"/>
                      <a:gd name="connsiteX6" fmla="*/ 46331 w 283060"/>
                      <a:gd name="connsiteY6" fmla="*/ 17051 h 335695"/>
                      <a:gd name="connsiteX7" fmla="*/ 39252 w 283060"/>
                      <a:gd name="connsiteY7" fmla="*/ 18402 h 335695"/>
                      <a:gd name="connsiteX8" fmla="*/ 34401 w 283060"/>
                      <a:gd name="connsiteY8" fmla="*/ 15381 h 335695"/>
                      <a:gd name="connsiteX9" fmla="*/ 33684 w 283060"/>
                      <a:gd name="connsiteY9" fmla="*/ 28501 h 335695"/>
                      <a:gd name="connsiteX10" fmla="*/ 14519 w 283060"/>
                      <a:gd name="connsiteY10" fmla="*/ 14904 h 335695"/>
                      <a:gd name="connsiteX11" fmla="*/ 442 w 283060"/>
                      <a:gd name="connsiteY11" fmla="*/ 14904 h 335695"/>
                      <a:gd name="connsiteX12" fmla="*/ 2464 w 283060"/>
                      <a:gd name="connsiteY12" fmla="*/ 124347 h 335695"/>
                      <a:gd name="connsiteX13" fmla="*/ 4314 w 283060"/>
                      <a:gd name="connsiteY13" fmla="*/ 126074 h 335695"/>
                      <a:gd name="connsiteX14" fmla="*/ 18451 w 283060"/>
                      <a:gd name="connsiteY14" fmla="*/ 131733 h 335695"/>
                      <a:gd name="connsiteX15" fmla="*/ 22748 w 283060"/>
                      <a:gd name="connsiteY15" fmla="*/ 164416 h 335695"/>
                      <a:gd name="connsiteX16" fmla="*/ 23988 w 283060"/>
                      <a:gd name="connsiteY16" fmla="*/ 166346 h 335695"/>
                      <a:gd name="connsiteX17" fmla="*/ 54314 w 283060"/>
                      <a:gd name="connsiteY17" fmla="*/ 205633 h 335695"/>
                      <a:gd name="connsiteX18" fmla="*/ 76497 w 283060"/>
                      <a:gd name="connsiteY18" fmla="*/ 312163 h 335695"/>
                      <a:gd name="connsiteX19" fmla="*/ 78153 w 283060"/>
                      <a:gd name="connsiteY19" fmla="*/ 324418 h 335695"/>
                      <a:gd name="connsiteX20" fmla="*/ 87253 w 283060"/>
                      <a:gd name="connsiteY20" fmla="*/ 326371 h 335695"/>
                      <a:gd name="connsiteX21" fmla="*/ 112372 w 283060"/>
                      <a:gd name="connsiteY21" fmla="*/ 316446 h 335695"/>
                      <a:gd name="connsiteX22" fmla="*/ 110759 w 283060"/>
                      <a:gd name="connsiteY22" fmla="*/ 300193 h 335695"/>
                      <a:gd name="connsiteX23" fmla="*/ 116801 w 283060"/>
                      <a:gd name="connsiteY23" fmla="*/ 277353 h 335695"/>
                      <a:gd name="connsiteX24" fmla="*/ 111675 w 283060"/>
                      <a:gd name="connsiteY24" fmla="*/ 223359 h 335695"/>
                      <a:gd name="connsiteX25" fmla="*/ 109314 w 283060"/>
                      <a:gd name="connsiteY25" fmla="*/ 99913 h 335695"/>
                      <a:gd name="connsiteX26" fmla="*/ 113917 w 283060"/>
                      <a:gd name="connsiteY26" fmla="*/ 98197 h 335695"/>
                      <a:gd name="connsiteX27" fmla="*/ 158412 w 283060"/>
                      <a:gd name="connsiteY27" fmla="*/ 114556 h 335695"/>
                      <a:gd name="connsiteX28" fmla="*/ 194335 w 283060"/>
                      <a:gd name="connsiteY28" fmla="*/ 132082 h 335695"/>
                      <a:gd name="connsiteX29" fmla="*/ 193447 w 283060"/>
                      <a:gd name="connsiteY29" fmla="*/ 277214 h 335695"/>
                      <a:gd name="connsiteX30" fmla="*/ 197102 w 283060"/>
                      <a:gd name="connsiteY30" fmla="*/ 291744 h 335695"/>
                      <a:gd name="connsiteX31" fmla="*/ 200828 w 283060"/>
                      <a:gd name="connsiteY31" fmla="*/ 319770 h 335695"/>
                      <a:gd name="connsiteX32" fmla="*/ 202375 w 283060"/>
                      <a:gd name="connsiteY32" fmla="*/ 331145 h 335695"/>
                      <a:gd name="connsiteX33" fmla="*/ 205068 w 283060"/>
                      <a:gd name="connsiteY33" fmla="*/ 334935 h 335695"/>
                      <a:gd name="connsiteX34" fmla="*/ 246887 w 283060"/>
                      <a:gd name="connsiteY34" fmla="*/ 331360 h 335695"/>
                      <a:gd name="connsiteX35" fmla="*/ 256344 w 283060"/>
                      <a:gd name="connsiteY35" fmla="*/ 327930 h 335695"/>
                      <a:gd name="connsiteX36" fmla="*/ 265656 w 283060"/>
                      <a:gd name="connsiteY36" fmla="*/ 312329 h 335695"/>
                      <a:gd name="connsiteX37" fmla="*/ 267811 w 283060"/>
                      <a:gd name="connsiteY37" fmla="*/ 297529 h 335695"/>
                      <a:gd name="connsiteX38" fmla="*/ 277540 w 283060"/>
                      <a:gd name="connsiteY38" fmla="*/ 275383 h 335695"/>
                      <a:gd name="connsiteX39" fmla="*/ 280186 w 283060"/>
                      <a:gd name="connsiteY39" fmla="*/ 129361 h 33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3060" h="335695">
                        <a:moveTo>
                          <a:pt x="280186" y="129361"/>
                        </a:moveTo>
                        <a:cubicBezTo>
                          <a:pt x="291305" y="78296"/>
                          <a:pt x="270107" y="40285"/>
                          <a:pt x="217592" y="27439"/>
                        </a:cubicBezTo>
                        <a:cubicBezTo>
                          <a:pt x="207150" y="24615"/>
                          <a:pt x="103572" y="-395"/>
                          <a:pt x="102632" y="5"/>
                        </a:cubicBezTo>
                        <a:cubicBezTo>
                          <a:pt x="91182" y="4882"/>
                          <a:pt x="72945" y="14636"/>
                          <a:pt x="54494" y="6792"/>
                        </a:cubicBezTo>
                        <a:cubicBezTo>
                          <a:pt x="54237" y="6683"/>
                          <a:pt x="53235" y="6741"/>
                          <a:pt x="52532" y="9179"/>
                        </a:cubicBezTo>
                        <a:cubicBezTo>
                          <a:pt x="52158" y="10478"/>
                          <a:pt x="53752" y="12211"/>
                          <a:pt x="53249" y="13950"/>
                        </a:cubicBezTo>
                        <a:cubicBezTo>
                          <a:pt x="52847" y="15349"/>
                          <a:pt x="50611" y="18071"/>
                          <a:pt x="46331" y="17051"/>
                        </a:cubicBezTo>
                        <a:cubicBezTo>
                          <a:pt x="45742" y="16911"/>
                          <a:pt x="44900" y="20949"/>
                          <a:pt x="39252" y="18402"/>
                        </a:cubicBezTo>
                        <a:cubicBezTo>
                          <a:pt x="38338" y="17991"/>
                          <a:pt x="34655" y="14610"/>
                          <a:pt x="34401" y="15381"/>
                        </a:cubicBezTo>
                        <a:cubicBezTo>
                          <a:pt x="33296" y="18716"/>
                          <a:pt x="37096" y="28124"/>
                          <a:pt x="33684" y="28501"/>
                        </a:cubicBezTo>
                        <a:cubicBezTo>
                          <a:pt x="30107" y="28898"/>
                          <a:pt x="21503" y="19024"/>
                          <a:pt x="14519" y="14904"/>
                        </a:cubicBezTo>
                        <a:cubicBezTo>
                          <a:pt x="10585" y="12583"/>
                          <a:pt x="4617" y="14724"/>
                          <a:pt x="442" y="14904"/>
                        </a:cubicBezTo>
                        <a:cubicBezTo>
                          <a:pt x="-1162" y="47583"/>
                          <a:pt x="2087" y="96067"/>
                          <a:pt x="2464" y="124347"/>
                        </a:cubicBezTo>
                        <a:cubicBezTo>
                          <a:pt x="2478" y="125306"/>
                          <a:pt x="3352" y="126126"/>
                          <a:pt x="4314" y="126074"/>
                        </a:cubicBezTo>
                        <a:cubicBezTo>
                          <a:pt x="9205" y="125986"/>
                          <a:pt x="6961" y="125489"/>
                          <a:pt x="18451" y="131733"/>
                        </a:cubicBezTo>
                        <a:cubicBezTo>
                          <a:pt x="21997" y="134218"/>
                          <a:pt x="24210" y="152863"/>
                          <a:pt x="22748" y="164416"/>
                        </a:cubicBezTo>
                        <a:cubicBezTo>
                          <a:pt x="22640" y="165275"/>
                          <a:pt x="23162" y="166086"/>
                          <a:pt x="23988" y="166346"/>
                        </a:cubicBezTo>
                        <a:cubicBezTo>
                          <a:pt x="44635" y="172839"/>
                          <a:pt x="52076" y="195987"/>
                          <a:pt x="54314" y="205633"/>
                        </a:cubicBezTo>
                        <a:cubicBezTo>
                          <a:pt x="63029" y="241016"/>
                          <a:pt x="67743" y="277502"/>
                          <a:pt x="76497" y="312163"/>
                        </a:cubicBezTo>
                        <a:cubicBezTo>
                          <a:pt x="76609" y="317083"/>
                          <a:pt x="77231" y="319844"/>
                          <a:pt x="78153" y="324418"/>
                        </a:cubicBezTo>
                        <a:cubicBezTo>
                          <a:pt x="78942" y="327088"/>
                          <a:pt x="85369" y="325983"/>
                          <a:pt x="87253" y="326371"/>
                        </a:cubicBezTo>
                        <a:cubicBezTo>
                          <a:pt x="96422" y="326143"/>
                          <a:pt x="104440" y="323470"/>
                          <a:pt x="112372" y="316446"/>
                        </a:cubicBezTo>
                        <a:cubicBezTo>
                          <a:pt x="113523" y="309045"/>
                          <a:pt x="113049" y="308211"/>
                          <a:pt x="110759" y="300193"/>
                        </a:cubicBezTo>
                        <a:cubicBezTo>
                          <a:pt x="120495" y="292610"/>
                          <a:pt x="122723" y="286668"/>
                          <a:pt x="116801" y="277353"/>
                        </a:cubicBezTo>
                        <a:cubicBezTo>
                          <a:pt x="107538" y="262586"/>
                          <a:pt x="110739" y="240365"/>
                          <a:pt x="111675" y="223359"/>
                        </a:cubicBezTo>
                        <a:cubicBezTo>
                          <a:pt x="114131" y="182901"/>
                          <a:pt x="114271" y="144577"/>
                          <a:pt x="109314" y="99913"/>
                        </a:cubicBezTo>
                        <a:cubicBezTo>
                          <a:pt x="109231" y="99163"/>
                          <a:pt x="110961" y="98155"/>
                          <a:pt x="113917" y="98197"/>
                        </a:cubicBezTo>
                        <a:cubicBezTo>
                          <a:pt x="130038" y="97481"/>
                          <a:pt x="143735" y="106618"/>
                          <a:pt x="158412" y="114556"/>
                        </a:cubicBezTo>
                        <a:cubicBezTo>
                          <a:pt x="168571" y="119361"/>
                          <a:pt x="195131" y="128578"/>
                          <a:pt x="194335" y="132082"/>
                        </a:cubicBezTo>
                        <a:cubicBezTo>
                          <a:pt x="202627" y="181525"/>
                          <a:pt x="197750" y="232362"/>
                          <a:pt x="193447" y="277214"/>
                        </a:cubicBezTo>
                        <a:cubicBezTo>
                          <a:pt x="193749" y="282333"/>
                          <a:pt x="195508" y="287142"/>
                          <a:pt x="197102" y="291744"/>
                        </a:cubicBezTo>
                        <a:cubicBezTo>
                          <a:pt x="198875" y="296787"/>
                          <a:pt x="201370" y="316977"/>
                          <a:pt x="200828" y="319770"/>
                        </a:cubicBezTo>
                        <a:cubicBezTo>
                          <a:pt x="200728" y="323370"/>
                          <a:pt x="200094" y="328373"/>
                          <a:pt x="202375" y="331145"/>
                        </a:cubicBezTo>
                        <a:cubicBezTo>
                          <a:pt x="203475" y="332445"/>
                          <a:pt x="203178" y="334663"/>
                          <a:pt x="205068" y="334935"/>
                        </a:cubicBezTo>
                        <a:cubicBezTo>
                          <a:pt x="219742" y="336853"/>
                          <a:pt x="233396" y="334954"/>
                          <a:pt x="246887" y="331360"/>
                        </a:cubicBezTo>
                        <a:cubicBezTo>
                          <a:pt x="250265" y="329878"/>
                          <a:pt x="253409" y="328142"/>
                          <a:pt x="256344" y="327930"/>
                        </a:cubicBezTo>
                        <a:cubicBezTo>
                          <a:pt x="259405" y="327668"/>
                          <a:pt x="257115" y="315809"/>
                          <a:pt x="265656" y="312329"/>
                        </a:cubicBezTo>
                        <a:cubicBezTo>
                          <a:pt x="267389" y="311735"/>
                          <a:pt x="267346" y="303066"/>
                          <a:pt x="267811" y="297529"/>
                        </a:cubicBezTo>
                        <a:cubicBezTo>
                          <a:pt x="274256" y="293303"/>
                          <a:pt x="285806" y="282702"/>
                          <a:pt x="277540" y="275383"/>
                        </a:cubicBezTo>
                        <a:cubicBezTo>
                          <a:pt x="258746" y="259208"/>
                          <a:pt x="279647" y="156752"/>
                          <a:pt x="280186" y="129361"/>
                        </a:cubicBezTo>
                        <a:close/>
                      </a:path>
                    </a:pathLst>
                  </a:custGeom>
                  <a:solidFill>
                    <a:srgbClr val="000000"/>
                  </a:solidFill>
                  <a:ln w="2826" cap="flat">
                    <a:noFill/>
                    <a:prstDash val="solid"/>
                    <a:miter/>
                  </a:ln>
                </p:spPr>
                <p:txBody>
                  <a:bodyPr rtlCol="0" anchor="ctr"/>
                  <a:lstStyle/>
                  <a:p>
                    <a:endParaRPr lang="fr-CA"/>
                  </a:p>
                </p:txBody>
              </p:sp>
              <p:sp>
                <p:nvSpPr>
                  <p:cNvPr id="1552" name="Forme libre : forme 1551">
                    <a:extLst>
                      <a:ext uri="{FF2B5EF4-FFF2-40B4-BE49-F238E27FC236}">
                        <a16:creationId xmlns:a16="http://schemas.microsoft.com/office/drawing/2014/main" id="{ACD8FC68-B413-DD88-2D08-8555501CBACF}"/>
                      </a:ext>
                    </a:extLst>
                  </p:cNvPr>
                  <p:cNvSpPr/>
                  <p:nvPr/>
                </p:nvSpPr>
                <p:spPr>
                  <a:xfrm>
                    <a:off x="9501972" y="4424098"/>
                    <a:ext cx="34682" cy="119787"/>
                  </a:xfrm>
                  <a:custGeom>
                    <a:avLst/>
                    <a:gdLst>
                      <a:gd name="connsiteX0" fmla="*/ 28812 w 34682"/>
                      <a:gd name="connsiteY0" fmla="*/ 87888 h 119787"/>
                      <a:gd name="connsiteX1" fmla="*/ 935 w 34682"/>
                      <a:gd name="connsiteY1" fmla="*/ 0 h 119787"/>
                      <a:gd name="connsiteX2" fmla="*/ 1544 w 34682"/>
                      <a:gd name="connsiteY2" fmla="*/ 11379 h 119787"/>
                      <a:gd name="connsiteX3" fmla="*/ 20138 w 34682"/>
                      <a:gd name="connsiteY3" fmla="*/ 77172 h 119787"/>
                      <a:gd name="connsiteX4" fmla="*/ 32002 w 34682"/>
                      <a:gd name="connsiteY4" fmla="*/ 119548 h 119787"/>
                      <a:gd name="connsiteX5" fmla="*/ 33940 w 34682"/>
                      <a:gd name="connsiteY5" fmla="*/ 119448 h 119787"/>
                      <a:gd name="connsiteX6" fmla="*/ 34646 w 34682"/>
                      <a:gd name="connsiteY6" fmla="*/ 117640 h 119787"/>
                      <a:gd name="connsiteX7" fmla="*/ 28812 w 34682"/>
                      <a:gd name="connsiteY7" fmla="*/ 87888 h 11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2" h="119787">
                        <a:moveTo>
                          <a:pt x="28812" y="87888"/>
                        </a:moveTo>
                        <a:cubicBezTo>
                          <a:pt x="23202" y="67061"/>
                          <a:pt x="18856" y="10222"/>
                          <a:pt x="935" y="0"/>
                        </a:cubicBezTo>
                        <a:cubicBezTo>
                          <a:pt x="-1514" y="1082"/>
                          <a:pt x="1632" y="8912"/>
                          <a:pt x="1544" y="11379"/>
                        </a:cubicBezTo>
                        <a:cubicBezTo>
                          <a:pt x="4074" y="34004"/>
                          <a:pt x="12805" y="55791"/>
                          <a:pt x="20138" y="77172"/>
                        </a:cubicBezTo>
                        <a:cubicBezTo>
                          <a:pt x="17117" y="91668"/>
                          <a:pt x="16623" y="111493"/>
                          <a:pt x="32002" y="119548"/>
                        </a:cubicBezTo>
                        <a:cubicBezTo>
                          <a:pt x="32610" y="119899"/>
                          <a:pt x="33369" y="119862"/>
                          <a:pt x="33940" y="119448"/>
                        </a:cubicBezTo>
                        <a:cubicBezTo>
                          <a:pt x="34512" y="119037"/>
                          <a:pt x="34789" y="118329"/>
                          <a:pt x="34646" y="117640"/>
                        </a:cubicBezTo>
                        <a:cubicBezTo>
                          <a:pt x="32627" y="107747"/>
                          <a:pt x="30688" y="97650"/>
                          <a:pt x="28812" y="87888"/>
                        </a:cubicBezTo>
                        <a:close/>
                      </a:path>
                    </a:pathLst>
                  </a:custGeom>
                  <a:solidFill>
                    <a:srgbClr val="000000"/>
                  </a:solidFill>
                  <a:ln w="2826" cap="flat">
                    <a:noFill/>
                    <a:prstDash val="solid"/>
                    <a:miter/>
                  </a:ln>
                </p:spPr>
                <p:txBody>
                  <a:bodyPr rtlCol="0" anchor="ctr"/>
                  <a:lstStyle/>
                  <a:p>
                    <a:endParaRPr lang="fr-CA"/>
                  </a:p>
                </p:txBody>
              </p:sp>
            </p:grpSp>
            <p:grpSp>
              <p:nvGrpSpPr>
                <p:cNvPr id="1542" name="Graphique 35" descr="Garçon dans un fauteuil roulant">
                  <a:extLst>
                    <a:ext uri="{FF2B5EF4-FFF2-40B4-BE49-F238E27FC236}">
                      <a16:creationId xmlns:a16="http://schemas.microsoft.com/office/drawing/2014/main" id="{19F01155-42D5-1254-B20C-21D7B2E91FE3}"/>
                    </a:ext>
                  </a:extLst>
                </p:cNvPr>
                <p:cNvGrpSpPr/>
                <p:nvPr/>
              </p:nvGrpSpPr>
              <p:grpSpPr>
                <a:xfrm>
                  <a:off x="9153323" y="3985440"/>
                  <a:ext cx="751062" cy="723778"/>
                  <a:chOff x="9153323" y="3985440"/>
                  <a:chExt cx="751062" cy="723778"/>
                </a:xfrm>
                <a:solidFill>
                  <a:srgbClr val="000000"/>
                </a:solidFill>
              </p:grpSpPr>
              <p:sp>
                <p:nvSpPr>
                  <p:cNvPr id="1543" name="Forme libre : forme 1542">
                    <a:extLst>
                      <a:ext uri="{FF2B5EF4-FFF2-40B4-BE49-F238E27FC236}">
                        <a16:creationId xmlns:a16="http://schemas.microsoft.com/office/drawing/2014/main" id="{5A18BDC2-5BBB-555E-9726-0EC7C20A3588}"/>
                      </a:ext>
                    </a:extLst>
                  </p:cNvPr>
                  <p:cNvSpPr/>
                  <p:nvPr/>
                </p:nvSpPr>
                <p:spPr>
                  <a:xfrm>
                    <a:off x="9424163" y="4656144"/>
                    <a:ext cx="6543" cy="6550"/>
                  </a:xfrm>
                  <a:custGeom>
                    <a:avLst/>
                    <a:gdLst>
                      <a:gd name="connsiteX0" fmla="*/ 5570 w 6543"/>
                      <a:gd name="connsiteY0" fmla="*/ 976 h 6550"/>
                      <a:gd name="connsiteX1" fmla="*/ 973 w 6543"/>
                      <a:gd name="connsiteY1" fmla="*/ 5573 h 6550"/>
                      <a:gd name="connsiteX2" fmla="*/ 5570 w 6543"/>
                      <a:gd name="connsiteY2" fmla="*/ 976 h 6550"/>
                    </a:gdLst>
                    <a:ahLst/>
                    <a:cxnLst>
                      <a:cxn ang="0">
                        <a:pos x="connsiteX0" y="connsiteY0"/>
                      </a:cxn>
                      <a:cxn ang="0">
                        <a:pos x="connsiteX1" y="connsiteY1"/>
                      </a:cxn>
                      <a:cxn ang="0">
                        <a:pos x="connsiteX2" y="connsiteY2"/>
                      </a:cxn>
                    </a:cxnLst>
                    <a:rect l="l" t="t" r="r" b="b"/>
                    <a:pathLst>
                      <a:path w="6543" h="6550">
                        <a:moveTo>
                          <a:pt x="5570" y="976"/>
                        </a:moveTo>
                        <a:cubicBezTo>
                          <a:pt x="2609" y="-2039"/>
                          <a:pt x="-2031" y="2626"/>
                          <a:pt x="973" y="5573"/>
                        </a:cubicBezTo>
                        <a:cubicBezTo>
                          <a:pt x="3934" y="8591"/>
                          <a:pt x="8574" y="3923"/>
                          <a:pt x="5570" y="976"/>
                        </a:cubicBezTo>
                        <a:close/>
                      </a:path>
                    </a:pathLst>
                  </a:custGeom>
                  <a:solidFill>
                    <a:srgbClr val="000000"/>
                  </a:solidFill>
                  <a:ln w="2826" cap="flat">
                    <a:noFill/>
                    <a:prstDash val="solid"/>
                    <a:miter/>
                  </a:ln>
                </p:spPr>
                <p:txBody>
                  <a:bodyPr rtlCol="0" anchor="ctr"/>
                  <a:lstStyle/>
                  <a:p>
                    <a:endParaRPr lang="fr-CA"/>
                  </a:p>
                </p:txBody>
              </p:sp>
              <p:sp>
                <p:nvSpPr>
                  <p:cNvPr id="1544" name="Forme libre : forme 1543">
                    <a:extLst>
                      <a:ext uri="{FF2B5EF4-FFF2-40B4-BE49-F238E27FC236}">
                        <a16:creationId xmlns:a16="http://schemas.microsoft.com/office/drawing/2014/main" id="{AD703877-E435-DE2C-9569-F899111DC108}"/>
                      </a:ext>
                    </a:extLst>
                  </p:cNvPr>
                  <p:cNvSpPr/>
                  <p:nvPr/>
                </p:nvSpPr>
                <p:spPr>
                  <a:xfrm>
                    <a:off x="9182847" y="4459743"/>
                    <a:ext cx="55575" cy="4132"/>
                  </a:xfrm>
                  <a:custGeom>
                    <a:avLst/>
                    <a:gdLst>
                      <a:gd name="connsiteX0" fmla="*/ 973 w 55575"/>
                      <a:gd name="connsiteY0" fmla="*/ 2782 h 4132"/>
                      <a:gd name="connsiteX1" fmla="*/ 55024 w 55575"/>
                      <a:gd name="connsiteY1" fmla="*/ 2605 h 4132"/>
                      <a:gd name="connsiteX2" fmla="*/ 28270 w 55575"/>
                      <a:gd name="connsiteY2" fmla="*/ 295 h 4132"/>
                      <a:gd name="connsiteX3" fmla="*/ 970 w 55575"/>
                      <a:gd name="connsiteY3" fmla="*/ 769 h 4132"/>
                      <a:gd name="connsiteX4" fmla="*/ 973 w 55575"/>
                      <a:gd name="connsiteY4" fmla="*/ 2782 h 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75" h="4132">
                        <a:moveTo>
                          <a:pt x="973" y="2782"/>
                        </a:moveTo>
                        <a:cubicBezTo>
                          <a:pt x="18887" y="3699"/>
                          <a:pt x="37236" y="5384"/>
                          <a:pt x="55024" y="2605"/>
                        </a:cubicBezTo>
                        <a:cubicBezTo>
                          <a:pt x="59924" y="-1569"/>
                          <a:pt x="30583" y="604"/>
                          <a:pt x="28270" y="295"/>
                        </a:cubicBezTo>
                        <a:cubicBezTo>
                          <a:pt x="19164" y="389"/>
                          <a:pt x="10075" y="532"/>
                          <a:pt x="970" y="769"/>
                        </a:cubicBezTo>
                        <a:cubicBezTo>
                          <a:pt x="-338" y="804"/>
                          <a:pt x="-309" y="2682"/>
                          <a:pt x="973" y="2782"/>
                        </a:cubicBezTo>
                        <a:close/>
                      </a:path>
                    </a:pathLst>
                  </a:custGeom>
                  <a:solidFill>
                    <a:srgbClr val="000000"/>
                  </a:solidFill>
                  <a:ln w="2826" cap="flat">
                    <a:noFill/>
                    <a:prstDash val="solid"/>
                    <a:miter/>
                  </a:ln>
                </p:spPr>
                <p:txBody>
                  <a:bodyPr rtlCol="0" anchor="ctr"/>
                  <a:lstStyle/>
                  <a:p>
                    <a:endParaRPr lang="fr-CA"/>
                  </a:p>
                </p:txBody>
              </p:sp>
              <p:sp>
                <p:nvSpPr>
                  <p:cNvPr id="1545" name="Forme libre : forme 1544">
                    <a:extLst>
                      <a:ext uri="{FF2B5EF4-FFF2-40B4-BE49-F238E27FC236}">
                        <a16:creationId xmlns:a16="http://schemas.microsoft.com/office/drawing/2014/main" id="{DA053D90-E316-05B7-EC38-CAD7AC9E6D48}"/>
                      </a:ext>
                    </a:extLst>
                  </p:cNvPr>
                  <p:cNvSpPr/>
                  <p:nvPr/>
                </p:nvSpPr>
                <p:spPr>
                  <a:xfrm>
                    <a:off x="9206205" y="4470289"/>
                    <a:ext cx="38415" cy="52696"/>
                  </a:xfrm>
                  <a:custGeom>
                    <a:avLst/>
                    <a:gdLst>
                      <a:gd name="connsiteX0" fmla="*/ 27186 w 38415"/>
                      <a:gd name="connsiteY0" fmla="*/ 12232 h 52696"/>
                      <a:gd name="connsiteX1" fmla="*/ 8449 w 38415"/>
                      <a:gd name="connsiteY1" fmla="*/ 38130 h 52696"/>
                      <a:gd name="connsiteX2" fmla="*/ 0 w 38415"/>
                      <a:gd name="connsiteY2" fmla="*/ 51274 h 52696"/>
                      <a:gd name="connsiteX3" fmla="*/ 6990 w 38415"/>
                      <a:gd name="connsiteY3" fmla="*/ 46457 h 52696"/>
                      <a:gd name="connsiteX4" fmla="*/ 20707 w 38415"/>
                      <a:gd name="connsiteY4" fmla="*/ 27554 h 52696"/>
                      <a:gd name="connsiteX5" fmla="*/ 38404 w 38415"/>
                      <a:gd name="connsiteY5" fmla="*/ 1505 h 52696"/>
                      <a:gd name="connsiteX6" fmla="*/ 27186 w 38415"/>
                      <a:gd name="connsiteY6" fmla="*/ 12232 h 5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15" h="52696">
                        <a:moveTo>
                          <a:pt x="27186" y="12232"/>
                        </a:moveTo>
                        <a:cubicBezTo>
                          <a:pt x="20895" y="20833"/>
                          <a:pt x="14685" y="29490"/>
                          <a:pt x="8449" y="38130"/>
                        </a:cubicBezTo>
                        <a:cubicBezTo>
                          <a:pt x="5548" y="42422"/>
                          <a:pt x="2039" y="46485"/>
                          <a:pt x="0" y="51274"/>
                        </a:cubicBezTo>
                        <a:cubicBezTo>
                          <a:pt x="451" y="55971"/>
                          <a:pt x="6065" y="47636"/>
                          <a:pt x="6990" y="46457"/>
                        </a:cubicBezTo>
                        <a:cubicBezTo>
                          <a:pt x="11710" y="40266"/>
                          <a:pt x="16124" y="33847"/>
                          <a:pt x="20707" y="27554"/>
                        </a:cubicBezTo>
                        <a:cubicBezTo>
                          <a:pt x="26660" y="18917"/>
                          <a:pt x="33430" y="10762"/>
                          <a:pt x="38404" y="1505"/>
                        </a:cubicBezTo>
                        <a:cubicBezTo>
                          <a:pt x="38816" y="-4900"/>
                          <a:pt x="28119" y="11144"/>
                          <a:pt x="27186" y="12232"/>
                        </a:cubicBezTo>
                        <a:close/>
                      </a:path>
                    </a:pathLst>
                  </a:custGeom>
                  <a:solidFill>
                    <a:srgbClr val="000000"/>
                  </a:solidFill>
                  <a:ln w="2826" cap="flat">
                    <a:noFill/>
                    <a:prstDash val="solid"/>
                    <a:miter/>
                  </a:ln>
                </p:spPr>
                <p:txBody>
                  <a:bodyPr rtlCol="0" anchor="ctr"/>
                  <a:lstStyle/>
                  <a:p>
                    <a:endParaRPr lang="fr-CA"/>
                  </a:p>
                </p:txBody>
              </p:sp>
              <p:grpSp>
                <p:nvGrpSpPr>
                  <p:cNvPr id="1546" name="Graphique 35" descr="Garçon dans un fauteuil roulant">
                    <a:extLst>
                      <a:ext uri="{FF2B5EF4-FFF2-40B4-BE49-F238E27FC236}">
                        <a16:creationId xmlns:a16="http://schemas.microsoft.com/office/drawing/2014/main" id="{45C3CC71-6A7D-24F6-952A-D810192524E3}"/>
                      </a:ext>
                    </a:extLst>
                  </p:cNvPr>
                  <p:cNvGrpSpPr/>
                  <p:nvPr/>
                </p:nvGrpSpPr>
                <p:grpSpPr>
                  <a:xfrm>
                    <a:off x="9563545" y="4567975"/>
                    <a:ext cx="42855" cy="31190"/>
                    <a:chOff x="9563545" y="4567975"/>
                    <a:chExt cx="42855" cy="31190"/>
                  </a:xfrm>
                  <a:solidFill>
                    <a:srgbClr val="000000"/>
                  </a:solidFill>
                </p:grpSpPr>
                <p:sp>
                  <p:nvSpPr>
                    <p:cNvPr id="1548" name="Forme libre : forme 1547">
                      <a:extLst>
                        <a:ext uri="{FF2B5EF4-FFF2-40B4-BE49-F238E27FC236}">
                          <a16:creationId xmlns:a16="http://schemas.microsoft.com/office/drawing/2014/main" id="{908271B5-D06A-FAF5-1D32-9CA19808D856}"/>
                        </a:ext>
                      </a:extLst>
                    </p:cNvPr>
                    <p:cNvSpPr/>
                    <p:nvPr/>
                  </p:nvSpPr>
                  <p:spPr>
                    <a:xfrm>
                      <a:off x="9563545" y="4567975"/>
                      <a:ext cx="31054" cy="17572"/>
                    </a:xfrm>
                    <a:custGeom>
                      <a:avLst/>
                      <a:gdLst>
                        <a:gd name="connsiteX0" fmla="*/ 16334 w 31054"/>
                        <a:gd name="connsiteY0" fmla="*/ 7665 h 17572"/>
                        <a:gd name="connsiteX1" fmla="*/ 31053 w 31054"/>
                        <a:gd name="connsiteY1" fmla="*/ 5106 h 17572"/>
                        <a:gd name="connsiteX2" fmla="*/ 25165 w 31054"/>
                        <a:gd name="connsiteY2" fmla="*/ 67 h 17572"/>
                        <a:gd name="connsiteX3" fmla="*/ 147 w 31054"/>
                        <a:gd name="connsiteY3" fmla="*/ 16336 h 17572"/>
                        <a:gd name="connsiteX4" fmla="*/ 3516 w 31054"/>
                        <a:gd name="connsiteY4" fmla="*/ 15880 h 17572"/>
                        <a:gd name="connsiteX5" fmla="*/ 16334 w 31054"/>
                        <a:gd name="connsiteY5" fmla="*/ 7665 h 1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54" h="17572">
                          <a:moveTo>
                            <a:pt x="16334" y="7665"/>
                          </a:moveTo>
                          <a:cubicBezTo>
                            <a:pt x="25856" y="2220"/>
                            <a:pt x="30505" y="8219"/>
                            <a:pt x="31053" y="5106"/>
                          </a:cubicBezTo>
                          <a:cubicBezTo>
                            <a:pt x="31136" y="2040"/>
                            <a:pt x="27869" y="369"/>
                            <a:pt x="25165" y="67"/>
                          </a:cubicBezTo>
                          <a:cubicBezTo>
                            <a:pt x="19811" y="-938"/>
                            <a:pt x="-1989" y="9666"/>
                            <a:pt x="147" y="16336"/>
                          </a:cubicBezTo>
                          <a:cubicBezTo>
                            <a:pt x="429" y="18352"/>
                            <a:pt x="3390" y="17687"/>
                            <a:pt x="3516" y="15880"/>
                          </a:cubicBezTo>
                          <a:cubicBezTo>
                            <a:pt x="3882" y="13087"/>
                            <a:pt x="13653" y="9209"/>
                            <a:pt x="16334" y="7665"/>
                          </a:cubicBezTo>
                          <a:close/>
                        </a:path>
                      </a:pathLst>
                    </a:custGeom>
                    <a:solidFill>
                      <a:srgbClr val="000000"/>
                    </a:solidFill>
                    <a:ln w="2826" cap="flat">
                      <a:noFill/>
                      <a:prstDash val="solid"/>
                      <a:miter/>
                    </a:ln>
                  </p:spPr>
                  <p:txBody>
                    <a:bodyPr rtlCol="0" anchor="ctr"/>
                    <a:lstStyle/>
                    <a:p>
                      <a:endParaRPr lang="fr-CA"/>
                    </a:p>
                  </p:txBody>
                </p:sp>
                <p:sp>
                  <p:nvSpPr>
                    <p:cNvPr id="1549" name="Forme libre : forme 1548">
                      <a:extLst>
                        <a:ext uri="{FF2B5EF4-FFF2-40B4-BE49-F238E27FC236}">
                          <a16:creationId xmlns:a16="http://schemas.microsoft.com/office/drawing/2014/main" id="{3CBEBA98-B126-B0B1-E10A-FE2493EFA3CC}"/>
                        </a:ext>
                      </a:extLst>
                    </p:cNvPr>
                    <p:cNvSpPr/>
                    <p:nvPr/>
                  </p:nvSpPr>
                  <p:spPr>
                    <a:xfrm>
                      <a:off x="9568091" y="4576542"/>
                      <a:ext cx="32668" cy="17540"/>
                    </a:xfrm>
                    <a:custGeom>
                      <a:avLst/>
                      <a:gdLst>
                        <a:gd name="connsiteX0" fmla="*/ 24911 w 32668"/>
                        <a:gd name="connsiteY0" fmla="*/ 49 h 17540"/>
                        <a:gd name="connsiteX1" fmla="*/ 455 w 32668"/>
                        <a:gd name="connsiteY1" fmla="*/ 14372 h 17540"/>
                        <a:gd name="connsiteX2" fmla="*/ 2668 w 32668"/>
                        <a:gd name="connsiteY2" fmla="*/ 17241 h 17540"/>
                        <a:gd name="connsiteX3" fmla="*/ 16802 w 32668"/>
                        <a:gd name="connsiteY3" fmla="*/ 8107 h 17540"/>
                        <a:gd name="connsiteX4" fmla="*/ 27786 w 32668"/>
                        <a:gd name="connsiteY4" fmla="*/ 4915 h 17540"/>
                        <a:gd name="connsiteX5" fmla="*/ 32503 w 32668"/>
                        <a:gd name="connsiteY5" fmla="*/ 2616 h 17540"/>
                        <a:gd name="connsiteX6" fmla="*/ 24911 w 32668"/>
                        <a:gd name="connsiteY6" fmla="*/ 49 h 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68" h="17540">
                          <a:moveTo>
                            <a:pt x="24911" y="49"/>
                          </a:moveTo>
                          <a:cubicBezTo>
                            <a:pt x="15548" y="1474"/>
                            <a:pt x="6802" y="7545"/>
                            <a:pt x="455" y="14372"/>
                          </a:cubicBezTo>
                          <a:cubicBezTo>
                            <a:pt x="-824" y="15865"/>
                            <a:pt x="812" y="18412"/>
                            <a:pt x="2668" y="17241"/>
                          </a:cubicBezTo>
                          <a:cubicBezTo>
                            <a:pt x="7419" y="14243"/>
                            <a:pt x="11839" y="10786"/>
                            <a:pt x="16802" y="8107"/>
                          </a:cubicBezTo>
                          <a:cubicBezTo>
                            <a:pt x="20174" y="6268"/>
                            <a:pt x="23912" y="4946"/>
                            <a:pt x="27786" y="4915"/>
                          </a:cubicBezTo>
                          <a:cubicBezTo>
                            <a:pt x="29522" y="5089"/>
                            <a:pt x="33528" y="5483"/>
                            <a:pt x="32503" y="2616"/>
                          </a:cubicBezTo>
                          <a:cubicBezTo>
                            <a:pt x="31264" y="186"/>
                            <a:pt x="27327" y="-153"/>
                            <a:pt x="24911" y="49"/>
                          </a:cubicBezTo>
                          <a:close/>
                        </a:path>
                      </a:pathLst>
                    </a:custGeom>
                    <a:solidFill>
                      <a:srgbClr val="000000"/>
                    </a:solidFill>
                    <a:ln w="2826" cap="flat">
                      <a:noFill/>
                      <a:prstDash val="solid"/>
                      <a:miter/>
                    </a:ln>
                  </p:spPr>
                  <p:txBody>
                    <a:bodyPr rtlCol="0" anchor="ctr"/>
                    <a:lstStyle/>
                    <a:p>
                      <a:endParaRPr lang="fr-CA"/>
                    </a:p>
                  </p:txBody>
                </p:sp>
                <p:sp>
                  <p:nvSpPr>
                    <p:cNvPr id="1550" name="Forme libre : forme 1549">
                      <a:extLst>
                        <a:ext uri="{FF2B5EF4-FFF2-40B4-BE49-F238E27FC236}">
                          <a16:creationId xmlns:a16="http://schemas.microsoft.com/office/drawing/2014/main" id="{9B38E637-5137-CD04-1D83-D8458A845FDD}"/>
                        </a:ext>
                      </a:extLst>
                    </p:cNvPr>
                    <p:cNvSpPr/>
                    <p:nvPr/>
                  </p:nvSpPr>
                  <p:spPr>
                    <a:xfrm>
                      <a:off x="9574725" y="4583303"/>
                      <a:ext cx="31675" cy="15862"/>
                    </a:xfrm>
                    <a:custGeom>
                      <a:avLst/>
                      <a:gdLst>
                        <a:gd name="connsiteX0" fmla="*/ 9996 w 31675"/>
                        <a:gd name="connsiteY0" fmla="*/ 4755 h 15862"/>
                        <a:gd name="connsiteX1" fmla="*/ 1630 w 31675"/>
                        <a:gd name="connsiteY1" fmla="*/ 15588 h 15862"/>
                        <a:gd name="connsiteX2" fmla="*/ 3437 w 31675"/>
                        <a:gd name="connsiteY2" fmla="*/ 13246 h 15862"/>
                        <a:gd name="connsiteX3" fmla="*/ 9139 w 31675"/>
                        <a:gd name="connsiteY3" fmla="*/ 10094 h 15862"/>
                        <a:gd name="connsiteX4" fmla="*/ 23388 w 31675"/>
                        <a:gd name="connsiteY4" fmla="*/ 5545 h 15862"/>
                        <a:gd name="connsiteX5" fmla="*/ 30811 w 31675"/>
                        <a:gd name="connsiteY5" fmla="*/ 3692 h 15862"/>
                        <a:gd name="connsiteX6" fmla="*/ 30811 w 31675"/>
                        <a:gd name="connsiteY6" fmla="*/ 634 h 15862"/>
                        <a:gd name="connsiteX7" fmla="*/ 9996 w 31675"/>
                        <a:gd name="connsiteY7" fmla="*/ 4755 h 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75" h="15862">
                          <a:moveTo>
                            <a:pt x="9996" y="4755"/>
                          </a:moveTo>
                          <a:cubicBezTo>
                            <a:pt x="5790" y="6242"/>
                            <a:pt x="-3818" y="10225"/>
                            <a:pt x="1630" y="15588"/>
                          </a:cubicBezTo>
                          <a:cubicBezTo>
                            <a:pt x="3009" y="16639"/>
                            <a:pt x="4574" y="14423"/>
                            <a:pt x="3437" y="13246"/>
                          </a:cubicBezTo>
                          <a:cubicBezTo>
                            <a:pt x="2481" y="12256"/>
                            <a:pt x="8537" y="10320"/>
                            <a:pt x="9139" y="10094"/>
                          </a:cubicBezTo>
                          <a:cubicBezTo>
                            <a:pt x="13805" y="8329"/>
                            <a:pt x="18499" y="6588"/>
                            <a:pt x="23388" y="5545"/>
                          </a:cubicBezTo>
                          <a:cubicBezTo>
                            <a:pt x="25829" y="5009"/>
                            <a:pt x="28644" y="5037"/>
                            <a:pt x="30811" y="3692"/>
                          </a:cubicBezTo>
                          <a:cubicBezTo>
                            <a:pt x="31854" y="3044"/>
                            <a:pt x="32068" y="1225"/>
                            <a:pt x="30811" y="634"/>
                          </a:cubicBezTo>
                          <a:cubicBezTo>
                            <a:pt x="24278" y="-1576"/>
                            <a:pt x="16184" y="2524"/>
                            <a:pt x="9996" y="4755"/>
                          </a:cubicBezTo>
                          <a:close/>
                        </a:path>
                      </a:pathLst>
                    </a:custGeom>
                    <a:solidFill>
                      <a:srgbClr val="000000"/>
                    </a:solidFill>
                    <a:ln w="2826" cap="flat">
                      <a:noFill/>
                      <a:prstDash val="solid"/>
                      <a:miter/>
                    </a:ln>
                  </p:spPr>
                  <p:txBody>
                    <a:bodyPr rtlCol="0" anchor="ctr"/>
                    <a:lstStyle/>
                    <a:p>
                      <a:endParaRPr lang="fr-CA"/>
                    </a:p>
                  </p:txBody>
                </p:sp>
              </p:grpSp>
              <p:sp>
                <p:nvSpPr>
                  <p:cNvPr id="1547" name="Forme libre : forme 1546">
                    <a:extLst>
                      <a:ext uri="{FF2B5EF4-FFF2-40B4-BE49-F238E27FC236}">
                        <a16:creationId xmlns:a16="http://schemas.microsoft.com/office/drawing/2014/main" id="{82187D83-63CD-D4F1-03B2-E76D98F0BD9A}"/>
                      </a:ext>
                    </a:extLst>
                  </p:cNvPr>
                  <p:cNvSpPr/>
                  <p:nvPr/>
                </p:nvSpPr>
                <p:spPr>
                  <a:xfrm>
                    <a:off x="9153323" y="3985440"/>
                    <a:ext cx="751062" cy="723778"/>
                  </a:xfrm>
                  <a:custGeom>
                    <a:avLst/>
                    <a:gdLst>
                      <a:gd name="connsiteX0" fmla="*/ 748257 w 751062"/>
                      <a:gd name="connsiteY0" fmla="*/ 625144 h 723778"/>
                      <a:gd name="connsiteX1" fmla="*/ 747120 w 751062"/>
                      <a:gd name="connsiteY1" fmla="*/ 625078 h 723778"/>
                      <a:gd name="connsiteX2" fmla="*/ 744528 w 751062"/>
                      <a:gd name="connsiteY2" fmla="*/ 624544 h 723778"/>
                      <a:gd name="connsiteX3" fmla="*/ 743103 w 751062"/>
                      <a:gd name="connsiteY3" fmla="*/ 624444 h 723778"/>
                      <a:gd name="connsiteX4" fmla="*/ 730288 w 751062"/>
                      <a:gd name="connsiteY4" fmla="*/ 625070 h 723778"/>
                      <a:gd name="connsiteX5" fmla="*/ 723649 w 751062"/>
                      <a:gd name="connsiteY5" fmla="*/ 621843 h 723778"/>
                      <a:gd name="connsiteX6" fmla="*/ 698145 w 751062"/>
                      <a:gd name="connsiteY6" fmla="*/ 623485 h 723778"/>
                      <a:gd name="connsiteX7" fmla="*/ 685850 w 751062"/>
                      <a:gd name="connsiteY7" fmla="*/ 609137 h 723778"/>
                      <a:gd name="connsiteX8" fmla="*/ 637204 w 751062"/>
                      <a:gd name="connsiteY8" fmla="*/ 411350 h 723778"/>
                      <a:gd name="connsiteX9" fmla="*/ 628575 w 751062"/>
                      <a:gd name="connsiteY9" fmla="*/ 388570 h 723778"/>
                      <a:gd name="connsiteX10" fmla="*/ 608918 w 751062"/>
                      <a:gd name="connsiteY10" fmla="*/ 375355 h 723778"/>
                      <a:gd name="connsiteX11" fmla="*/ 596909 w 751062"/>
                      <a:gd name="connsiteY11" fmla="*/ 306844 h 723778"/>
                      <a:gd name="connsiteX12" fmla="*/ 590793 w 751062"/>
                      <a:gd name="connsiteY12" fmla="*/ 298789 h 723778"/>
                      <a:gd name="connsiteX13" fmla="*/ 581616 w 751062"/>
                      <a:gd name="connsiteY13" fmla="*/ 290808 h 723778"/>
                      <a:gd name="connsiteX14" fmla="*/ 579077 w 751062"/>
                      <a:gd name="connsiteY14" fmla="*/ 249394 h 723778"/>
                      <a:gd name="connsiteX15" fmla="*/ 577487 w 751062"/>
                      <a:gd name="connsiteY15" fmla="*/ 247804 h 723778"/>
                      <a:gd name="connsiteX16" fmla="*/ 570702 w 751062"/>
                      <a:gd name="connsiteY16" fmla="*/ 246824 h 723778"/>
                      <a:gd name="connsiteX17" fmla="*/ 563458 w 751062"/>
                      <a:gd name="connsiteY17" fmla="*/ 246545 h 723778"/>
                      <a:gd name="connsiteX18" fmla="*/ 445376 w 751062"/>
                      <a:gd name="connsiteY18" fmla="*/ 212891 h 723778"/>
                      <a:gd name="connsiteX19" fmla="*/ 430285 w 751062"/>
                      <a:gd name="connsiteY19" fmla="*/ 181799 h 723778"/>
                      <a:gd name="connsiteX20" fmla="*/ 419971 w 751062"/>
                      <a:gd name="connsiteY20" fmla="*/ 159057 h 723778"/>
                      <a:gd name="connsiteX21" fmla="*/ 390901 w 751062"/>
                      <a:gd name="connsiteY21" fmla="*/ 100302 h 723778"/>
                      <a:gd name="connsiteX22" fmla="*/ 381727 w 751062"/>
                      <a:gd name="connsiteY22" fmla="*/ 79872 h 723778"/>
                      <a:gd name="connsiteX23" fmla="*/ 349107 w 751062"/>
                      <a:gd name="connsiteY23" fmla="*/ 42190 h 723778"/>
                      <a:gd name="connsiteX24" fmla="*/ 319001 w 751062"/>
                      <a:gd name="connsiteY24" fmla="*/ 40094 h 723778"/>
                      <a:gd name="connsiteX25" fmla="*/ 303025 w 751062"/>
                      <a:gd name="connsiteY25" fmla="*/ 26831 h 723778"/>
                      <a:gd name="connsiteX26" fmla="*/ 297020 w 751062"/>
                      <a:gd name="connsiteY26" fmla="*/ 38095 h 723778"/>
                      <a:gd name="connsiteX27" fmla="*/ 299670 w 751062"/>
                      <a:gd name="connsiteY27" fmla="*/ 51613 h 723778"/>
                      <a:gd name="connsiteX28" fmla="*/ 301851 w 751062"/>
                      <a:gd name="connsiteY28" fmla="*/ 50693 h 723778"/>
                      <a:gd name="connsiteX29" fmla="*/ 301212 w 751062"/>
                      <a:gd name="connsiteY29" fmla="*/ 38761 h 723778"/>
                      <a:gd name="connsiteX30" fmla="*/ 303533 w 751062"/>
                      <a:gd name="connsiteY30" fmla="*/ 76303 h 723778"/>
                      <a:gd name="connsiteX31" fmla="*/ 301086 w 751062"/>
                      <a:gd name="connsiteY31" fmla="*/ 88118 h 723778"/>
                      <a:gd name="connsiteX32" fmla="*/ 280234 w 751062"/>
                      <a:gd name="connsiteY32" fmla="*/ 70067 h 723778"/>
                      <a:gd name="connsiteX33" fmla="*/ 261802 w 751062"/>
                      <a:gd name="connsiteY33" fmla="*/ 58103 h 723778"/>
                      <a:gd name="connsiteX34" fmla="*/ 235270 w 751062"/>
                      <a:gd name="connsiteY34" fmla="*/ 35334 h 723778"/>
                      <a:gd name="connsiteX35" fmla="*/ 237138 w 751062"/>
                      <a:gd name="connsiteY35" fmla="*/ 3469 h 723778"/>
                      <a:gd name="connsiteX36" fmla="*/ 235542 w 751062"/>
                      <a:gd name="connsiteY36" fmla="*/ 333 h 723778"/>
                      <a:gd name="connsiteX37" fmla="*/ 233620 w 751062"/>
                      <a:gd name="connsiteY37" fmla="*/ 2027 h 723778"/>
                      <a:gd name="connsiteX38" fmla="*/ 233292 w 751062"/>
                      <a:gd name="connsiteY38" fmla="*/ 16386 h 723778"/>
                      <a:gd name="connsiteX39" fmla="*/ 215137 w 751062"/>
                      <a:gd name="connsiteY39" fmla="*/ 43572 h 723778"/>
                      <a:gd name="connsiteX40" fmla="*/ 169152 w 751062"/>
                      <a:gd name="connsiteY40" fmla="*/ 80771 h 723778"/>
                      <a:gd name="connsiteX41" fmla="*/ 137929 w 751062"/>
                      <a:gd name="connsiteY41" fmla="*/ 77439 h 723778"/>
                      <a:gd name="connsiteX42" fmla="*/ 129126 w 751062"/>
                      <a:gd name="connsiteY42" fmla="*/ 77414 h 723778"/>
                      <a:gd name="connsiteX43" fmla="*/ 108293 w 751062"/>
                      <a:gd name="connsiteY43" fmla="*/ 58979 h 723778"/>
                      <a:gd name="connsiteX44" fmla="*/ 87766 w 751062"/>
                      <a:gd name="connsiteY44" fmla="*/ 54003 h 723778"/>
                      <a:gd name="connsiteX45" fmla="*/ 68235 w 751062"/>
                      <a:gd name="connsiteY45" fmla="*/ 56898 h 723778"/>
                      <a:gd name="connsiteX46" fmla="*/ 64943 w 751062"/>
                      <a:gd name="connsiteY46" fmla="*/ 76700 h 723778"/>
                      <a:gd name="connsiteX47" fmla="*/ 82803 w 751062"/>
                      <a:gd name="connsiteY47" fmla="*/ 78864 h 723778"/>
                      <a:gd name="connsiteX48" fmla="*/ 103228 w 751062"/>
                      <a:gd name="connsiteY48" fmla="*/ 81166 h 723778"/>
                      <a:gd name="connsiteX49" fmla="*/ 111977 w 751062"/>
                      <a:gd name="connsiteY49" fmla="*/ 106644 h 723778"/>
                      <a:gd name="connsiteX50" fmla="*/ 121810 w 751062"/>
                      <a:gd name="connsiteY50" fmla="*/ 262089 h 723778"/>
                      <a:gd name="connsiteX51" fmla="*/ 122453 w 751062"/>
                      <a:gd name="connsiteY51" fmla="*/ 264530 h 723778"/>
                      <a:gd name="connsiteX52" fmla="*/ 127264 w 751062"/>
                      <a:gd name="connsiteY52" fmla="*/ 264233 h 723778"/>
                      <a:gd name="connsiteX53" fmla="*/ 127618 w 751062"/>
                      <a:gd name="connsiteY53" fmla="*/ 256747 h 723778"/>
                      <a:gd name="connsiteX54" fmla="*/ 120671 w 751062"/>
                      <a:gd name="connsiteY54" fmla="*/ 149083 h 723778"/>
                      <a:gd name="connsiteX55" fmla="*/ 116180 w 751062"/>
                      <a:gd name="connsiteY55" fmla="*/ 96002 h 723778"/>
                      <a:gd name="connsiteX56" fmla="*/ 104950 w 751062"/>
                      <a:gd name="connsiteY56" fmla="*/ 76600 h 723778"/>
                      <a:gd name="connsiteX57" fmla="*/ 106529 w 751062"/>
                      <a:gd name="connsiteY57" fmla="*/ 63377 h 723778"/>
                      <a:gd name="connsiteX58" fmla="*/ 131087 w 751062"/>
                      <a:gd name="connsiteY58" fmla="*/ 117691 h 723778"/>
                      <a:gd name="connsiteX59" fmla="*/ 133971 w 751062"/>
                      <a:gd name="connsiteY59" fmla="*/ 180306 h 723778"/>
                      <a:gd name="connsiteX60" fmla="*/ 132669 w 751062"/>
                      <a:gd name="connsiteY60" fmla="*/ 256467 h 723778"/>
                      <a:gd name="connsiteX61" fmla="*/ 131950 w 751062"/>
                      <a:gd name="connsiteY61" fmla="*/ 260753 h 723778"/>
                      <a:gd name="connsiteX62" fmla="*/ 132407 w 751062"/>
                      <a:gd name="connsiteY62" fmla="*/ 271637 h 723778"/>
                      <a:gd name="connsiteX63" fmla="*/ 122821 w 751062"/>
                      <a:gd name="connsiteY63" fmla="*/ 268134 h 723778"/>
                      <a:gd name="connsiteX64" fmla="*/ 121833 w 751062"/>
                      <a:gd name="connsiteY64" fmla="*/ 263183 h 723778"/>
                      <a:gd name="connsiteX65" fmla="*/ 119832 w 751062"/>
                      <a:gd name="connsiteY65" fmla="*/ 263183 h 723778"/>
                      <a:gd name="connsiteX66" fmla="*/ 118884 w 751062"/>
                      <a:gd name="connsiteY66" fmla="*/ 267077 h 723778"/>
                      <a:gd name="connsiteX67" fmla="*/ 38391 w 751062"/>
                      <a:gd name="connsiteY67" fmla="*/ 306230 h 723778"/>
                      <a:gd name="connsiteX68" fmla="*/ 55244 w 751062"/>
                      <a:gd name="connsiteY68" fmla="*/ 616010 h 723778"/>
                      <a:gd name="connsiteX69" fmla="*/ 55121 w 751062"/>
                      <a:gd name="connsiteY69" fmla="*/ 616118 h 723778"/>
                      <a:gd name="connsiteX70" fmla="*/ 200638 w 751062"/>
                      <a:gd name="connsiteY70" fmla="*/ 627174 h 723778"/>
                      <a:gd name="connsiteX71" fmla="*/ 238677 w 751062"/>
                      <a:gd name="connsiteY71" fmla="*/ 633256 h 723778"/>
                      <a:gd name="connsiteX72" fmla="*/ 276296 w 751062"/>
                      <a:gd name="connsiteY72" fmla="*/ 723748 h 723778"/>
                      <a:gd name="connsiteX73" fmla="*/ 307374 w 751062"/>
                      <a:gd name="connsiteY73" fmla="*/ 627671 h 723778"/>
                      <a:gd name="connsiteX74" fmla="*/ 317262 w 751062"/>
                      <a:gd name="connsiteY74" fmla="*/ 601839 h 723778"/>
                      <a:gd name="connsiteX75" fmla="*/ 319092 w 751062"/>
                      <a:gd name="connsiteY75" fmla="*/ 590286 h 723778"/>
                      <a:gd name="connsiteX76" fmla="*/ 319766 w 751062"/>
                      <a:gd name="connsiteY76" fmla="*/ 582311 h 723778"/>
                      <a:gd name="connsiteX77" fmla="*/ 378509 w 751062"/>
                      <a:gd name="connsiteY77" fmla="*/ 596082 h 723778"/>
                      <a:gd name="connsiteX78" fmla="*/ 381173 w 751062"/>
                      <a:gd name="connsiteY78" fmla="*/ 638079 h 723778"/>
                      <a:gd name="connsiteX79" fmla="*/ 386096 w 751062"/>
                      <a:gd name="connsiteY79" fmla="*/ 657567 h 723778"/>
                      <a:gd name="connsiteX80" fmla="*/ 401851 w 751062"/>
                      <a:gd name="connsiteY80" fmla="*/ 665087 h 723778"/>
                      <a:gd name="connsiteX81" fmla="*/ 404264 w 751062"/>
                      <a:gd name="connsiteY81" fmla="*/ 678456 h 723778"/>
                      <a:gd name="connsiteX82" fmla="*/ 404496 w 751062"/>
                      <a:gd name="connsiteY82" fmla="*/ 679487 h 723778"/>
                      <a:gd name="connsiteX83" fmla="*/ 409178 w 751062"/>
                      <a:gd name="connsiteY83" fmla="*/ 680803 h 723778"/>
                      <a:gd name="connsiteX84" fmla="*/ 410595 w 751062"/>
                      <a:gd name="connsiteY84" fmla="*/ 686468 h 723778"/>
                      <a:gd name="connsiteX85" fmla="*/ 419320 w 751062"/>
                      <a:gd name="connsiteY85" fmla="*/ 685212 h 723778"/>
                      <a:gd name="connsiteX86" fmla="*/ 419523 w 751062"/>
                      <a:gd name="connsiteY86" fmla="*/ 680332 h 723778"/>
                      <a:gd name="connsiteX87" fmla="*/ 420014 w 751062"/>
                      <a:gd name="connsiteY87" fmla="*/ 673345 h 723778"/>
                      <a:gd name="connsiteX88" fmla="*/ 441855 w 751062"/>
                      <a:gd name="connsiteY88" fmla="*/ 670875 h 723778"/>
                      <a:gd name="connsiteX89" fmla="*/ 462196 w 751062"/>
                      <a:gd name="connsiteY89" fmla="*/ 663580 h 723778"/>
                      <a:gd name="connsiteX90" fmla="*/ 501235 w 751062"/>
                      <a:gd name="connsiteY90" fmla="*/ 658178 h 723778"/>
                      <a:gd name="connsiteX91" fmla="*/ 515857 w 751062"/>
                      <a:gd name="connsiteY91" fmla="*/ 679621 h 723778"/>
                      <a:gd name="connsiteX92" fmla="*/ 582549 w 751062"/>
                      <a:gd name="connsiteY92" fmla="*/ 672434 h 723778"/>
                      <a:gd name="connsiteX93" fmla="*/ 598071 w 751062"/>
                      <a:gd name="connsiteY93" fmla="*/ 677043 h 723778"/>
                      <a:gd name="connsiteX94" fmla="*/ 614578 w 751062"/>
                      <a:gd name="connsiteY94" fmla="*/ 674936 h 723778"/>
                      <a:gd name="connsiteX95" fmla="*/ 709358 w 751062"/>
                      <a:gd name="connsiteY95" fmla="*/ 657475 h 723778"/>
                      <a:gd name="connsiteX96" fmla="*/ 742469 w 751062"/>
                      <a:gd name="connsiteY96" fmla="*/ 648481 h 723778"/>
                      <a:gd name="connsiteX97" fmla="*/ 743285 w 751062"/>
                      <a:gd name="connsiteY97" fmla="*/ 644749 h 723778"/>
                      <a:gd name="connsiteX98" fmla="*/ 730610 w 751062"/>
                      <a:gd name="connsiteY98" fmla="*/ 642102 h 723778"/>
                      <a:gd name="connsiteX99" fmla="*/ 731059 w 751062"/>
                      <a:gd name="connsiteY99" fmla="*/ 640157 h 723778"/>
                      <a:gd name="connsiteX100" fmla="*/ 745661 w 751062"/>
                      <a:gd name="connsiteY100" fmla="*/ 639812 h 723778"/>
                      <a:gd name="connsiteX101" fmla="*/ 748257 w 751062"/>
                      <a:gd name="connsiteY101" fmla="*/ 625144 h 723778"/>
                      <a:gd name="connsiteX102" fmla="*/ 96509 w 751062"/>
                      <a:gd name="connsiteY102" fmla="*/ 73656 h 723778"/>
                      <a:gd name="connsiteX103" fmla="*/ 73058 w 751062"/>
                      <a:gd name="connsiteY103" fmla="*/ 71623 h 723778"/>
                      <a:gd name="connsiteX104" fmla="*/ 68081 w 751062"/>
                      <a:gd name="connsiteY104" fmla="*/ 70624 h 723778"/>
                      <a:gd name="connsiteX105" fmla="*/ 73098 w 751062"/>
                      <a:gd name="connsiteY105" fmla="*/ 61387 h 723778"/>
                      <a:gd name="connsiteX106" fmla="*/ 98576 w 751062"/>
                      <a:gd name="connsiteY106" fmla="*/ 62397 h 723778"/>
                      <a:gd name="connsiteX107" fmla="*/ 96509 w 751062"/>
                      <a:gd name="connsiteY107" fmla="*/ 73656 h 723778"/>
                      <a:gd name="connsiteX108" fmla="*/ 607379 w 751062"/>
                      <a:gd name="connsiteY108" fmla="*/ 388147 h 723778"/>
                      <a:gd name="connsiteX109" fmla="*/ 608427 w 751062"/>
                      <a:gd name="connsiteY109" fmla="*/ 379318 h 723778"/>
                      <a:gd name="connsiteX110" fmla="*/ 630927 w 751062"/>
                      <a:gd name="connsiteY110" fmla="*/ 410622 h 723778"/>
                      <a:gd name="connsiteX111" fmla="*/ 678660 w 751062"/>
                      <a:gd name="connsiteY111" fmla="*/ 607478 h 723778"/>
                      <a:gd name="connsiteX112" fmla="*/ 670720 w 751062"/>
                      <a:gd name="connsiteY112" fmla="*/ 607295 h 723778"/>
                      <a:gd name="connsiteX113" fmla="*/ 617376 w 751062"/>
                      <a:gd name="connsiteY113" fmla="*/ 405836 h 723778"/>
                      <a:gd name="connsiteX114" fmla="*/ 606900 w 751062"/>
                      <a:gd name="connsiteY114" fmla="*/ 392630 h 723778"/>
                      <a:gd name="connsiteX115" fmla="*/ 607379 w 751062"/>
                      <a:gd name="connsiteY115" fmla="*/ 388147 h 723778"/>
                      <a:gd name="connsiteX116" fmla="*/ 617108 w 751062"/>
                      <a:gd name="connsiteY116" fmla="*/ 538895 h 723778"/>
                      <a:gd name="connsiteX117" fmla="*/ 650852 w 751062"/>
                      <a:gd name="connsiteY117" fmla="*/ 543107 h 723778"/>
                      <a:gd name="connsiteX118" fmla="*/ 666588 w 751062"/>
                      <a:gd name="connsiteY118" fmla="*/ 607692 h 723778"/>
                      <a:gd name="connsiteX119" fmla="*/ 618649 w 751062"/>
                      <a:gd name="connsiteY119" fmla="*/ 598198 h 723778"/>
                      <a:gd name="connsiteX120" fmla="*/ 615429 w 751062"/>
                      <a:gd name="connsiteY120" fmla="*/ 566981 h 723778"/>
                      <a:gd name="connsiteX121" fmla="*/ 617108 w 751062"/>
                      <a:gd name="connsiteY121" fmla="*/ 538895 h 723778"/>
                      <a:gd name="connsiteX122" fmla="*/ 614098 w 751062"/>
                      <a:gd name="connsiteY122" fmla="*/ 407752 h 723778"/>
                      <a:gd name="connsiteX123" fmla="*/ 649961 w 751062"/>
                      <a:gd name="connsiteY123" fmla="*/ 539024 h 723778"/>
                      <a:gd name="connsiteX124" fmla="*/ 609324 w 751062"/>
                      <a:gd name="connsiteY124" fmla="*/ 533927 h 723778"/>
                      <a:gd name="connsiteX125" fmla="*/ 599236 w 751062"/>
                      <a:gd name="connsiteY125" fmla="*/ 509908 h 723778"/>
                      <a:gd name="connsiteX126" fmla="*/ 607294 w 751062"/>
                      <a:gd name="connsiteY126" fmla="*/ 510356 h 723778"/>
                      <a:gd name="connsiteX127" fmla="*/ 607459 w 751062"/>
                      <a:gd name="connsiteY127" fmla="*/ 519764 h 723778"/>
                      <a:gd name="connsiteX128" fmla="*/ 644647 w 751062"/>
                      <a:gd name="connsiteY128" fmla="*/ 525735 h 723778"/>
                      <a:gd name="connsiteX129" fmla="*/ 644647 w 751062"/>
                      <a:gd name="connsiteY129" fmla="*/ 522012 h 723778"/>
                      <a:gd name="connsiteX130" fmla="*/ 610152 w 751062"/>
                      <a:gd name="connsiteY130" fmla="*/ 519290 h 723778"/>
                      <a:gd name="connsiteX131" fmla="*/ 610717 w 751062"/>
                      <a:gd name="connsiteY131" fmla="*/ 510025 h 723778"/>
                      <a:gd name="connsiteX132" fmla="*/ 611954 w 751062"/>
                      <a:gd name="connsiteY132" fmla="*/ 508669 h 723778"/>
                      <a:gd name="connsiteX133" fmla="*/ 610849 w 751062"/>
                      <a:gd name="connsiteY133" fmla="*/ 501116 h 723778"/>
                      <a:gd name="connsiteX134" fmla="*/ 607551 w 751062"/>
                      <a:gd name="connsiteY134" fmla="*/ 492519 h 723778"/>
                      <a:gd name="connsiteX135" fmla="*/ 599110 w 751062"/>
                      <a:gd name="connsiteY135" fmla="*/ 487059 h 723778"/>
                      <a:gd name="connsiteX136" fmla="*/ 606471 w 751062"/>
                      <a:gd name="connsiteY136" fmla="*/ 396682 h 723778"/>
                      <a:gd name="connsiteX137" fmla="*/ 614098 w 751062"/>
                      <a:gd name="connsiteY137" fmla="*/ 407752 h 723778"/>
                      <a:gd name="connsiteX138" fmla="*/ 602380 w 751062"/>
                      <a:gd name="connsiteY138" fmla="*/ 576372 h 723778"/>
                      <a:gd name="connsiteX139" fmla="*/ 602083 w 751062"/>
                      <a:gd name="connsiteY139" fmla="*/ 547127 h 723778"/>
                      <a:gd name="connsiteX140" fmla="*/ 608179 w 751062"/>
                      <a:gd name="connsiteY140" fmla="*/ 537425 h 723778"/>
                      <a:gd name="connsiteX141" fmla="*/ 613924 w 751062"/>
                      <a:gd name="connsiteY141" fmla="*/ 538444 h 723778"/>
                      <a:gd name="connsiteX142" fmla="*/ 611865 w 751062"/>
                      <a:gd name="connsiteY142" fmla="*/ 568126 h 723778"/>
                      <a:gd name="connsiteX143" fmla="*/ 614355 w 751062"/>
                      <a:gd name="connsiteY143" fmla="*/ 594960 h 723778"/>
                      <a:gd name="connsiteX144" fmla="*/ 602334 w 751062"/>
                      <a:gd name="connsiteY144" fmla="*/ 579604 h 723778"/>
                      <a:gd name="connsiteX145" fmla="*/ 602380 w 751062"/>
                      <a:gd name="connsiteY145" fmla="*/ 576372 h 723778"/>
                      <a:gd name="connsiteX146" fmla="*/ 598833 w 751062"/>
                      <a:gd name="connsiteY146" fmla="*/ 507229 h 723778"/>
                      <a:gd name="connsiteX147" fmla="*/ 598942 w 751062"/>
                      <a:gd name="connsiteY147" fmla="*/ 489923 h 723778"/>
                      <a:gd name="connsiteX148" fmla="*/ 604510 w 751062"/>
                      <a:gd name="connsiteY148" fmla="*/ 495123 h 723778"/>
                      <a:gd name="connsiteX149" fmla="*/ 608596 w 751062"/>
                      <a:gd name="connsiteY149" fmla="*/ 503398 h 723778"/>
                      <a:gd name="connsiteX150" fmla="*/ 608896 w 751062"/>
                      <a:gd name="connsiteY150" fmla="*/ 506787 h 723778"/>
                      <a:gd name="connsiteX151" fmla="*/ 598833 w 751062"/>
                      <a:gd name="connsiteY151" fmla="*/ 507229 h 723778"/>
                      <a:gd name="connsiteX152" fmla="*/ 579003 w 751062"/>
                      <a:gd name="connsiteY152" fmla="*/ 296887 h 723778"/>
                      <a:gd name="connsiteX153" fmla="*/ 588243 w 751062"/>
                      <a:gd name="connsiteY153" fmla="*/ 306398 h 723778"/>
                      <a:gd name="connsiteX154" fmla="*/ 603919 w 751062"/>
                      <a:gd name="connsiteY154" fmla="*/ 341259 h 723778"/>
                      <a:gd name="connsiteX155" fmla="*/ 601654 w 751062"/>
                      <a:gd name="connsiteY155" fmla="*/ 379167 h 723778"/>
                      <a:gd name="connsiteX156" fmla="*/ 591081 w 751062"/>
                      <a:gd name="connsiteY156" fmla="*/ 496476 h 723778"/>
                      <a:gd name="connsiteX157" fmla="*/ 598562 w 751062"/>
                      <a:gd name="connsiteY157" fmla="*/ 525698 h 723778"/>
                      <a:gd name="connsiteX158" fmla="*/ 601929 w 751062"/>
                      <a:gd name="connsiteY158" fmla="*/ 531094 h 723778"/>
                      <a:gd name="connsiteX159" fmla="*/ 580411 w 751062"/>
                      <a:gd name="connsiteY159" fmla="*/ 555625 h 723778"/>
                      <a:gd name="connsiteX160" fmla="*/ 525694 w 751062"/>
                      <a:gd name="connsiteY160" fmla="*/ 556718 h 723778"/>
                      <a:gd name="connsiteX161" fmla="*/ 518472 w 751062"/>
                      <a:gd name="connsiteY161" fmla="*/ 527400 h 723778"/>
                      <a:gd name="connsiteX162" fmla="*/ 519343 w 751062"/>
                      <a:gd name="connsiteY162" fmla="*/ 381802 h 723778"/>
                      <a:gd name="connsiteX163" fmla="*/ 520685 w 751062"/>
                      <a:gd name="connsiteY163" fmla="*/ 372417 h 723778"/>
                      <a:gd name="connsiteX164" fmla="*/ 519903 w 751062"/>
                      <a:gd name="connsiteY164" fmla="*/ 358020 h 723778"/>
                      <a:gd name="connsiteX165" fmla="*/ 512131 w 751062"/>
                      <a:gd name="connsiteY165" fmla="*/ 358020 h 723778"/>
                      <a:gd name="connsiteX166" fmla="*/ 512956 w 751062"/>
                      <a:gd name="connsiteY166" fmla="*/ 374653 h 723778"/>
                      <a:gd name="connsiteX167" fmla="*/ 437084 w 751062"/>
                      <a:gd name="connsiteY167" fmla="*/ 346425 h 723778"/>
                      <a:gd name="connsiteX168" fmla="*/ 424980 w 751062"/>
                      <a:gd name="connsiteY168" fmla="*/ 309182 h 723778"/>
                      <a:gd name="connsiteX169" fmla="*/ 418664 w 751062"/>
                      <a:gd name="connsiteY169" fmla="*/ 298797 h 723778"/>
                      <a:gd name="connsiteX170" fmla="*/ 388477 w 751062"/>
                      <a:gd name="connsiteY170" fmla="*/ 279307 h 723778"/>
                      <a:gd name="connsiteX171" fmla="*/ 387095 w 751062"/>
                      <a:gd name="connsiteY171" fmla="*/ 284321 h 723778"/>
                      <a:gd name="connsiteX172" fmla="*/ 403568 w 751062"/>
                      <a:gd name="connsiteY172" fmla="*/ 292941 h 723778"/>
                      <a:gd name="connsiteX173" fmla="*/ 407719 w 751062"/>
                      <a:gd name="connsiteY173" fmla="*/ 296887 h 723778"/>
                      <a:gd name="connsiteX174" fmla="*/ 430525 w 751062"/>
                      <a:gd name="connsiteY174" fmla="*/ 347870 h 723778"/>
                      <a:gd name="connsiteX175" fmla="*/ 434362 w 751062"/>
                      <a:gd name="connsiteY175" fmla="*/ 448723 h 723778"/>
                      <a:gd name="connsiteX176" fmla="*/ 432792 w 751062"/>
                      <a:gd name="connsiteY176" fmla="*/ 512186 h 723778"/>
                      <a:gd name="connsiteX177" fmla="*/ 429388 w 751062"/>
                      <a:gd name="connsiteY177" fmla="*/ 551462 h 723778"/>
                      <a:gd name="connsiteX178" fmla="*/ 414215 w 751062"/>
                      <a:gd name="connsiteY178" fmla="*/ 561093 h 723778"/>
                      <a:gd name="connsiteX179" fmla="*/ 404358 w 751062"/>
                      <a:gd name="connsiteY179" fmla="*/ 561207 h 723778"/>
                      <a:gd name="connsiteX180" fmla="*/ 400584 w 751062"/>
                      <a:gd name="connsiteY180" fmla="*/ 560596 h 723778"/>
                      <a:gd name="connsiteX181" fmla="*/ 379308 w 751062"/>
                      <a:gd name="connsiteY181" fmla="*/ 455245 h 723778"/>
                      <a:gd name="connsiteX182" fmla="*/ 347771 w 751062"/>
                      <a:gd name="connsiteY182" fmla="*/ 414650 h 723778"/>
                      <a:gd name="connsiteX183" fmla="*/ 345755 w 751062"/>
                      <a:gd name="connsiteY183" fmla="*/ 380949 h 723778"/>
                      <a:gd name="connsiteX184" fmla="*/ 345093 w 751062"/>
                      <a:gd name="connsiteY184" fmla="*/ 362586 h 723778"/>
                      <a:gd name="connsiteX185" fmla="*/ 341287 w 751062"/>
                      <a:gd name="connsiteY185" fmla="*/ 362072 h 723778"/>
                      <a:gd name="connsiteX186" fmla="*/ 340419 w 751062"/>
                      <a:gd name="connsiteY186" fmla="*/ 378405 h 723778"/>
                      <a:gd name="connsiteX187" fmla="*/ 330368 w 751062"/>
                      <a:gd name="connsiteY187" fmla="*/ 374356 h 723778"/>
                      <a:gd name="connsiteX188" fmla="*/ 329643 w 751062"/>
                      <a:gd name="connsiteY188" fmla="*/ 378921 h 723778"/>
                      <a:gd name="connsiteX189" fmla="*/ 339922 w 751062"/>
                      <a:gd name="connsiteY189" fmla="*/ 385166 h 723778"/>
                      <a:gd name="connsiteX190" fmla="*/ 340424 w 751062"/>
                      <a:gd name="connsiteY190" fmla="*/ 389897 h 723778"/>
                      <a:gd name="connsiteX191" fmla="*/ 328044 w 751062"/>
                      <a:gd name="connsiteY191" fmla="*/ 393004 h 723778"/>
                      <a:gd name="connsiteX192" fmla="*/ 325445 w 751062"/>
                      <a:gd name="connsiteY192" fmla="*/ 283947 h 723778"/>
                      <a:gd name="connsiteX193" fmla="*/ 324868 w 751062"/>
                      <a:gd name="connsiteY193" fmla="*/ 266586 h 723778"/>
                      <a:gd name="connsiteX194" fmla="*/ 329177 w 751062"/>
                      <a:gd name="connsiteY194" fmla="*/ 266364 h 723778"/>
                      <a:gd name="connsiteX195" fmla="*/ 335368 w 751062"/>
                      <a:gd name="connsiteY195" fmla="*/ 265969 h 723778"/>
                      <a:gd name="connsiteX196" fmla="*/ 352463 w 751062"/>
                      <a:gd name="connsiteY196" fmla="*/ 277871 h 723778"/>
                      <a:gd name="connsiteX197" fmla="*/ 359038 w 751062"/>
                      <a:gd name="connsiteY197" fmla="*/ 279338 h 723778"/>
                      <a:gd name="connsiteX198" fmla="*/ 359432 w 751062"/>
                      <a:gd name="connsiteY198" fmla="*/ 267534 h 723778"/>
                      <a:gd name="connsiteX199" fmla="*/ 369620 w 751062"/>
                      <a:gd name="connsiteY199" fmla="*/ 268982 h 723778"/>
                      <a:gd name="connsiteX200" fmla="*/ 370283 w 751062"/>
                      <a:gd name="connsiteY200" fmla="*/ 267606 h 723778"/>
                      <a:gd name="connsiteX201" fmla="*/ 370979 w 751062"/>
                      <a:gd name="connsiteY201" fmla="*/ 268148 h 723778"/>
                      <a:gd name="connsiteX202" fmla="*/ 377081 w 751062"/>
                      <a:gd name="connsiteY202" fmla="*/ 260450 h 723778"/>
                      <a:gd name="connsiteX203" fmla="*/ 378489 w 751062"/>
                      <a:gd name="connsiteY203" fmla="*/ 257900 h 723778"/>
                      <a:gd name="connsiteX204" fmla="*/ 426416 w 751062"/>
                      <a:gd name="connsiteY204" fmla="*/ 251841 h 723778"/>
                      <a:gd name="connsiteX205" fmla="*/ 427521 w 751062"/>
                      <a:gd name="connsiteY205" fmla="*/ 251656 h 723778"/>
                      <a:gd name="connsiteX206" fmla="*/ 449227 w 751062"/>
                      <a:gd name="connsiteY206" fmla="*/ 258080 h 723778"/>
                      <a:gd name="connsiteX207" fmla="*/ 509826 w 751062"/>
                      <a:gd name="connsiteY207" fmla="*/ 272380 h 723778"/>
                      <a:gd name="connsiteX208" fmla="*/ 570708 w 751062"/>
                      <a:gd name="connsiteY208" fmla="*/ 291368 h 723778"/>
                      <a:gd name="connsiteX209" fmla="*/ 579003 w 751062"/>
                      <a:gd name="connsiteY209" fmla="*/ 296887 h 723778"/>
                      <a:gd name="connsiteX210" fmla="*/ 598351 w 751062"/>
                      <a:gd name="connsiteY210" fmla="*/ 569867 h 723778"/>
                      <a:gd name="connsiteX211" fmla="*/ 592283 w 751062"/>
                      <a:gd name="connsiteY211" fmla="*/ 561584 h 723778"/>
                      <a:gd name="connsiteX212" fmla="*/ 593602 w 751062"/>
                      <a:gd name="connsiteY212" fmla="*/ 554691 h 723778"/>
                      <a:gd name="connsiteX213" fmla="*/ 598465 w 751062"/>
                      <a:gd name="connsiteY213" fmla="*/ 550782 h 723778"/>
                      <a:gd name="connsiteX214" fmla="*/ 598351 w 751062"/>
                      <a:gd name="connsiteY214" fmla="*/ 569867 h 723778"/>
                      <a:gd name="connsiteX215" fmla="*/ 588289 w 751062"/>
                      <a:gd name="connsiteY215" fmla="*/ 560659 h 723778"/>
                      <a:gd name="connsiteX216" fmla="*/ 579348 w 751062"/>
                      <a:gd name="connsiteY216" fmla="*/ 576172 h 723778"/>
                      <a:gd name="connsiteX217" fmla="*/ 569992 w 751062"/>
                      <a:gd name="connsiteY217" fmla="*/ 579590 h 723778"/>
                      <a:gd name="connsiteX218" fmla="*/ 560666 w 751062"/>
                      <a:gd name="connsiteY218" fmla="*/ 581803 h 723778"/>
                      <a:gd name="connsiteX219" fmla="*/ 528489 w 751062"/>
                      <a:gd name="connsiteY219" fmla="*/ 583170 h 723778"/>
                      <a:gd name="connsiteX220" fmla="*/ 525731 w 751062"/>
                      <a:gd name="connsiteY220" fmla="*/ 575558 h 723778"/>
                      <a:gd name="connsiteX221" fmla="*/ 525925 w 751062"/>
                      <a:gd name="connsiteY221" fmla="*/ 560770 h 723778"/>
                      <a:gd name="connsiteX222" fmla="*/ 560046 w 751062"/>
                      <a:gd name="connsiteY222" fmla="*/ 564088 h 723778"/>
                      <a:gd name="connsiteX223" fmla="*/ 588309 w 751062"/>
                      <a:gd name="connsiteY223" fmla="*/ 558160 h 723778"/>
                      <a:gd name="connsiteX224" fmla="*/ 588289 w 751062"/>
                      <a:gd name="connsiteY224" fmla="*/ 560659 h 723778"/>
                      <a:gd name="connsiteX225" fmla="*/ 527887 w 751062"/>
                      <a:gd name="connsiteY225" fmla="*/ 586457 h 723778"/>
                      <a:gd name="connsiteX226" fmla="*/ 559658 w 751062"/>
                      <a:gd name="connsiteY226" fmla="*/ 586431 h 723778"/>
                      <a:gd name="connsiteX227" fmla="*/ 541695 w 751062"/>
                      <a:gd name="connsiteY227" fmla="*/ 600260 h 723778"/>
                      <a:gd name="connsiteX228" fmla="*/ 524417 w 751062"/>
                      <a:gd name="connsiteY228" fmla="*/ 605965 h 723778"/>
                      <a:gd name="connsiteX229" fmla="*/ 527887 w 751062"/>
                      <a:gd name="connsiteY229" fmla="*/ 586457 h 723778"/>
                      <a:gd name="connsiteX230" fmla="*/ 451752 w 751062"/>
                      <a:gd name="connsiteY230" fmla="*/ 357586 h 723778"/>
                      <a:gd name="connsiteX231" fmla="*/ 467779 w 751062"/>
                      <a:gd name="connsiteY231" fmla="*/ 361364 h 723778"/>
                      <a:gd name="connsiteX232" fmla="*/ 484297 w 751062"/>
                      <a:gd name="connsiteY232" fmla="*/ 369844 h 723778"/>
                      <a:gd name="connsiteX233" fmla="*/ 439862 w 751062"/>
                      <a:gd name="connsiteY233" fmla="*/ 375915 h 723778"/>
                      <a:gd name="connsiteX234" fmla="*/ 438714 w 751062"/>
                      <a:gd name="connsiteY234" fmla="*/ 359485 h 723778"/>
                      <a:gd name="connsiteX235" fmla="*/ 451752 w 751062"/>
                      <a:gd name="connsiteY235" fmla="*/ 357586 h 723778"/>
                      <a:gd name="connsiteX236" fmla="*/ 438488 w 751062"/>
                      <a:gd name="connsiteY236" fmla="*/ 357232 h 723778"/>
                      <a:gd name="connsiteX237" fmla="*/ 437840 w 751062"/>
                      <a:gd name="connsiteY237" fmla="*/ 351693 h 723778"/>
                      <a:gd name="connsiteX238" fmla="*/ 451312 w 751062"/>
                      <a:gd name="connsiteY238" fmla="*/ 354748 h 723778"/>
                      <a:gd name="connsiteX239" fmla="*/ 438488 w 751062"/>
                      <a:gd name="connsiteY239" fmla="*/ 357232 h 723778"/>
                      <a:gd name="connsiteX240" fmla="*/ 469806 w 751062"/>
                      <a:gd name="connsiteY240" fmla="*/ 652932 h 723778"/>
                      <a:gd name="connsiteX241" fmla="*/ 453139 w 751062"/>
                      <a:gd name="connsiteY241" fmla="*/ 655628 h 723778"/>
                      <a:gd name="connsiteX242" fmla="*/ 448285 w 751062"/>
                      <a:gd name="connsiteY242" fmla="*/ 656430 h 723778"/>
                      <a:gd name="connsiteX243" fmla="*/ 452968 w 751062"/>
                      <a:gd name="connsiteY243" fmla="*/ 642119 h 723778"/>
                      <a:gd name="connsiteX244" fmla="*/ 468638 w 751062"/>
                      <a:gd name="connsiteY244" fmla="*/ 642296 h 723778"/>
                      <a:gd name="connsiteX245" fmla="*/ 469806 w 751062"/>
                      <a:gd name="connsiteY245" fmla="*/ 652932 h 723778"/>
                      <a:gd name="connsiteX246" fmla="*/ 470460 w 751062"/>
                      <a:gd name="connsiteY246" fmla="*/ 642416 h 723778"/>
                      <a:gd name="connsiteX247" fmla="*/ 475205 w 751062"/>
                      <a:gd name="connsiteY247" fmla="*/ 644912 h 723778"/>
                      <a:gd name="connsiteX248" fmla="*/ 474857 w 751062"/>
                      <a:gd name="connsiteY248" fmla="*/ 651388 h 723778"/>
                      <a:gd name="connsiteX249" fmla="*/ 470460 w 751062"/>
                      <a:gd name="connsiteY249" fmla="*/ 642416 h 723778"/>
                      <a:gd name="connsiteX250" fmla="*/ 472119 w 751062"/>
                      <a:gd name="connsiteY250" fmla="*/ 639703 h 723778"/>
                      <a:gd name="connsiteX251" fmla="*/ 462565 w 751062"/>
                      <a:gd name="connsiteY251" fmla="*/ 639372 h 723778"/>
                      <a:gd name="connsiteX252" fmla="*/ 457145 w 751062"/>
                      <a:gd name="connsiteY252" fmla="*/ 639678 h 723778"/>
                      <a:gd name="connsiteX253" fmla="*/ 434240 w 751062"/>
                      <a:gd name="connsiteY253" fmla="*/ 639835 h 723778"/>
                      <a:gd name="connsiteX254" fmla="*/ 461957 w 751062"/>
                      <a:gd name="connsiteY254" fmla="*/ 625552 h 723778"/>
                      <a:gd name="connsiteX255" fmla="*/ 486513 w 751062"/>
                      <a:gd name="connsiteY255" fmla="*/ 631500 h 723778"/>
                      <a:gd name="connsiteX256" fmla="*/ 485490 w 751062"/>
                      <a:gd name="connsiteY256" fmla="*/ 638624 h 723778"/>
                      <a:gd name="connsiteX257" fmla="*/ 477218 w 751062"/>
                      <a:gd name="connsiteY257" fmla="*/ 642387 h 723778"/>
                      <a:gd name="connsiteX258" fmla="*/ 472119 w 751062"/>
                      <a:gd name="connsiteY258" fmla="*/ 639703 h 723778"/>
                      <a:gd name="connsiteX259" fmla="*/ 476876 w 751062"/>
                      <a:gd name="connsiteY259" fmla="*/ 619876 h 723778"/>
                      <a:gd name="connsiteX260" fmla="*/ 429703 w 751062"/>
                      <a:gd name="connsiteY260" fmla="*/ 638050 h 723778"/>
                      <a:gd name="connsiteX261" fmla="*/ 429554 w 751062"/>
                      <a:gd name="connsiteY261" fmla="*/ 640406 h 723778"/>
                      <a:gd name="connsiteX262" fmla="*/ 415934 w 751062"/>
                      <a:gd name="connsiteY262" fmla="*/ 642633 h 723778"/>
                      <a:gd name="connsiteX263" fmla="*/ 403773 w 751062"/>
                      <a:gd name="connsiteY263" fmla="*/ 577348 h 723778"/>
                      <a:gd name="connsiteX264" fmla="*/ 433988 w 751062"/>
                      <a:gd name="connsiteY264" fmla="*/ 571575 h 723778"/>
                      <a:gd name="connsiteX265" fmla="*/ 436841 w 751062"/>
                      <a:gd name="connsiteY265" fmla="*/ 572740 h 723778"/>
                      <a:gd name="connsiteX266" fmla="*/ 446106 w 751062"/>
                      <a:gd name="connsiteY266" fmla="*/ 588210 h 723778"/>
                      <a:gd name="connsiteX267" fmla="*/ 466982 w 751062"/>
                      <a:gd name="connsiteY267" fmla="*/ 611615 h 723778"/>
                      <a:gd name="connsiteX268" fmla="*/ 483414 w 751062"/>
                      <a:gd name="connsiteY268" fmla="*/ 621975 h 723778"/>
                      <a:gd name="connsiteX269" fmla="*/ 476876 w 751062"/>
                      <a:gd name="connsiteY269" fmla="*/ 619876 h 723778"/>
                      <a:gd name="connsiteX270" fmla="*/ 403153 w 751062"/>
                      <a:gd name="connsiteY270" fmla="*/ 574096 h 723778"/>
                      <a:gd name="connsiteX271" fmla="*/ 401574 w 751062"/>
                      <a:gd name="connsiteY271" fmla="*/ 565821 h 723778"/>
                      <a:gd name="connsiteX272" fmla="*/ 417484 w 751062"/>
                      <a:gd name="connsiteY272" fmla="*/ 566310 h 723778"/>
                      <a:gd name="connsiteX273" fmla="*/ 434322 w 751062"/>
                      <a:gd name="connsiteY273" fmla="*/ 557878 h 723778"/>
                      <a:gd name="connsiteX274" fmla="*/ 433857 w 751062"/>
                      <a:gd name="connsiteY274" fmla="*/ 566118 h 723778"/>
                      <a:gd name="connsiteX275" fmla="*/ 403153 w 751062"/>
                      <a:gd name="connsiteY275" fmla="*/ 574096 h 723778"/>
                      <a:gd name="connsiteX276" fmla="*/ 328540 w 751062"/>
                      <a:gd name="connsiteY276" fmla="*/ 407589 h 723778"/>
                      <a:gd name="connsiteX277" fmla="*/ 328138 w 751062"/>
                      <a:gd name="connsiteY277" fmla="*/ 395682 h 723778"/>
                      <a:gd name="connsiteX278" fmla="*/ 340781 w 751062"/>
                      <a:gd name="connsiteY278" fmla="*/ 393218 h 723778"/>
                      <a:gd name="connsiteX279" fmla="*/ 342355 w 751062"/>
                      <a:gd name="connsiteY279" fmla="*/ 412872 h 723778"/>
                      <a:gd name="connsiteX280" fmla="*/ 328406 w 751062"/>
                      <a:gd name="connsiteY280" fmla="*/ 410656 h 723778"/>
                      <a:gd name="connsiteX281" fmla="*/ 328540 w 751062"/>
                      <a:gd name="connsiteY281" fmla="*/ 407589 h 723778"/>
                      <a:gd name="connsiteX282" fmla="*/ 569677 w 751062"/>
                      <a:gd name="connsiteY282" fmla="*/ 251276 h 723778"/>
                      <a:gd name="connsiteX283" fmla="*/ 574891 w 751062"/>
                      <a:gd name="connsiteY283" fmla="*/ 252013 h 723778"/>
                      <a:gd name="connsiteX284" fmla="*/ 574971 w 751062"/>
                      <a:gd name="connsiteY284" fmla="*/ 252581 h 723778"/>
                      <a:gd name="connsiteX285" fmla="*/ 577818 w 751062"/>
                      <a:gd name="connsiteY285" fmla="*/ 288113 h 723778"/>
                      <a:gd name="connsiteX286" fmla="*/ 569143 w 751062"/>
                      <a:gd name="connsiteY286" fmla="*/ 283062 h 723778"/>
                      <a:gd name="connsiteX287" fmla="*/ 567350 w 751062"/>
                      <a:gd name="connsiteY287" fmla="*/ 269873 h 723778"/>
                      <a:gd name="connsiteX288" fmla="*/ 563630 w 751062"/>
                      <a:gd name="connsiteY288" fmla="*/ 250125 h 723778"/>
                      <a:gd name="connsiteX289" fmla="*/ 569677 w 751062"/>
                      <a:gd name="connsiteY289" fmla="*/ 251276 h 723778"/>
                      <a:gd name="connsiteX290" fmla="*/ 559809 w 751062"/>
                      <a:gd name="connsiteY290" fmla="*/ 257518 h 723778"/>
                      <a:gd name="connsiteX291" fmla="*/ 564144 w 751062"/>
                      <a:gd name="connsiteY291" fmla="*/ 280712 h 723778"/>
                      <a:gd name="connsiteX292" fmla="*/ 521305 w 751062"/>
                      <a:gd name="connsiteY292" fmla="*/ 269667 h 723778"/>
                      <a:gd name="connsiteX293" fmla="*/ 428689 w 751062"/>
                      <a:gd name="connsiteY293" fmla="*/ 249217 h 723778"/>
                      <a:gd name="connsiteX294" fmla="*/ 426062 w 751062"/>
                      <a:gd name="connsiteY294" fmla="*/ 244149 h 723778"/>
                      <a:gd name="connsiteX295" fmla="*/ 512328 w 751062"/>
                      <a:gd name="connsiteY295" fmla="*/ 256898 h 723778"/>
                      <a:gd name="connsiteX296" fmla="*/ 559809 w 751062"/>
                      <a:gd name="connsiteY296" fmla="*/ 257518 h 723778"/>
                      <a:gd name="connsiteX297" fmla="*/ 444713 w 751062"/>
                      <a:gd name="connsiteY297" fmla="*/ 218028 h 723778"/>
                      <a:gd name="connsiteX298" fmla="*/ 535799 w 751062"/>
                      <a:gd name="connsiteY298" fmla="*/ 232773 h 723778"/>
                      <a:gd name="connsiteX299" fmla="*/ 558396 w 751062"/>
                      <a:gd name="connsiteY299" fmla="*/ 247767 h 723778"/>
                      <a:gd name="connsiteX300" fmla="*/ 558504 w 751062"/>
                      <a:gd name="connsiteY300" fmla="*/ 247761 h 723778"/>
                      <a:gd name="connsiteX301" fmla="*/ 557068 w 751062"/>
                      <a:gd name="connsiteY301" fmla="*/ 253583 h 723778"/>
                      <a:gd name="connsiteX302" fmla="*/ 515369 w 751062"/>
                      <a:gd name="connsiteY302" fmla="*/ 252469 h 723778"/>
                      <a:gd name="connsiteX303" fmla="*/ 423432 w 751062"/>
                      <a:gd name="connsiteY303" fmla="*/ 238861 h 723778"/>
                      <a:gd name="connsiteX304" fmla="*/ 419946 w 751062"/>
                      <a:gd name="connsiteY304" fmla="*/ 231311 h 723778"/>
                      <a:gd name="connsiteX305" fmla="*/ 536630 w 751062"/>
                      <a:gd name="connsiteY305" fmla="*/ 245996 h 723778"/>
                      <a:gd name="connsiteX306" fmla="*/ 537178 w 751062"/>
                      <a:gd name="connsiteY306" fmla="*/ 245959 h 723778"/>
                      <a:gd name="connsiteX307" fmla="*/ 537912 w 751062"/>
                      <a:gd name="connsiteY307" fmla="*/ 245896 h 723778"/>
                      <a:gd name="connsiteX308" fmla="*/ 537535 w 751062"/>
                      <a:gd name="connsiteY308" fmla="*/ 242747 h 723778"/>
                      <a:gd name="connsiteX309" fmla="*/ 417779 w 751062"/>
                      <a:gd name="connsiteY309" fmla="*/ 226320 h 723778"/>
                      <a:gd name="connsiteX310" fmla="*/ 413476 w 751062"/>
                      <a:gd name="connsiteY310" fmla="*/ 215838 h 723778"/>
                      <a:gd name="connsiteX311" fmla="*/ 441432 w 751062"/>
                      <a:gd name="connsiteY311" fmla="*/ 217754 h 723778"/>
                      <a:gd name="connsiteX312" fmla="*/ 444713 w 751062"/>
                      <a:gd name="connsiteY312" fmla="*/ 218028 h 723778"/>
                      <a:gd name="connsiteX313" fmla="*/ 438466 w 751062"/>
                      <a:gd name="connsiteY313" fmla="*/ 212329 h 723778"/>
                      <a:gd name="connsiteX314" fmla="*/ 411428 w 751062"/>
                      <a:gd name="connsiteY314" fmla="*/ 210556 h 723778"/>
                      <a:gd name="connsiteX315" fmla="*/ 405401 w 751062"/>
                      <a:gd name="connsiteY315" fmla="*/ 193763 h 723778"/>
                      <a:gd name="connsiteX316" fmla="*/ 425597 w 751062"/>
                      <a:gd name="connsiteY316" fmla="*/ 185817 h 723778"/>
                      <a:gd name="connsiteX317" fmla="*/ 438466 w 751062"/>
                      <a:gd name="connsiteY317" fmla="*/ 212329 h 723778"/>
                      <a:gd name="connsiteX318" fmla="*/ 305909 w 751062"/>
                      <a:gd name="connsiteY318" fmla="*/ 79267 h 723778"/>
                      <a:gd name="connsiteX319" fmla="*/ 302677 w 751062"/>
                      <a:gd name="connsiteY319" fmla="*/ 34049 h 723778"/>
                      <a:gd name="connsiteX320" fmla="*/ 304524 w 751062"/>
                      <a:gd name="connsiteY320" fmla="*/ 30951 h 723778"/>
                      <a:gd name="connsiteX321" fmla="*/ 315640 w 751062"/>
                      <a:gd name="connsiteY321" fmla="*/ 93669 h 723778"/>
                      <a:gd name="connsiteX322" fmla="*/ 311471 w 751062"/>
                      <a:gd name="connsiteY322" fmla="*/ 81448 h 723778"/>
                      <a:gd name="connsiteX323" fmla="*/ 304524 w 751062"/>
                      <a:gd name="connsiteY323" fmla="*/ 83033 h 723778"/>
                      <a:gd name="connsiteX324" fmla="*/ 305909 w 751062"/>
                      <a:gd name="connsiteY324" fmla="*/ 79267 h 723778"/>
                      <a:gd name="connsiteX325" fmla="*/ 221059 w 751062"/>
                      <a:gd name="connsiteY325" fmla="*/ 47744 h 723778"/>
                      <a:gd name="connsiteX326" fmla="*/ 232966 w 751062"/>
                      <a:gd name="connsiteY326" fmla="*/ 21948 h 723778"/>
                      <a:gd name="connsiteX327" fmla="*/ 232072 w 751062"/>
                      <a:gd name="connsiteY327" fmla="*/ 29181 h 723778"/>
                      <a:gd name="connsiteX328" fmla="*/ 229100 w 751062"/>
                      <a:gd name="connsiteY328" fmla="*/ 26426 h 723778"/>
                      <a:gd name="connsiteX329" fmla="*/ 298651 w 751062"/>
                      <a:gd name="connsiteY329" fmla="*/ 90248 h 723778"/>
                      <a:gd name="connsiteX330" fmla="*/ 265360 w 751062"/>
                      <a:gd name="connsiteY330" fmla="*/ 99197 h 723778"/>
                      <a:gd name="connsiteX331" fmla="*/ 223406 w 751062"/>
                      <a:gd name="connsiteY331" fmla="*/ 56590 h 723778"/>
                      <a:gd name="connsiteX332" fmla="*/ 221059 w 751062"/>
                      <a:gd name="connsiteY332" fmla="*/ 47744 h 723778"/>
                      <a:gd name="connsiteX333" fmla="*/ 279785 w 751062"/>
                      <a:gd name="connsiteY333" fmla="*/ 87958 h 723778"/>
                      <a:gd name="connsiteX334" fmla="*/ 279785 w 751062"/>
                      <a:gd name="connsiteY334" fmla="*/ 87958 h 723778"/>
                      <a:gd name="connsiteX335" fmla="*/ 279785 w 751062"/>
                      <a:gd name="connsiteY335" fmla="*/ 87958 h 723778"/>
                      <a:gd name="connsiteX336" fmla="*/ 187329 w 751062"/>
                      <a:gd name="connsiteY336" fmla="*/ 69898 h 723778"/>
                      <a:gd name="connsiteX337" fmla="*/ 214352 w 751062"/>
                      <a:gd name="connsiteY337" fmla="*/ 49166 h 723778"/>
                      <a:gd name="connsiteX338" fmla="*/ 219612 w 751062"/>
                      <a:gd name="connsiteY338" fmla="*/ 62474 h 723778"/>
                      <a:gd name="connsiteX339" fmla="*/ 264269 w 751062"/>
                      <a:gd name="connsiteY339" fmla="*/ 106181 h 723778"/>
                      <a:gd name="connsiteX340" fmla="*/ 268826 w 751062"/>
                      <a:gd name="connsiteY340" fmla="*/ 105584 h 723778"/>
                      <a:gd name="connsiteX341" fmla="*/ 278415 w 751062"/>
                      <a:gd name="connsiteY341" fmla="*/ 88275 h 723778"/>
                      <a:gd name="connsiteX342" fmla="*/ 291766 w 751062"/>
                      <a:gd name="connsiteY342" fmla="*/ 92884 h 723778"/>
                      <a:gd name="connsiteX343" fmla="*/ 297991 w 751062"/>
                      <a:gd name="connsiteY343" fmla="*/ 96496 h 723778"/>
                      <a:gd name="connsiteX344" fmla="*/ 301566 w 751062"/>
                      <a:gd name="connsiteY344" fmla="*/ 97747 h 723778"/>
                      <a:gd name="connsiteX345" fmla="*/ 329491 w 751062"/>
                      <a:gd name="connsiteY345" fmla="*/ 175189 h 723778"/>
                      <a:gd name="connsiteX346" fmla="*/ 335536 w 751062"/>
                      <a:gd name="connsiteY346" fmla="*/ 189532 h 723778"/>
                      <a:gd name="connsiteX347" fmla="*/ 358930 w 751062"/>
                      <a:gd name="connsiteY347" fmla="*/ 231623 h 723778"/>
                      <a:gd name="connsiteX348" fmla="*/ 361799 w 751062"/>
                      <a:gd name="connsiteY348" fmla="*/ 229410 h 723778"/>
                      <a:gd name="connsiteX349" fmla="*/ 333343 w 751062"/>
                      <a:gd name="connsiteY349" fmla="*/ 171389 h 723778"/>
                      <a:gd name="connsiteX350" fmla="*/ 329174 w 751062"/>
                      <a:gd name="connsiteY350" fmla="*/ 161061 h 723778"/>
                      <a:gd name="connsiteX351" fmla="*/ 304815 w 751062"/>
                      <a:gd name="connsiteY351" fmla="*/ 96490 h 723778"/>
                      <a:gd name="connsiteX352" fmla="*/ 308613 w 751062"/>
                      <a:gd name="connsiteY352" fmla="*/ 86128 h 723778"/>
                      <a:gd name="connsiteX353" fmla="*/ 314843 w 751062"/>
                      <a:gd name="connsiteY353" fmla="*/ 101810 h 723778"/>
                      <a:gd name="connsiteX354" fmla="*/ 318675 w 751062"/>
                      <a:gd name="connsiteY354" fmla="*/ 100805 h 723778"/>
                      <a:gd name="connsiteX355" fmla="*/ 320848 w 751062"/>
                      <a:gd name="connsiteY355" fmla="*/ 44426 h 723778"/>
                      <a:gd name="connsiteX356" fmla="*/ 332287 w 751062"/>
                      <a:gd name="connsiteY356" fmla="*/ 44323 h 723778"/>
                      <a:gd name="connsiteX357" fmla="*/ 375040 w 751062"/>
                      <a:gd name="connsiteY357" fmla="*/ 81671 h 723778"/>
                      <a:gd name="connsiteX358" fmla="*/ 384351 w 751062"/>
                      <a:gd name="connsiteY358" fmla="*/ 102215 h 723778"/>
                      <a:gd name="connsiteX359" fmla="*/ 422210 w 751062"/>
                      <a:gd name="connsiteY359" fmla="*/ 179732 h 723778"/>
                      <a:gd name="connsiteX360" fmla="*/ 403293 w 751062"/>
                      <a:gd name="connsiteY360" fmla="*/ 187499 h 723778"/>
                      <a:gd name="connsiteX361" fmla="*/ 378463 w 751062"/>
                      <a:gd name="connsiteY361" fmla="*/ 102215 h 723778"/>
                      <a:gd name="connsiteX362" fmla="*/ 377512 w 751062"/>
                      <a:gd name="connsiteY362" fmla="*/ 98009 h 723778"/>
                      <a:gd name="connsiteX363" fmla="*/ 374780 w 751062"/>
                      <a:gd name="connsiteY363" fmla="*/ 92024 h 723778"/>
                      <a:gd name="connsiteX364" fmla="*/ 370051 w 751062"/>
                      <a:gd name="connsiteY364" fmla="*/ 95691 h 723778"/>
                      <a:gd name="connsiteX365" fmla="*/ 371967 w 751062"/>
                      <a:gd name="connsiteY365" fmla="*/ 100308 h 723778"/>
                      <a:gd name="connsiteX366" fmla="*/ 371907 w 751062"/>
                      <a:gd name="connsiteY366" fmla="*/ 100308 h 723778"/>
                      <a:gd name="connsiteX367" fmla="*/ 408062 w 751062"/>
                      <a:gd name="connsiteY367" fmla="*/ 218808 h 723778"/>
                      <a:gd name="connsiteX368" fmla="*/ 422807 w 751062"/>
                      <a:gd name="connsiteY368" fmla="*/ 248098 h 723778"/>
                      <a:gd name="connsiteX369" fmla="*/ 378823 w 751062"/>
                      <a:gd name="connsiteY369" fmla="*/ 256575 h 723778"/>
                      <a:gd name="connsiteX370" fmla="*/ 366488 w 751062"/>
                      <a:gd name="connsiteY370" fmla="*/ 237836 h 723778"/>
                      <a:gd name="connsiteX371" fmla="*/ 345073 w 751062"/>
                      <a:gd name="connsiteY371" fmla="*/ 228933 h 723778"/>
                      <a:gd name="connsiteX372" fmla="*/ 335536 w 751062"/>
                      <a:gd name="connsiteY372" fmla="*/ 227474 h 723778"/>
                      <a:gd name="connsiteX373" fmla="*/ 303719 w 751062"/>
                      <a:gd name="connsiteY373" fmla="*/ 233281 h 723778"/>
                      <a:gd name="connsiteX374" fmla="*/ 215234 w 751062"/>
                      <a:gd name="connsiteY374" fmla="*/ 227682 h 723778"/>
                      <a:gd name="connsiteX375" fmla="*/ 218067 w 751062"/>
                      <a:gd name="connsiteY375" fmla="*/ 215587 h 723778"/>
                      <a:gd name="connsiteX376" fmla="*/ 219552 w 751062"/>
                      <a:gd name="connsiteY376" fmla="*/ 143832 h 723778"/>
                      <a:gd name="connsiteX377" fmla="*/ 217342 w 751062"/>
                      <a:gd name="connsiteY377" fmla="*/ 122662 h 723778"/>
                      <a:gd name="connsiteX378" fmla="*/ 212291 w 751062"/>
                      <a:gd name="connsiteY378" fmla="*/ 123345 h 723778"/>
                      <a:gd name="connsiteX379" fmla="*/ 210003 w 751062"/>
                      <a:gd name="connsiteY379" fmla="*/ 190340 h 723778"/>
                      <a:gd name="connsiteX380" fmla="*/ 210203 w 751062"/>
                      <a:gd name="connsiteY380" fmla="*/ 226463 h 723778"/>
                      <a:gd name="connsiteX381" fmla="*/ 151289 w 751062"/>
                      <a:gd name="connsiteY381" fmla="*/ 236742 h 723778"/>
                      <a:gd name="connsiteX382" fmla="*/ 143354 w 751062"/>
                      <a:gd name="connsiteY382" fmla="*/ 239723 h 723778"/>
                      <a:gd name="connsiteX383" fmla="*/ 144619 w 751062"/>
                      <a:gd name="connsiteY383" fmla="*/ 240988 h 723778"/>
                      <a:gd name="connsiteX384" fmla="*/ 206149 w 751062"/>
                      <a:gd name="connsiteY384" fmla="*/ 230794 h 723778"/>
                      <a:gd name="connsiteX385" fmla="*/ 228118 w 751062"/>
                      <a:gd name="connsiteY385" fmla="*/ 232553 h 723778"/>
                      <a:gd name="connsiteX386" fmla="*/ 286378 w 751062"/>
                      <a:gd name="connsiteY386" fmla="*/ 241334 h 723778"/>
                      <a:gd name="connsiteX387" fmla="*/ 305635 w 751062"/>
                      <a:gd name="connsiteY387" fmla="*/ 237567 h 723778"/>
                      <a:gd name="connsiteX388" fmla="*/ 329177 w 751062"/>
                      <a:gd name="connsiteY388" fmla="*/ 231994 h 723778"/>
                      <a:gd name="connsiteX389" fmla="*/ 346675 w 751062"/>
                      <a:gd name="connsiteY389" fmla="*/ 234261 h 723778"/>
                      <a:gd name="connsiteX390" fmla="*/ 363930 w 751062"/>
                      <a:gd name="connsiteY390" fmla="*/ 241836 h 723778"/>
                      <a:gd name="connsiteX391" fmla="*/ 375057 w 751062"/>
                      <a:gd name="connsiteY391" fmla="*/ 256515 h 723778"/>
                      <a:gd name="connsiteX392" fmla="*/ 357719 w 751062"/>
                      <a:gd name="connsiteY392" fmla="*/ 239629 h 723778"/>
                      <a:gd name="connsiteX393" fmla="*/ 356289 w 751062"/>
                      <a:gd name="connsiteY393" fmla="*/ 242076 h 723778"/>
                      <a:gd name="connsiteX394" fmla="*/ 374617 w 751062"/>
                      <a:gd name="connsiteY394" fmla="*/ 262403 h 723778"/>
                      <a:gd name="connsiteX395" fmla="*/ 371468 w 751062"/>
                      <a:gd name="connsiteY395" fmla="*/ 266595 h 723778"/>
                      <a:gd name="connsiteX396" fmla="*/ 370437 w 751062"/>
                      <a:gd name="connsiteY396" fmla="*/ 266855 h 723778"/>
                      <a:gd name="connsiteX397" fmla="*/ 359324 w 751062"/>
                      <a:gd name="connsiteY397" fmla="*/ 252435 h 723778"/>
                      <a:gd name="connsiteX398" fmla="*/ 349767 w 751062"/>
                      <a:gd name="connsiteY398" fmla="*/ 245594 h 723778"/>
                      <a:gd name="connsiteX399" fmla="*/ 348337 w 751062"/>
                      <a:gd name="connsiteY399" fmla="*/ 248041 h 723778"/>
                      <a:gd name="connsiteX400" fmla="*/ 367579 w 751062"/>
                      <a:gd name="connsiteY400" fmla="*/ 266412 h 723778"/>
                      <a:gd name="connsiteX401" fmla="*/ 364709 w 751062"/>
                      <a:gd name="connsiteY401" fmla="*/ 267608 h 723778"/>
                      <a:gd name="connsiteX402" fmla="*/ 361919 w 751062"/>
                      <a:gd name="connsiteY402" fmla="*/ 265801 h 723778"/>
                      <a:gd name="connsiteX403" fmla="*/ 354484 w 751062"/>
                      <a:gd name="connsiteY403" fmla="*/ 260473 h 723778"/>
                      <a:gd name="connsiteX404" fmla="*/ 353739 w 751062"/>
                      <a:gd name="connsiteY404" fmla="*/ 260262 h 723778"/>
                      <a:gd name="connsiteX405" fmla="*/ 341338 w 751062"/>
                      <a:gd name="connsiteY405" fmla="*/ 253029 h 723778"/>
                      <a:gd name="connsiteX406" fmla="*/ 340427 w 751062"/>
                      <a:gd name="connsiteY406" fmla="*/ 256336 h 723778"/>
                      <a:gd name="connsiteX407" fmla="*/ 356948 w 751062"/>
                      <a:gd name="connsiteY407" fmla="*/ 277023 h 723778"/>
                      <a:gd name="connsiteX408" fmla="*/ 339756 w 751062"/>
                      <a:gd name="connsiteY408" fmla="*/ 264062 h 723778"/>
                      <a:gd name="connsiteX409" fmla="*/ 335999 w 751062"/>
                      <a:gd name="connsiteY409" fmla="*/ 261866 h 723778"/>
                      <a:gd name="connsiteX410" fmla="*/ 335542 w 751062"/>
                      <a:gd name="connsiteY410" fmla="*/ 261781 h 723778"/>
                      <a:gd name="connsiteX411" fmla="*/ 331601 w 751062"/>
                      <a:gd name="connsiteY411" fmla="*/ 262335 h 723778"/>
                      <a:gd name="connsiteX412" fmla="*/ 314189 w 751062"/>
                      <a:gd name="connsiteY412" fmla="*/ 262712 h 723778"/>
                      <a:gd name="connsiteX413" fmla="*/ 309001 w 751062"/>
                      <a:gd name="connsiteY413" fmla="*/ 262101 h 723778"/>
                      <a:gd name="connsiteX414" fmla="*/ 307374 w 751062"/>
                      <a:gd name="connsiteY414" fmla="*/ 262395 h 723778"/>
                      <a:gd name="connsiteX415" fmla="*/ 279825 w 751062"/>
                      <a:gd name="connsiteY415" fmla="*/ 264667 h 723778"/>
                      <a:gd name="connsiteX416" fmla="*/ 268744 w 751062"/>
                      <a:gd name="connsiteY416" fmla="*/ 264836 h 723778"/>
                      <a:gd name="connsiteX417" fmla="*/ 257248 w 751062"/>
                      <a:gd name="connsiteY417" fmla="*/ 266052 h 723778"/>
                      <a:gd name="connsiteX418" fmla="*/ 139990 w 751062"/>
                      <a:gd name="connsiteY418" fmla="*/ 259111 h 723778"/>
                      <a:gd name="connsiteX419" fmla="*/ 141004 w 751062"/>
                      <a:gd name="connsiteY419" fmla="*/ 249457 h 723778"/>
                      <a:gd name="connsiteX420" fmla="*/ 146061 w 751062"/>
                      <a:gd name="connsiteY420" fmla="*/ 146573 h 723778"/>
                      <a:gd name="connsiteX421" fmla="*/ 187329 w 751062"/>
                      <a:gd name="connsiteY421" fmla="*/ 69898 h 723778"/>
                      <a:gd name="connsiteX422" fmla="*/ 137952 w 751062"/>
                      <a:gd name="connsiteY422" fmla="*/ 266409 h 723778"/>
                      <a:gd name="connsiteX423" fmla="*/ 137549 w 751062"/>
                      <a:gd name="connsiteY423" fmla="*/ 261127 h 723778"/>
                      <a:gd name="connsiteX424" fmla="*/ 252582 w 751062"/>
                      <a:gd name="connsiteY424" fmla="*/ 271903 h 723778"/>
                      <a:gd name="connsiteX425" fmla="*/ 272918 w 751062"/>
                      <a:gd name="connsiteY425" fmla="*/ 269193 h 723778"/>
                      <a:gd name="connsiteX426" fmla="*/ 281673 w 751062"/>
                      <a:gd name="connsiteY426" fmla="*/ 270741 h 723778"/>
                      <a:gd name="connsiteX427" fmla="*/ 241801 w 751062"/>
                      <a:gd name="connsiteY427" fmla="*/ 283501 h 723778"/>
                      <a:gd name="connsiteX428" fmla="*/ 159727 w 751062"/>
                      <a:gd name="connsiteY428" fmla="*/ 276346 h 723778"/>
                      <a:gd name="connsiteX429" fmla="*/ 138120 w 751062"/>
                      <a:gd name="connsiteY429" fmla="*/ 272211 h 723778"/>
                      <a:gd name="connsiteX430" fmla="*/ 137952 w 751062"/>
                      <a:gd name="connsiteY430" fmla="*/ 266409 h 723778"/>
                      <a:gd name="connsiteX431" fmla="*/ 240464 w 751062"/>
                      <a:gd name="connsiteY431" fmla="*/ 289900 h 723778"/>
                      <a:gd name="connsiteX432" fmla="*/ 285230 w 751062"/>
                      <a:gd name="connsiteY432" fmla="*/ 278070 h 723778"/>
                      <a:gd name="connsiteX433" fmla="*/ 306608 w 751062"/>
                      <a:gd name="connsiteY433" fmla="*/ 281220 h 723778"/>
                      <a:gd name="connsiteX434" fmla="*/ 305466 w 751062"/>
                      <a:gd name="connsiteY434" fmla="*/ 367095 h 723778"/>
                      <a:gd name="connsiteX435" fmla="*/ 303765 w 751062"/>
                      <a:gd name="connsiteY435" fmla="*/ 380538 h 723778"/>
                      <a:gd name="connsiteX436" fmla="*/ 212528 w 751062"/>
                      <a:gd name="connsiteY436" fmla="*/ 365827 h 723778"/>
                      <a:gd name="connsiteX437" fmla="*/ 149893 w 751062"/>
                      <a:gd name="connsiteY437" fmla="*/ 281445 h 723778"/>
                      <a:gd name="connsiteX438" fmla="*/ 240464 w 751062"/>
                      <a:gd name="connsiteY438" fmla="*/ 289900 h 723778"/>
                      <a:gd name="connsiteX439" fmla="*/ 286344 w 751062"/>
                      <a:gd name="connsiteY439" fmla="*/ 274541 h 723778"/>
                      <a:gd name="connsiteX440" fmla="*/ 286944 w 751062"/>
                      <a:gd name="connsiteY440" fmla="*/ 271466 h 723778"/>
                      <a:gd name="connsiteX441" fmla="*/ 306534 w 751062"/>
                      <a:gd name="connsiteY441" fmla="*/ 274147 h 723778"/>
                      <a:gd name="connsiteX442" fmla="*/ 306586 w 751062"/>
                      <a:gd name="connsiteY442" fmla="*/ 277374 h 723778"/>
                      <a:gd name="connsiteX443" fmla="*/ 286344 w 751062"/>
                      <a:gd name="connsiteY443" fmla="*/ 274541 h 723778"/>
                      <a:gd name="connsiteX444" fmla="*/ 306483 w 751062"/>
                      <a:gd name="connsiteY444" fmla="*/ 269896 h 723778"/>
                      <a:gd name="connsiteX445" fmla="*/ 289242 w 751062"/>
                      <a:gd name="connsiteY445" fmla="*/ 267531 h 723778"/>
                      <a:gd name="connsiteX446" fmla="*/ 306766 w 751062"/>
                      <a:gd name="connsiteY446" fmla="*/ 265830 h 723778"/>
                      <a:gd name="connsiteX447" fmla="*/ 306483 w 751062"/>
                      <a:gd name="connsiteY447" fmla="*/ 269896 h 723778"/>
                      <a:gd name="connsiteX448" fmla="*/ 133175 w 751062"/>
                      <a:gd name="connsiteY448" fmla="*/ 88758 h 723778"/>
                      <a:gd name="connsiteX449" fmla="*/ 130936 w 751062"/>
                      <a:gd name="connsiteY449" fmla="*/ 81591 h 723778"/>
                      <a:gd name="connsiteX450" fmla="*/ 165140 w 751062"/>
                      <a:gd name="connsiteY450" fmla="*/ 85837 h 723778"/>
                      <a:gd name="connsiteX451" fmla="*/ 138237 w 751062"/>
                      <a:gd name="connsiteY451" fmla="*/ 142932 h 723778"/>
                      <a:gd name="connsiteX452" fmla="*/ 133175 w 751062"/>
                      <a:gd name="connsiteY452" fmla="*/ 88758 h 723778"/>
                      <a:gd name="connsiteX453" fmla="*/ 7014 w 751062"/>
                      <a:gd name="connsiteY453" fmla="*/ 477659 h 723778"/>
                      <a:gd name="connsiteX454" fmla="*/ 36153 w 751062"/>
                      <a:gd name="connsiteY454" fmla="*/ 336451 h 723778"/>
                      <a:gd name="connsiteX455" fmla="*/ 96323 w 751062"/>
                      <a:gd name="connsiteY455" fmla="*/ 634644 h 723778"/>
                      <a:gd name="connsiteX456" fmla="*/ 7014 w 751062"/>
                      <a:gd name="connsiteY456" fmla="*/ 477659 h 723778"/>
                      <a:gd name="connsiteX457" fmla="*/ 49893 w 751062"/>
                      <a:gd name="connsiteY457" fmla="*/ 320498 h 723778"/>
                      <a:gd name="connsiteX458" fmla="*/ 120251 w 751062"/>
                      <a:gd name="connsiteY458" fmla="*/ 313662 h 723778"/>
                      <a:gd name="connsiteX459" fmla="*/ 121779 w 751062"/>
                      <a:gd name="connsiteY459" fmla="*/ 343475 h 723778"/>
                      <a:gd name="connsiteX460" fmla="*/ 123224 w 751062"/>
                      <a:gd name="connsiteY460" fmla="*/ 352290 h 723778"/>
                      <a:gd name="connsiteX461" fmla="*/ 125083 w 751062"/>
                      <a:gd name="connsiteY461" fmla="*/ 354114 h 723778"/>
                      <a:gd name="connsiteX462" fmla="*/ 126405 w 751062"/>
                      <a:gd name="connsiteY462" fmla="*/ 375050 h 723778"/>
                      <a:gd name="connsiteX463" fmla="*/ 124791 w 751062"/>
                      <a:gd name="connsiteY463" fmla="*/ 444203 h 723778"/>
                      <a:gd name="connsiteX464" fmla="*/ 118918 w 751062"/>
                      <a:gd name="connsiteY464" fmla="*/ 455528 h 723778"/>
                      <a:gd name="connsiteX465" fmla="*/ 107205 w 751062"/>
                      <a:gd name="connsiteY465" fmla="*/ 452507 h 723778"/>
                      <a:gd name="connsiteX466" fmla="*/ 88785 w 751062"/>
                      <a:gd name="connsiteY466" fmla="*/ 466001 h 723778"/>
                      <a:gd name="connsiteX467" fmla="*/ 91906 w 751062"/>
                      <a:gd name="connsiteY467" fmla="*/ 475232 h 723778"/>
                      <a:gd name="connsiteX468" fmla="*/ 100361 w 751062"/>
                      <a:gd name="connsiteY468" fmla="*/ 485437 h 723778"/>
                      <a:gd name="connsiteX469" fmla="*/ 110689 w 751062"/>
                      <a:gd name="connsiteY469" fmla="*/ 475152 h 723778"/>
                      <a:gd name="connsiteX470" fmla="*/ 120017 w 751062"/>
                      <a:gd name="connsiteY470" fmla="*/ 472297 h 723778"/>
                      <a:gd name="connsiteX471" fmla="*/ 127267 w 751062"/>
                      <a:gd name="connsiteY471" fmla="*/ 480129 h 723778"/>
                      <a:gd name="connsiteX472" fmla="*/ 129514 w 751062"/>
                      <a:gd name="connsiteY472" fmla="*/ 483173 h 723778"/>
                      <a:gd name="connsiteX473" fmla="*/ 141752 w 751062"/>
                      <a:gd name="connsiteY473" fmla="*/ 478687 h 723778"/>
                      <a:gd name="connsiteX474" fmla="*/ 144448 w 751062"/>
                      <a:gd name="connsiteY474" fmla="*/ 463400 h 723778"/>
                      <a:gd name="connsiteX475" fmla="*/ 144482 w 751062"/>
                      <a:gd name="connsiteY475" fmla="*/ 463400 h 723778"/>
                      <a:gd name="connsiteX476" fmla="*/ 145141 w 751062"/>
                      <a:gd name="connsiteY476" fmla="*/ 445785 h 723778"/>
                      <a:gd name="connsiteX477" fmla="*/ 122290 w 751062"/>
                      <a:gd name="connsiteY477" fmla="*/ 478428 h 723778"/>
                      <a:gd name="connsiteX478" fmla="*/ 119263 w 751062"/>
                      <a:gd name="connsiteY478" fmla="*/ 476940 h 723778"/>
                      <a:gd name="connsiteX479" fmla="*/ 117776 w 751062"/>
                      <a:gd name="connsiteY479" fmla="*/ 479969 h 723778"/>
                      <a:gd name="connsiteX480" fmla="*/ 136852 w 751062"/>
                      <a:gd name="connsiteY480" fmla="*/ 496745 h 723778"/>
                      <a:gd name="connsiteX481" fmla="*/ 152086 w 751062"/>
                      <a:gd name="connsiteY481" fmla="*/ 487725 h 723778"/>
                      <a:gd name="connsiteX482" fmla="*/ 145373 w 751062"/>
                      <a:gd name="connsiteY482" fmla="*/ 439601 h 723778"/>
                      <a:gd name="connsiteX483" fmla="*/ 147614 w 751062"/>
                      <a:gd name="connsiteY483" fmla="*/ 379652 h 723778"/>
                      <a:gd name="connsiteX484" fmla="*/ 171907 w 751062"/>
                      <a:gd name="connsiteY484" fmla="*/ 383356 h 723778"/>
                      <a:gd name="connsiteX485" fmla="*/ 165092 w 751062"/>
                      <a:gd name="connsiteY485" fmla="*/ 596919 h 723778"/>
                      <a:gd name="connsiteX486" fmla="*/ 163576 w 751062"/>
                      <a:gd name="connsiteY486" fmla="*/ 595708 h 723778"/>
                      <a:gd name="connsiteX487" fmla="*/ 125782 w 751062"/>
                      <a:gd name="connsiteY487" fmla="*/ 587808 h 723778"/>
                      <a:gd name="connsiteX488" fmla="*/ 97531 w 751062"/>
                      <a:gd name="connsiteY488" fmla="*/ 589601 h 723778"/>
                      <a:gd name="connsiteX489" fmla="*/ 101769 w 751062"/>
                      <a:gd name="connsiteY489" fmla="*/ 602618 h 723778"/>
                      <a:gd name="connsiteX490" fmla="*/ 113201 w 751062"/>
                      <a:gd name="connsiteY490" fmla="*/ 606267 h 723778"/>
                      <a:gd name="connsiteX491" fmla="*/ 132078 w 751062"/>
                      <a:gd name="connsiteY491" fmla="*/ 611947 h 723778"/>
                      <a:gd name="connsiteX492" fmla="*/ 149701 w 751062"/>
                      <a:gd name="connsiteY492" fmla="*/ 617021 h 723778"/>
                      <a:gd name="connsiteX493" fmla="*/ 104621 w 751062"/>
                      <a:gd name="connsiteY493" fmla="*/ 635852 h 723778"/>
                      <a:gd name="connsiteX494" fmla="*/ 104644 w 751062"/>
                      <a:gd name="connsiteY494" fmla="*/ 635817 h 723778"/>
                      <a:gd name="connsiteX495" fmla="*/ 49901 w 751062"/>
                      <a:gd name="connsiteY495" fmla="*/ 320501 h 723778"/>
                      <a:gd name="connsiteX496" fmla="*/ 49893 w 751062"/>
                      <a:gd name="connsiteY496" fmla="*/ 320498 h 723778"/>
                      <a:gd name="connsiteX497" fmla="*/ 119769 w 751062"/>
                      <a:gd name="connsiteY497" fmla="*/ 294574 h 723778"/>
                      <a:gd name="connsiteX498" fmla="*/ 119954 w 751062"/>
                      <a:gd name="connsiteY498" fmla="*/ 301427 h 723778"/>
                      <a:gd name="connsiteX499" fmla="*/ 69063 w 751062"/>
                      <a:gd name="connsiteY499" fmla="*/ 297333 h 723778"/>
                      <a:gd name="connsiteX500" fmla="*/ 119635 w 751062"/>
                      <a:gd name="connsiteY500" fmla="*/ 289084 h 723778"/>
                      <a:gd name="connsiteX501" fmla="*/ 119769 w 751062"/>
                      <a:gd name="connsiteY501" fmla="*/ 294574 h 723778"/>
                      <a:gd name="connsiteX502" fmla="*/ 158502 w 751062"/>
                      <a:gd name="connsiteY502" fmla="*/ 618151 h 723778"/>
                      <a:gd name="connsiteX503" fmla="*/ 159795 w 751062"/>
                      <a:gd name="connsiteY503" fmla="*/ 619328 h 723778"/>
                      <a:gd name="connsiteX504" fmla="*/ 179922 w 751062"/>
                      <a:gd name="connsiteY504" fmla="*/ 621643 h 723778"/>
                      <a:gd name="connsiteX505" fmla="*/ 120631 w 751062"/>
                      <a:gd name="connsiteY505" fmla="*/ 641011 h 723778"/>
                      <a:gd name="connsiteX506" fmla="*/ 158502 w 751062"/>
                      <a:gd name="connsiteY506" fmla="*/ 618151 h 723778"/>
                      <a:gd name="connsiteX507" fmla="*/ 151891 w 751062"/>
                      <a:gd name="connsiteY507" fmla="*/ 613951 h 723778"/>
                      <a:gd name="connsiteX508" fmla="*/ 133360 w 751062"/>
                      <a:gd name="connsiteY508" fmla="*/ 609163 h 723778"/>
                      <a:gd name="connsiteX509" fmla="*/ 103639 w 751062"/>
                      <a:gd name="connsiteY509" fmla="*/ 600748 h 723778"/>
                      <a:gd name="connsiteX510" fmla="*/ 101923 w 751062"/>
                      <a:gd name="connsiteY510" fmla="*/ 597356 h 723778"/>
                      <a:gd name="connsiteX511" fmla="*/ 104618 w 751062"/>
                      <a:gd name="connsiteY511" fmla="*/ 589010 h 723778"/>
                      <a:gd name="connsiteX512" fmla="*/ 121445 w 751062"/>
                      <a:gd name="connsiteY512" fmla="*/ 591442 h 723778"/>
                      <a:gd name="connsiteX513" fmla="*/ 163107 w 751062"/>
                      <a:gd name="connsiteY513" fmla="*/ 600123 h 723778"/>
                      <a:gd name="connsiteX514" fmla="*/ 152317 w 751062"/>
                      <a:gd name="connsiteY514" fmla="*/ 614279 h 723778"/>
                      <a:gd name="connsiteX515" fmla="*/ 151891 w 751062"/>
                      <a:gd name="connsiteY515" fmla="*/ 613951 h 723778"/>
                      <a:gd name="connsiteX516" fmla="*/ 178192 w 751062"/>
                      <a:gd name="connsiteY516" fmla="*/ 618839 h 723778"/>
                      <a:gd name="connsiteX517" fmla="*/ 159961 w 751062"/>
                      <a:gd name="connsiteY517" fmla="*/ 616515 h 723778"/>
                      <a:gd name="connsiteX518" fmla="*/ 171299 w 751062"/>
                      <a:gd name="connsiteY518" fmla="*/ 601108 h 723778"/>
                      <a:gd name="connsiteX519" fmla="*/ 190764 w 751062"/>
                      <a:gd name="connsiteY519" fmla="*/ 605613 h 723778"/>
                      <a:gd name="connsiteX520" fmla="*/ 181598 w 751062"/>
                      <a:gd name="connsiteY520" fmla="*/ 619365 h 723778"/>
                      <a:gd name="connsiteX521" fmla="*/ 178192 w 751062"/>
                      <a:gd name="connsiteY521" fmla="*/ 618839 h 723778"/>
                      <a:gd name="connsiteX522" fmla="*/ 190427 w 751062"/>
                      <a:gd name="connsiteY522" fmla="*/ 601439 h 723778"/>
                      <a:gd name="connsiteX523" fmla="*/ 172750 w 751062"/>
                      <a:gd name="connsiteY523" fmla="*/ 598721 h 723778"/>
                      <a:gd name="connsiteX524" fmla="*/ 182621 w 751062"/>
                      <a:gd name="connsiteY524" fmla="*/ 384898 h 723778"/>
                      <a:gd name="connsiteX525" fmla="*/ 191552 w 751062"/>
                      <a:gd name="connsiteY525" fmla="*/ 387088 h 723778"/>
                      <a:gd name="connsiteX526" fmla="*/ 200018 w 751062"/>
                      <a:gd name="connsiteY526" fmla="*/ 388487 h 723778"/>
                      <a:gd name="connsiteX527" fmla="*/ 193154 w 751062"/>
                      <a:gd name="connsiteY527" fmla="*/ 601936 h 723778"/>
                      <a:gd name="connsiteX528" fmla="*/ 190427 w 751062"/>
                      <a:gd name="connsiteY528" fmla="*/ 601439 h 723778"/>
                      <a:gd name="connsiteX529" fmla="*/ 197226 w 751062"/>
                      <a:gd name="connsiteY529" fmla="*/ 384943 h 723778"/>
                      <a:gd name="connsiteX530" fmla="*/ 182141 w 751062"/>
                      <a:gd name="connsiteY530" fmla="*/ 383607 h 723778"/>
                      <a:gd name="connsiteX531" fmla="*/ 172653 w 751062"/>
                      <a:gd name="connsiteY531" fmla="*/ 361624 h 723778"/>
                      <a:gd name="connsiteX532" fmla="*/ 190641 w 751062"/>
                      <a:gd name="connsiteY532" fmla="*/ 365207 h 723778"/>
                      <a:gd name="connsiteX533" fmla="*/ 198825 w 751062"/>
                      <a:gd name="connsiteY533" fmla="*/ 385155 h 723778"/>
                      <a:gd name="connsiteX534" fmla="*/ 197226 w 751062"/>
                      <a:gd name="connsiteY534" fmla="*/ 384943 h 723778"/>
                      <a:gd name="connsiteX535" fmla="*/ 181667 w 751062"/>
                      <a:gd name="connsiteY535" fmla="*/ 360099 h 723778"/>
                      <a:gd name="connsiteX536" fmla="*/ 171545 w 751062"/>
                      <a:gd name="connsiteY536" fmla="*/ 359425 h 723778"/>
                      <a:gd name="connsiteX537" fmla="*/ 122761 w 751062"/>
                      <a:gd name="connsiteY537" fmla="*/ 302992 h 723778"/>
                      <a:gd name="connsiteX538" fmla="*/ 122204 w 751062"/>
                      <a:gd name="connsiteY538" fmla="*/ 289937 h 723778"/>
                      <a:gd name="connsiteX539" fmla="*/ 188962 w 751062"/>
                      <a:gd name="connsiteY539" fmla="*/ 361632 h 723778"/>
                      <a:gd name="connsiteX540" fmla="*/ 181667 w 751062"/>
                      <a:gd name="connsiteY540" fmla="*/ 360099 h 723778"/>
                      <a:gd name="connsiteX541" fmla="*/ 121730 w 751062"/>
                      <a:gd name="connsiteY541" fmla="*/ 464254 h 723778"/>
                      <a:gd name="connsiteX542" fmla="*/ 120208 w 751062"/>
                      <a:gd name="connsiteY542" fmla="*/ 458115 h 723778"/>
                      <a:gd name="connsiteX543" fmla="*/ 122952 w 751062"/>
                      <a:gd name="connsiteY543" fmla="*/ 453126 h 723778"/>
                      <a:gd name="connsiteX544" fmla="*/ 126736 w 751062"/>
                      <a:gd name="connsiteY544" fmla="*/ 446208 h 723778"/>
                      <a:gd name="connsiteX545" fmla="*/ 138171 w 751062"/>
                      <a:gd name="connsiteY545" fmla="*/ 474870 h 723778"/>
                      <a:gd name="connsiteX546" fmla="*/ 130419 w 751062"/>
                      <a:gd name="connsiteY546" fmla="*/ 478496 h 723778"/>
                      <a:gd name="connsiteX547" fmla="*/ 121162 w 751062"/>
                      <a:gd name="connsiteY547" fmla="*/ 470050 h 723778"/>
                      <a:gd name="connsiteX548" fmla="*/ 121730 w 751062"/>
                      <a:gd name="connsiteY548" fmla="*/ 464254 h 723778"/>
                      <a:gd name="connsiteX549" fmla="*/ 125648 w 751062"/>
                      <a:gd name="connsiteY549" fmla="*/ 342804 h 723778"/>
                      <a:gd name="connsiteX550" fmla="*/ 123698 w 751062"/>
                      <a:gd name="connsiteY550" fmla="*/ 315924 h 723778"/>
                      <a:gd name="connsiteX551" fmla="*/ 158927 w 751062"/>
                      <a:gd name="connsiteY551" fmla="*/ 356407 h 723778"/>
                      <a:gd name="connsiteX552" fmla="*/ 126036 w 751062"/>
                      <a:gd name="connsiteY552" fmla="*/ 351259 h 723778"/>
                      <a:gd name="connsiteX553" fmla="*/ 125648 w 751062"/>
                      <a:gd name="connsiteY553" fmla="*/ 342804 h 723778"/>
                      <a:gd name="connsiteX554" fmla="*/ 139159 w 751062"/>
                      <a:gd name="connsiteY554" fmla="*/ 448364 h 723778"/>
                      <a:gd name="connsiteX555" fmla="*/ 129594 w 751062"/>
                      <a:gd name="connsiteY555" fmla="*/ 441973 h 723778"/>
                      <a:gd name="connsiteX556" fmla="*/ 131136 w 751062"/>
                      <a:gd name="connsiteY556" fmla="*/ 376372 h 723778"/>
                      <a:gd name="connsiteX557" fmla="*/ 142871 w 751062"/>
                      <a:gd name="connsiteY557" fmla="*/ 378770 h 723778"/>
                      <a:gd name="connsiteX558" fmla="*/ 140210 w 751062"/>
                      <a:gd name="connsiteY558" fmla="*/ 449948 h 723778"/>
                      <a:gd name="connsiteX559" fmla="*/ 139159 w 751062"/>
                      <a:gd name="connsiteY559" fmla="*/ 448364 h 723778"/>
                      <a:gd name="connsiteX560" fmla="*/ 141147 w 751062"/>
                      <a:gd name="connsiteY560" fmla="*/ 375409 h 723778"/>
                      <a:gd name="connsiteX561" fmla="*/ 130559 w 751062"/>
                      <a:gd name="connsiteY561" fmla="*/ 373608 h 723778"/>
                      <a:gd name="connsiteX562" fmla="*/ 129437 w 751062"/>
                      <a:gd name="connsiteY562" fmla="*/ 373005 h 723778"/>
                      <a:gd name="connsiteX563" fmla="*/ 127709 w 751062"/>
                      <a:gd name="connsiteY563" fmla="*/ 354834 h 723778"/>
                      <a:gd name="connsiteX564" fmla="*/ 158953 w 751062"/>
                      <a:gd name="connsiteY564" fmla="*/ 359742 h 723778"/>
                      <a:gd name="connsiteX565" fmla="*/ 160520 w 751062"/>
                      <a:gd name="connsiteY565" fmla="*/ 359222 h 723778"/>
                      <a:gd name="connsiteX566" fmla="*/ 170925 w 751062"/>
                      <a:gd name="connsiteY566" fmla="*/ 380926 h 723778"/>
                      <a:gd name="connsiteX567" fmla="*/ 141147 w 751062"/>
                      <a:gd name="connsiteY567" fmla="*/ 375409 h 723778"/>
                      <a:gd name="connsiteX568" fmla="*/ 110349 w 751062"/>
                      <a:gd name="connsiteY568" fmla="*/ 458243 h 723778"/>
                      <a:gd name="connsiteX569" fmla="*/ 108796 w 751062"/>
                      <a:gd name="connsiteY569" fmla="*/ 455156 h 723778"/>
                      <a:gd name="connsiteX570" fmla="*/ 117170 w 751062"/>
                      <a:gd name="connsiteY570" fmla="*/ 459731 h 723778"/>
                      <a:gd name="connsiteX571" fmla="*/ 111631 w 751062"/>
                      <a:gd name="connsiteY571" fmla="*/ 472731 h 723778"/>
                      <a:gd name="connsiteX572" fmla="*/ 110349 w 751062"/>
                      <a:gd name="connsiteY572" fmla="*/ 458243 h 723778"/>
                      <a:gd name="connsiteX573" fmla="*/ 96960 w 751062"/>
                      <a:gd name="connsiteY573" fmla="*/ 478245 h 723778"/>
                      <a:gd name="connsiteX574" fmla="*/ 93794 w 751062"/>
                      <a:gd name="connsiteY574" fmla="*/ 455005 h 723778"/>
                      <a:gd name="connsiteX575" fmla="*/ 102197 w 751062"/>
                      <a:gd name="connsiteY575" fmla="*/ 451496 h 723778"/>
                      <a:gd name="connsiteX576" fmla="*/ 109472 w 751062"/>
                      <a:gd name="connsiteY576" fmla="*/ 466130 h 723778"/>
                      <a:gd name="connsiteX577" fmla="*/ 103656 w 751062"/>
                      <a:gd name="connsiteY577" fmla="*/ 481220 h 723778"/>
                      <a:gd name="connsiteX578" fmla="*/ 96323 w 751062"/>
                      <a:gd name="connsiteY578" fmla="*/ 478185 h 723778"/>
                      <a:gd name="connsiteX579" fmla="*/ 96960 w 751062"/>
                      <a:gd name="connsiteY579" fmla="*/ 478245 h 723778"/>
                      <a:gd name="connsiteX580" fmla="*/ 92497 w 751062"/>
                      <a:gd name="connsiteY580" fmla="*/ 466001 h 723778"/>
                      <a:gd name="connsiteX581" fmla="*/ 93968 w 751062"/>
                      <a:gd name="connsiteY581" fmla="*/ 458340 h 723778"/>
                      <a:gd name="connsiteX582" fmla="*/ 99810 w 751062"/>
                      <a:gd name="connsiteY582" fmla="*/ 465085 h 723778"/>
                      <a:gd name="connsiteX583" fmla="*/ 96392 w 751062"/>
                      <a:gd name="connsiteY583" fmla="*/ 473962 h 723778"/>
                      <a:gd name="connsiteX584" fmla="*/ 92497 w 751062"/>
                      <a:gd name="connsiteY584" fmla="*/ 466001 h 723778"/>
                      <a:gd name="connsiteX585" fmla="*/ 197674 w 751062"/>
                      <a:gd name="connsiteY585" fmla="*/ 624473 h 723778"/>
                      <a:gd name="connsiteX586" fmla="*/ 79725 w 751062"/>
                      <a:gd name="connsiteY586" fmla="*/ 634604 h 723778"/>
                      <a:gd name="connsiteX587" fmla="*/ 110095 w 751062"/>
                      <a:gd name="connsiteY587" fmla="*/ 642150 h 723778"/>
                      <a:gd name="connsiteX588" fmla="*/ 196212 w 751062"/>
                      <a:gd name="connsiteY588" fmla="*/ 604563 h 723778"/>
                      <a:gd name="connsiteX589" fmla="*/ 136872 w 751062"/>
                      <a:gd name="connsiteY589" fmla="*/ 292516 h 723778"/>
                      <a:gd name="connsiteX590" fmla="*/ 53539 w 751062"/>
                      <a:gd name="connsiteY590" fmla="*/ 305725 h 723778"/>
                      <a:gd name="connsiteX591" fmla="*/ 53573 w 751062"/>
                      <a:gd name="connsiteY591" fmla="*/ 305756 h 723778"/>
                      <a:gd name="connsiteX592" fmla="*/ 27641 w 751062"/>
                      <a:gd name="connsiteY592" fmla="*/ 334606 h 723778"/>
                      <a:gd name="connsiteX593" fmla="*/ 179860 w 751062"/>
                      <a:gd name="connsiteY593" fmla="*/ 316358 h 723778"/>
                      <a:gd name="connsiteX594" fmla="*/ 197674 w 751062"/>
                      <a:gd name="connsiteY594" fmla="*/ 624473 h 723778"/>
                      <a:gd name="connsiteX595" fmla="*/ 308821 w 751062"/>
                      <a:gd name="connsiteY595" fmla="*/ 446450 h 723778"/>
                      <a:gd name="connsiteX596" fmla="*/ 311368 w 751062"/>
                      <a:gd name="connsiteY596" fmla="*/ 544792 h 723778"/>
                      <a:gd name="connsiteX597" fmla="*/ 292743 w 751062"/>
                      <a:gd name="connsiteY597" fmla="*/ 552147 h 723778"/>
                      <a:gd name="connsiteX598" fmla="*/ 290873 w 751062"/>
                      <a:gd name="connsiteY598" fmla="*/ 554585 h 723778"/>
                      <a:gd name="connsiteX599" fmla="*/ 248948 w 751062"/>
                      <a:gd name="connsiteY599" fmla="*/ 588110 h 723778"/>
                      <a:gd name="connsiteX600" fmla="*/ 236627 w 751062"/>
                      <a:gd name="connsiteY600" fmla="*/ 608163 h 723778"/>
                      <a:gd name="connsiteX601" fmla="*/ 213179 w 751062"/>
                      <a:gd name="connsiteY601" fmla="*/ 605653 h 723778"/>
                      <a:gd name="connsiteX602" fmla="*/ 229017 w 751062"/>
                      <a:gd name="connsiteY602" fmla="*/ 417757 h 723778"/>
                      <a:gd name="connsiteX603" fmla="*/ 286019 w 751062"/>
                      <a:gd name="connsiteY603" fmla="*/ 423739 h 723778"/>
                      <a:gd name="connsiteX604" fmla="*/ 289434 w 751062"/>
                      <a:gd name="connsiteY604" fmla="*/ 424361 h 723778"/>
                      <a:gd name="connsiteX605" fmla="*/ 308807 w 751062"/>
                      <a:gd name="connsiteY605" fmla="*/ 425992 h 723778"/>
                      <a:gd name="connsiteX606" fmla="*/ 308821 w 751062"/>
                      <a:gd name="connsiteY606" fmla="*/ 446450 h 723778"/>
                      <a:gd name="connsiteX607" fmla="*/ 285145 w 751062"/>
                      <a:gd name="connsiteY607" fmla="*/ 410847 h 723778"/>
                      <a:gd name="connsiteX608" fmla="*/ 283791 w 751062"/>
                      <a:gd name="connsiteY608" fmla="*/ 420430 h 723778"/>
                      <a:gd name="connsiteX609" fmla="*/ 228346 w 751062"/>
                      <a:gd name="connsiteY609" fmla="*/ 414839 h 723778"/>
                      <a:gd name="connsiteX610" fmla="*/ 222604 w 751062"/>
                      <a:gd name="connsiteY610" fmla="*/ 393632 h 723778"/>
                      <a:gd name="connsiteX611" fmla="*/ 284482 w 751062"/>
                      <a:gd name="connsiteY611" fmla="*/ 402424 h 723778"/>
                      <a:gd name="connsiteX612" fmla="*/ 286610 w 751062"/>
                      <a:gd name="connsiteY612" fmla="*/ 409642 h 723778"/>
                      <a:gd name="connsiteX613" fmla="*/ 285145 w 751062"/>
                      <a:gd name="connsiteY613" fmla="*/ 410847 h 723778"/>
                      <a:gd name="connsiteX614" fmla="*/ 236570 w 751062"/>
                      <a:gd name="connsiteY614" fmla="*/ 630626 h 723778"/>
                      <a:gd name="connsiteX615" fmla="*/ 201946 w 751062"/>
                      <a:gd name="connsiteY615" fmla="*/ 625036 h 723778"/>
                      <a:gd name="connsiteX616" fmla="*/ 211243 w 751062"/>
                      <a:gd name="connsiteY616" fmla="*/ 609131 h 723778"/>
                      <a:gd name="connsiteX617" fmla="*/ 231010 w 751062"/>
                      <a:gd name="connsiteY617" fmla="*/ 612780 h 723778"/>
                      <a:gd name="connsiteX618" fmla="*/ 243134 w 751062"/>
                      <a:gd name="connsiteY618" fmla="*/ 609605 h 723778"/>
                      <a:gd name="connsiteX619" fmla="*/ 264366 w 751062"/>
                      <a:gd name="connsiteY619" fmla="*/ 564311 h 723778"/>
                      <a:gd name="connsiteX620" fmla="*/ 290858 w 751062"/>
                      <a:gd name="connsiteY620" fmla="*/ 559217 h 723778"/>
                      <a:gd name="connsiteX621" fmla="*/ 290901 w 751062"/>
                      <a:gd name="connsiteY621" fmla="*/ 562144 h 723778"/>
                      <a:gd name="connsiteX622" fmla="*/ 292769 w 751062"/>
                      <a:gd name="connsiteY622" fmla="*/ 564371 h 723778"/>
                      <a:gd name="connsiteX623" fmla="*/ 292109 w 751062"/>
                      <a:gd name="connsiteY623" fmla="*/ 573225 h 723778"/>
                      <a:gd name="connsiteX624" fmla="*/ 261017 w 751062"/>
                      <a:gd name="connsiteY624" fmla="*/ 602484 h 723778"/>
                      <a:gd name="connsiteX625" fmla="*/ 253036 w 751062"/>
                      <a:gd name="connsiteY625" fmla="*/ 622417 h 723778"/>
                      <a:gd name="connsiteX626" fmla="*/ 242623 w 751062"/>
                      <a:gd name="connsiteY626" fmla="*/ 629664 h 723778"/>
                      <a:gd name="connsiteX627" fmla="*/ 236570 w 751062"/>
                      <a:gd name="connsiteY627" fmla="*/ 630626 h 723778"/>
                      <a:gd name="connsiteX628" fmla="*/ 296649 w 751062"/>
                      <a:gd name="connsiteY628" fmla="*/ 591539 h 723778"/>
                      <a:gd name="connsiteX629" fmla="*/ 292694 w 751062"/>
                      <a:gd name="connsiteY629" fmla="*/ 600891 h 723778"/>
                      <a:gd name="connsiteX630" fmla="*/ 284988 w 751062"/>
                      <a:gd name="connsiteY630" fmla="*/ 618300 h 723778"/>
                      <a:gd name="connsiteX631" fmla="*/ 256706 w 751062"/>
                      <a:gd name="connsiteY631" fmla="*/ 621329 h 723778"/>
                      <a:gd name="connsiteX632" fmla="*/ 271259 w 751062"/>
                      <a:gd name="connsiteY632" fmla="*/ 587276 h 723778"/>
                      <a:gd name="connsiteX633" fmla="*/ 292152 w 751062"/>
                      <a:gd name="connsiteY633" fmla="*/ 576843 h 723778"/>
                      <a:gd name="connsiteX634" fmla="*/ 296649 w 751062"/>
                      <a:gd name="connsiteY634" fmla="*/ 591539 h 723778"/>
                      <a:gd name="connsiteX635" fmla="*/ 325397 w 751062"/>
                      <a:gd name="connsiteY635" fmla="*/ 670667 h 723778"/>
                      <a:gd name="connsiteX636" fmla="*/ 227187 w 751062"/>
                      <a:gd name="connsiteY636" fmla="*/ 670664 h 723778"/>
                      <a:gd name="connsiteX637" fmla="*/ 283409 w 751062"/>
                      <a:gd name="connsiteY637" fmla="*/ 622080 h 723778"/>
                      <a:gd name="connsiteX638" fmla="*/ 278992 w 751062"/>
                      <a:gd name="connsiteY638" fmla="*/ 632731 h 723778"/>
                      <a:gd name="connsiteX639" fmla="*/ 276293 w 751062"/>
                      <a:gd name="connsiteY639" fmla="*/ 708700 h 723778"/>
                      <a:gd name="connsiteX640" fmla="*/ 301377 w 751062"/>
                      <a:gd name="connsiteY640" fmla="*/ 642088 h 723778"/>
                      <a:gd name="connsiteX641" fmla="*/ 305789 w 751062"/>
                      <a:gd name="connsiteY641" fmla="*/ 631437 h 723778"/>
                      <a:gd name="connsiteX642" fmla="*/ 325397 w 751062"/>
                      <a:gd name="connsiteY642" fmla="*/ 670667 h 723778"/>
                      <a:gd name="connsiteX643" fmla="*/ 260486 w 751062"/>
                      <a:gd name="connsiteY643" fmla="*/ 683182 h 723778"/>
                      <a:gd name="connsiteX644" fmla="*/ 264509 w 751062"/>
                      <a:gd name="connsiteY644" fmla="*/ 684056 h 723778"/>
                      <a:gd name="connsiteX645" fmla="*/ 257242 w 751062"/>
                      <a:gd name="connsiteY645" fmla="*/ 691020 h 723778"/>
                      <a:gd name="connsiteX646" fmla="*/ 247631 w 751062"/>
                      <a:gd name="connsiteY646" fmla="*/ 672186 h 723778"/>
                      <a:gd name="connsiteX647" fmla="*/ 249964 w 751062"/>
                      <a:gd name="connsiteY647" fmla="*/ 668939 h 723778"/>
                      <a:gd name="connsiteX648" fmla="*/ 262665 w 751062"/>
                      <a:gd name="connsiteY648" fmla="*/ 672263 h 723778"/>
                      <a:gd name="connsiteX649" fmla="*/ 259161 w 751062"/>
                      <a:gd name="connsiteY649" fmla="*/ 680449 h 723778"/>
                      <a:gd name="connsiteX650" fmla="*/ 260486 w 751062"/>
                      <a:gd name="connsiteY650" fmla="*/ 683182 h 723778"/>
                      <a:gd name="connsiteX651" fmla="*/ 251752 w 751062"/>
                      <a:gd name="connsiteY651" fmla="*/ 661338 h 723778"/>
                      <a:gd name="connsiteX652" fmla="*/ 249741 w 751062"/>
                      <a:gd name="connsiteY652" fmla="*/ 657895 h 723778"/>
                      <a:gd name="connsiteX653" fmla="*/ 265529 w 751062"/>
                      <a:gd name="connsiteY653" fmla="*/ 643829 h 723778"/>
                      <a:gd name="connsiteX654" fmla="*/ 269261 w 751062"/>
                      <a:gd name="connsiteY654" fmla="*/ 645266 h 723778"/>
                      <a:gd name="connsiteX655" fmla="*/ 269261 w 751062"/>
                      <a:gd name="connsiteY655" fmla="*/ 656419 h 723778"/>
                      <a:gd name="connsiteX656" fmla="*/ 266000 w 751062"/>
                      <a:gd name="connsiteY656" fmla="*/ 664319 h 723778"/>
                      <a:gd name="connsiteX657" fmla="*/ 251752 w 751062"/>
                      <a:gd name="connsiteY657" fmla="*/ 661338 h 723778"/>
                      <a:gd name="connsiteX658" fmla="*/ 292069 w 751062"/>
                      <a:gd name="connsiteY658" fmla="*/ 691271 h 723778"/>
                      <a:gd name="connsiteX659" fmla="*/ 291447 w 751062"/>
                      <a:gd name="connsiteY659" fmla="*/ 695209 h 723778"/>
                      <a:gd name="connsiteX660" fmla="*/ 270323 w 751062"/>
                      <a:gd name="connsiteY660" fmla="*/ 696125 h 723778"/>
                      <a:gd name="connsiteX661" fmla="*/ 268338 w 751062"/>
                      <a:gd name="connsiteY661" fmla="*/ 692653 h 723778"/>
                      <a:gd name="connsiteX662" fmla="*/ 275220 w 751062"/>
                      <a:gd name="connsiteY662" fmla="*/ 684221 h 723778"/>
                      <a:gd name="connsiteX663" fmla="*/ 285028 w 751062"/>
                      <a:gd name="connsiteY663" fmla="*/ 681906 h 723778"/>
                      <a:gd name="connsiteX664" fmla="*/ 292069 w 751062"/>
                      <a:gd name="connsiteY664" fmla="*/ 691271 h 723778"/>
                      <a:gd name="connsiteX665" fmla="*/ 287857 w 751062"/>
                      <a:gd name="connsiteY665" fmla="*/ 674684 h 723778"/>
                      <a:gd name="connsiteX666" fmla="*/ 290122 w 751062"/>
                      <a:gd name="connsiteY666" fmla="*/ 669139 h 723778"/>
                      <a:gd name="connsiteX667" fmla="*/ 301041 w 751062"/>
                      <a:gd name="connsiteY667" fmla="*/ 663157 h 723778"/>
                      <a:gd name="connsiteX668" fmla="*/ 304841 w 751062"/>
                      <a:gd name="connsiteY668" fmla="*/ 664362 h 723778"/>
                      <a:gd name="connsiteX669" fmla="*/ 302577 w 751062"/>
                      <a:gd name="connsiteY669" fmla="*/ 685383 h 723778"/>
                      <a:gd name="connsiteX670" fmla="*/ 298848 w 751062"/>
                      <a:gd name="connsiteY670" fmla="*/ 686825 h 723778"/>
                      <a:gd name="connsiteX671" fmla="*/ 287857 w 751062"/>
                      <a:gd name="connsiteY671" fmla="*/ 674684 h 723778"/>
                      <a:gd name="connsiteX672" fmla="*/ 312436 w 751062"/>
                      <a:gd name="connsiteY672" fmla="*/ 606082 h 723778"/>
                      <a:gd name="connsiteX673" fmla="*/ 282349 w 751062"/>
                      <a:gd name="connsiteY673" fmla="*/ 679601 h 723778"/>
                      <a:gd name="connsiteX674" fmla="*/ 262962 w 751062"/>
                      <a:gd name="connsiteY674" fmla="*/ 680972 h 723778"/>
                      <a:gd name="connsiteX675" fmla="*/ 294545 w 751062"/>
                      <a:gd name="connsiteY675" fmla="*/ 602695 h 723778"/>
                      <a:gd name="connsiteX676" fmla="*/ 312930 w 751062"/>
                      <a:gd name="connsiteY676" fmla="*/ 605191 h 723778"/>
                      <a:gd name="connsiteX677" fmla="*/ 312436 w 751062"/>
                      <a:gd name="connsiteY677" fmla="*/ 606082 h 723778"/>
                      <a:gd name="connsiteX678" fmla="*/ 314558 w 751062"/>
                      <a:gd name="connsiteY678" fmla="*/ 596368 h 723778"/>
                      <a:gd name="connsiteX679" fmla="*/ 313872 w 751062"/>
                      <a:gd name="connsiteY679" fmla="*/ 601316 h 723778"/>
                      <a:gd name="connsiteX680" fmla="*/ 296703 w 751062"/>
                      <a:gd name="connsiteY680" fmla="*/ 599189 h 723778"/>
                      <a:gd name="connsiteX681" fmla="*/ 299067 w 751062"/>
                      <a:gd name="connsiteY681" fmla="*/ 592150 h 723778"/>
                      <a:gd name="connsiteX682" fmla="*/ 315380 w 751062"/>
                      <a:gd name="connsiteY682" fmla="*/ 592684 h 723778"/>
                      <a:gd name="connsiteX683" fmla="*/ 314558 w 751062"/>
                      <a:gd name="connsiteY683" fmla="*/ 596368 h 723778"/>
                      <a:gd name="connsiteX684" fmla="*/ 316939 w 751062"/>
                      <a:gd name="connsiteY684" fmla="*/ 571506 h 723778"/>
                      <a:gd name="connsiteX685" fmla="*/ 316357 w 751062"/>
                      <a:gd name="connsiteY685" fmla="*/ 588678 h 723778"/>
                      <a:gd name="connsiteX686" fmla="*/ 300027 w 751062"/>
                      <a:gd name="connsiteY686" fmla="*/ 588778 h 723778"/>
                      <a:gd name="connsiteX687" fmla="*/ 295961 w 751062"/>
                      <a:gd name="connsiteY687" fmla="*/ 583262 h 723778"/>
                      <a:gd name="connsiteX688" fmla="*/ 294376 w 751062"/>
                      <a:gd name="connsiteY688" fmla="*/ 564745 h 723778"/>
                      <a:gd name="connsiteX689" fmla="*/ 317159 w 751062"/>
                      <a:gd name="connsiteY689" fmla="*/ 565087 h 723778"/>
                      <a:gd name="connsiteX690" fmla="*/ 316939 w 751062"/>
                      <a:gd name="connsiteY690" fmla="*/ 571506 h 723778"/>
                      <a:gd name="connsiteX691" fmla="*/ 318193 w 751062"/>
                      <a:gd name="connsiteY691" fmla="*/ 561090 h 723778"/>
                      <a:gd name="connsiteX692" fmla="*/ 293836 w 751062"/>
                      <a:gd name="connsiteY692" fmla="*/ 561924 h 723778"/>
                      <a:gd name="connsiteX693" fmla="*/ 294527 w 751062"/>
                      <a:gd name="connsiteY693" fmla="*/ 554474 h 723778"/>
                      <a:gd name="connsiteX694" fmla="*/ 318935 w 751062"/>
                      <a:gd name="connsiteY694" fmla="*/ 556273 h 723778"/>
                      <a:gd name="connsiteX695" fmla="*/ 318193 w 751062"/>
                      <a:gd name="connsiteY695" fmla="*/ 561090 h 723778"/>
                      <a:gd name="connsiteX696" fmla="*/ 386804 w 751062"/>
                      <a:gd name="connsiteY696" fmla="*/ 634253 h 723778"/>
                      <a:gd name="connsiteX697" fmla="*/ 383237 w 751062"/>
                      <a:gd name="connsiteY697" fmla="*/ 597090 h 723778"/>
                      <a:gd name="connsiteX698" fmla="*/ 389508 w 751062"/>
                      <a:gd name="connsiteY698" fmla="*/ 598281 h 723778"/>
                      <a:gd name="connsiteX699" fmla="*/ 397868 w 751062"/>
                      <a:gd name="connsiteY699" fmla="*/ 643056 h 723778"/>
                      <a:gd name="connsiteX700" fmla="*/ 387678 w 751062"/>
                      <a:gd name="connsiteY700" fmla="*/ 639843 h 723778"/>
                      <a:gd name="connsiteX701" fmla="*/ 386804 w 751062"/>
                      <a:gd name="connsiteY701" fmla="*/ 634253 h 723778"/>
                      <a:gd name="connsiteX702" fmla="*/ 390322 w 751062"/>
                      <a:gd name="connsiteY702" fmla="*/ 651953 h 723778"/>
                      <a:gd name="connsiteX703" fmla="*/ 388226 w 751062"/>
                      <a:gd name="connsiteY703" fmla="*/ 644072 h 723778"/>
                      <a:gd name="connsiteX704" fmla="*/ 398688 w 751062"/>
                      <a:gd name="connsiteY704" fmla="*/ 647501 h 723778"/>
                      <a:gd name="connsiteX705" fmla="*/ 400664 w 751062"/>
                      <a:gd name="connsiteY705" fmla="*/ 658383 h 723778"/>
                      <a:gd name="connsiteX706" fmla="*/ 390322 w 751062"/>
                      <a:gd name="connsiteY706" fmla="*/ 651953 h 723778"/>
                      <a:gd name="connsiteX707" fmla="*/ 414524 w 751062"/>
                      <a:gd name="connsiteY707" fmla="*/ 684510 h 723778"/>
                      <a:gd name="connsiteX708" fmla="*/ 413627 w 751062"/>
                      <a:gd name="connsiteY708" fmla="*/ 684572 h 723778"/>
                      <a:gd name="connsiteX709" fmla="*/ 412528 w 751062"/>
                      <a:gd name="connsiteY709" fmla="*/ 680586 h 723778"/>
                      <a:gd name="connsiteX710" fmla="*/ 416188 w 751062"/>
                      <a:gd name="connsiteY710" fmla="*/ 680475 h 723778"/>
                      <a:gd name="connsiteX711" fmla="*/ 416674 w 751062"/>
                      <a:gd name="connsiteY711" fmla="*/ 682579 h 723778"/>
                      <a:gd name="connsiteX712" fmla="*/ 414524 w 751062"/>
                      <a:gd name="connsiteY712" fmla="*/ 684510 h 723778"/>
                      <a:gd name="connsiteX713" fmla="*/ 408573 w 751062"/>
                      <a:gd name="connsiteY713" fmla="*/ 677603 h 723778"/>
                      <a:gd name="connsiteX714" fmla="*/ 380294 w 751062"/>
                      <a:gd name="connsiteY714" fmla="*/ 525464 h 723778"/>
                      <a:gd name="connsiteX715" fmla="*/ 366191 w 751062"/>
                      <a:gd name="connsiteY715" fmla="*/ 459548 h 723778"/>
                      <a:gd name="connsiteX716" fmla="*/ 328229 w 751062"/>
                      <a:gd name="connsiteY716" fmla="*/ 424627 h 723778"/>
                      <a:gd name="connsiteX717" fmla="*/ 326824 w 751062"/>
                      <a:gd name="connsiteY717" fmla="*/ 424810 h 723778"/>
                      <a:gd name="connsiteX718" fmla="*/ 326459 w 751062"/>
                      <a:gd name="connsiteY718" fmla="*/ 428153 h 723778"/>
                      <a:gd name="connsiteX719" fmla="*/ 328912 w 751062"/>
                      <a:gd name="connsiteY719" fmla="*/ 562241 h 723778"/>
                      <a:gd name="connsiteX720" fmla="*/ 330105 w 751062"/>
                      <a:gd name="connsiteY720" fmla="*/ 570007 h 723778"/>
                      <a:gd name="connsiteX721" fmla="*/ 332461 w 751062"/>
                      <a:gd name="connsiteY721" fmla="*/ 568574 h 723778"/>
                      <a:gd name="connsiteX722" fmla="*/ 357788 w 751062"/>
                      <a:gd name="connsiteY722" fmla="*/ 574750 h 723778"/>
                      <a:gd name="connsiteX723" fmla="*/ 385830 w 751062"/>
                      <a:gd name="connsiteY723" fmla="*/ 578987 h 723778"/>
                      <a:gd name="connsiteX724" fmla="*/ 388871 w 751062"/>
                      <a:gd name="connsiteY724" fmla="*/ 594957 h 723778"/>
                      <a:gd name="connsiteX725" fmla="*/ 319814 w 751062"/>
                      <a:gd name="connsiteY725" fmla="*/ 579633 h 723778"/>
                      <a:gd name="connsiteX726" fmla="*/ 319914 w 751062"/>
                      <a:gd name="connsiteY726" fmla="*/ 564619 h 723778"/>
                      <a:gd name="connsiteX727" fmla="*/ 322370 w 751062"/>
                      <a:gd name="connsiteY727" fmla="*/ 561264 h 723778"/>
                      <a:gd name="connsiteX728" fmla="*/ 322019 w 751062"/>
                      <a:gd name="connsiteY728" fmla="*/ 556142 h 723778"/>
                      <a:gd name="connsiteX729" fmla="*/ 314943 w 751062"/>
                      <a:gd name="connsiteY729" fmla="*/ 546676 h 723778"/>
                      <a:gd name="connsiteX730" fmla="*/ 312182 w 751062"/>
                      <a:gd name="connsiteY730" fmla="*/ 436465 h 723778"/>
                      <a:gd name="connsiteX731" fmla="*/ 309786 w 751062"/>
                      <a:gd name="connsiteY731" fmla="*/ 422531 h 723778"/>
                      <a:gd name="connsiteX732" fmla="*/ 288611 w 751062"/>
                      <a:gd name="connsiteY732" fmla="*/ 421469 h 723778"/>
                      <a:gd name="connsiteX733" fmla="*/ 287817 w 751062"/>
                      <a:gd name="connsiteY733" fmla="*/ 411173 h 723778"/>
                      <a:gd name="connsiteX734" fmla="*/ 289251 w 751062"/>
                      <a:gd name="connsiteY734" fmla="*/ 410279 h 723778"/>
                      <a:gd name="connsiteX735" fmla="*/ 289902 w 751062"/>
                      <a:gd name="connsiteY735" fmla="*/ 409899 h 723778"/>
                      <a:gd name="connsiteX736" fmla="*/ 305906 w 751062"/>
                      <a:gd name="connsiteY736" fmla="*/ 412175 h 723778"/>
                      <a:gd name="connsiteX737" fmla="*/ 311602 w 751062"/>
                      <a:gd name="connsiteY737" fmla="*/ 410656 h 723778"/>
                      <a:gd name="connsiteX738" fmla="*/ 311428 w 751062"/>
                      <a:gd name="connsiteY738" fmla="*/ 403969 h 723778"/>
                      <a:gd name="connsiteX739" fmla="*/ 293008 w 751062"/>
                      <a:gd name="connsiteY739" fmla="*/ 399457 h 723778"/>
                      <a:gd name="connsiteX740" fmla="*/ 221827 w 751062"/>
                      <a:gd name="connsiteY740" fmla="*/ 391177 h 723778"/>
                      <a:gd name="connsiteX741" fmla="*/ 213798 w 751062"/>
                      <a:gd name="connsiteY741" fmla="*/ 368911 h 723778"/>
                      <a:gd name="connsiteX742" fmla="*/ 305920 w 751062"/>
                      <a:gd name="connsiteY742" fmla="*/ 384292 h 723778"/>
                      <a:gd name="connsiteX743" fmla="*/ 308170 w 751062"/>
                      <a:gd name="connsiteY743" fmla="*/ 382319 h 723778"/>
                      <a:gd name="connsiteX744" fmla="*/ 310209 w 751062"/>
                      <a:gd name="connsiteY744" fmla="*/ 356544 h 723778"/>
                      <a:gd name="connsiteX745" fmla="*/ 310192 w 751062"/>
                      <a:gd name="connsiteY745" fmla="*/ 333007 h 723778"/>
                      <a:gd name="connsiteX746" fmla="*/ 310306 w 751062"/>
                      <a:gd name="connsiteY746" fmla="*/ 266192 h 723778"/>
                      <a:gd name="connsiteX747" fmla="*/ 322339 w 751062"/>
                      <a:gd name="connsiteY747" fmla="*/ 266626 h 723778"/>
                      <a:gd name="connsiteX748" fmla="*/ 321830 w 751062"/>
                      <a:gd name="connsiteY748" fmla="*/ 281842 h 723778"/>
                      <a:gd name="connsiteX749" fmla="*/ 324826 w 751062"/>
                      <a:gd name="connsiteY749" fmla="*/ 411724 h 723778"/>
                      <a:gd name="connsiteX750" fmla="*/ 326390 w 751062"/>
                      <a:gd name="connsiteY750" fmla="*/ 414388 h 723778"/>
                      <a:gd name="connsiteX751" fmla="*/ 357485 w 751062"/>
                      <a:gd name="connsiteY751" fmla="*/ 424456 h 723778"/>
                      <a:gd name="connsiteX752" fmla="*/ 374243 w 751062"/>
                      <a:gd name="connsiteY752" fmla="*/ 454203 h 723778"/>
                      <a:gd name="connsiteX753" fmla="*/ 416816 w 751062"/>
                      <a:gd name="connsiteY753" fmla="*/ 676586 h 723778"/>
                      <a:gd name="connsiteX754" fmla="*/ 408573 w 751062"/>
                      <a:gd name="connsiteY754" fmla="*/ 677603 h 723778"/>
                      <a:gd name="connsiteX755" fmla="*/ 370097 w 751062"/>
                      <a:gd name="connsiteY755" fmla="*/ 514613 h 723778"/>
                      <a:gd name="connsiteX756" fmla="*/ 360289 w 751062"/>
                      <a:gd name="connsiteY756" fmla="*/ 486611 h 723778"/>
                      <a:gd name="connsiteX757" fmla="*/ 350332 w 751062"/>
                      <a:gd name="connsiteY757" fmla="*/ 440283 h 723778"/>
                      <a:gd name="connsiteX758" fmla="*/ 361508 w 751062"/>
                      <a:gd name="connsiteY758" fmla="*/ 460025 h 723778"/>
                      <a:gd name="connsiteX759" fmla="*/ 381541 w 751062"/>
                      <a:gd name="connsiteY759" fmla="*/ 556656 h 723778"/>
                      <a:gd name="connsiteX760" fmla="*/ 368869 w 751062"/>
                      <a:gd name="connsiteY760" fmla="*/ 531891 h 723778"/>
                      <a:gd name="connsiteX761" fmla="*/ 370583 w 751062"/>
                      <a:gd name="connsiteY761" fmla="*/ 515921 h 723778"/>
                      <a:gd name="connsiteX762" fmla="*/ 370097 w 751062"/>
                      <a:gd name="connsiteY762" fmla="*/ 514613 h 723778"/>
                      <a:gd name="connsiteX763" fmla="*/ 354139 w 751062"/>
                      <a:gd name="connsiteY763" fmla="*/ 483878 h 723778"/>
                      <a:gd name="connsiteX764" fmla="*/ 368273 w 751062"/>
                      <a:gd name="connsiteY764" fmla="*/ 515025 h 723778"/>
                      <a:gd name="connsiteX765" fmla="*/ 365688 w 751062"/>
                      <a:gd name="connsiteY765" fmla="*/ 547484 h 723778"/>
                      <a:gd name="connsiteX766" fmla="*/ 382980 w 751062"/>
                      <a:gd name="connsiteY766" fmla="*/ 564111 h 723778"/>
                      <a:gd name="connsiteX767" fmla="*/ 385265 w 751062"/>
                      <a:gd name="connsiteY767" fmla="*/ 576003 h 723778"/>
                      <a:gd name="connsiteX768" fmla="*/ 344485 w 751062"/>
                      <a:gd name="connsiteY768" fmla="*/ 568194 h 723778"/>
                      <a:gd name="connsiteX769" fmla="*/ 332649 w 751062"/>
                      <a:gd name="connsiteY769" fmla="*/ 566047 h 723778"/>
                      <a:gd name="connsiteX770" fmla="*/ 328620 w 751062"/>
                      <a:gd name="connsiteY770" fmla="*/ 428296 h 723778"/>
                      <a:gd name="connsiteX771" fmla="*/ 344405 w 751062"/>
                      <a:gd name="connsiteY771" fmla="*/ 434467 h 723778"/>
                      <a:gd name="connsiteX772" fmla="*/ 354139 w 751062"/>
                      <a:gd name="connsiteY772" fmla="*/ 483878 h 723778"/>
                      <a:gd name="connsiteX773" fmla="*/ 286912 w 751062"/>
                      <a:gd name="connsiteY773" fmla="*/ 402801 h 723778"/>
                      <a:gd name="connsiteX774" fmla="*/ 308216 w 751062"/>
                      <a:gd name="connsiteY774" fmla="*/ 405927 h 723778"/>
                      <a:gd name="connsiteX775" fmla="*/ 308604 w 751062"/>
                      <a:gd name="connsiteY775" fmla="*/ 409619 h 723778"/>
                      <a:gd name="connsiteX776" fmla="*/ 288945 w 751062"/>
                      <a:gd name="connsiteY776" fmla="*/ 408400 h 723778"/>
                      <a:gd name="connsiteX777" fmla="*/ 286912 w 751062"/>
                      <a:gd name="connsiteY777" fmla="*/ 402801 h 723778"/>
                      <a:gd name="connsiteX778" fmla="*/ 440975 w 751062"/>
                      <a:gd name="connsiteY778" fmla="*/ 667686 h 723778"/>
                      <a:gd name="connsiteX779" fmla="*/ 430728 w 751062"/>
                      <a:gd name="connsiteY779" fmla="*/ 669919 h 723778"/>
                      <a:gd name="connsiteX780" fmla="*/ 419820 w 751062"/>
                      <a:gd name="connsiteY780" fmla="*/ 672574 h 723778"/>
                      <a:gd name="connsiteX781" fmla="*/ 419169 w 751062"/>
                      <a:gd name="connsiteY781" fmla="*/ 668608 h 723778"/>
                      <a:gd name="connsiteX782" fmla="*/ 419483 w 751062"/>
                      <a:gd name="connsiteY782" fmla="*/ 663606 h 723778"/>
                      <a:gd name="connsiteX783" fmla="*/ 416308 w 751062"/>
                      <a:gd name="connsiteY783" fmla="*/ 644686 h 723778"/>
                      <a:gd name="connsiteX784" fmla="*/ 449450 w 751062"/>
                      <a:gd name="connsiteY784" fmla="*/ 640634 h 723778"/>
                      <a:gd name="connsiteX785" fmla="*/ 445929 w 751062"/>
                      <a:gd name="connsiteY785" fmla="*/ 657655 h 723778"/>
                      <a:gd name="connsiteX786" fmla="*/ 448388 w 751062"/>
                      <a:gd name="connsiteY786" fmla="*/ 666295 h 723778"/>
                      <a:gd name="connsiteX787" fmla="*/ 440975 w 751062"/>
                      <a:gd name="connsiteY787" fmla="*/ 667686 h 723778"/>
                      <a:gd name="connsiteX788" fmla="*/ 450923 w 751062"/>
                      <a:gd name="connsiteY788" fmla="*/ 665730 h 723778"/>
                      <a:gd name="connsiteX789" fmla="*/ 450138 w 751062"/>
                      <a:gd name="connsiteY789" fmla="*/ 665916 h 723778"/>
                      <a:gd name="connsiteX790" fmla="*/ 448633 w 751062"/>
                      <a:gd name="connsiteY790" fmla="*/ 658123 h 723778"/>
                      <a:gd name="connsiteX791" fmla="*/ 457891 w 751062"/>
                      <a:gd name="connsiteY791" fmla="*/ 657350 h 723778"/>
                      <a:gd name="connsiteX792" fmla="*/ 458779 w 751062"/>
                      <a:gd name="connsiteY792" fmla="*/ 662849 h 723778"/>
                      <a:gd name="connsiteX793" fmla="*/ 450923 w 751062"/>
                      <a:gd name="connsiteY793" fmla="*/ 665730 h 723778"/>
                      <a:gd name="connsiteX794" fmla="*/ 485288 w 751062"/>
                      <a:gd name="connsiteY794" fmla="*/ 657387 h 723778"/>
                      <a:gd name="connsiteX795" fmla="*/ 462022 w 751062"/>
                      <a:gd name="connsiteY795" fmla="*/ 659797 h 723778"/>
                      <a:gd name="connsiteX796" fmla="*/ 460709 w 751062"/>
                      <a:gd name="connsiteY796" fmla="*/ 656753 h 723778"/>
                      <a:gd name="connsiteX797" fmla="*/ 473201 w 751062"/>
                      <a:gd name="connsiteY797" fmla="*/ 654808 h 723778"/>
                      <a:gd name="connsiteX798" fmla="*/ 478361 w 751062"/>
                      <a:gd name="connsiteY798" fmla="*/ 646045 h 723778"/>
                      <a:gd name="connsiteX799" fmla="*/ 507756 w 751062"/>
                      <a:gd name="connsiteY799" fmla="*/ 635829 h 723778"/>
                      <a:gd name="connsiteX800" fmla="*/ 535696 w 751062"/>
                      <a:gd name="connsiteY800" fmla="*/ 633019 h 723778"/>
                      <a:gd name="connsiteX801" fmla="*/ 563824 w 751062"/>
                      <a:gd name="connsiteY801" fmla="*/ 630129 h 723778"/>
                      <a:gd name="connsiteX802" fmla="*/ 564272 w 751062"/>
                      <a:gd name="connsiteY802" fmla="*/ 630141 h 723778"/>
                      <a:gd name="connsiteX803" fmla="*/ 564278 w 751062"/>
                      <a:gd name="connsiteY803" fmla="*/ 630144 h 723778"/>
                      <a:gd name="connsiteX804" fmla="*/ 569538 w 751062"/>
                      <a:gd name="connsiteY804" fmla="*/ 630626 h 723778"/>
                      <a:gd name="connsiteX805" fmla="*/ 485288 w 751062"/>
                      <a:gd name="connsiteY805" fmla="*/ 657387 h 723778"/>
                      <a:gd name="connsiteX806" fmla="*/ 573752 w 751062"/>
                      <a:gd name="connsiteY806" fmla="*/ 667380 h 723778"/>
                      <a:gd name="connsiteX807" fmla="*/ 507713 w 751062"/>
                      <a:gd name="connsiteY807" fmla="*/ 671612 h 723778"/>
                      <a:gd name="connsiteX808" fmla="*/ 507091 w 751062"/>
                      <a:gd name="connsiteY808" fmla="*/ 656613 h 723778"/>
                      <a:gd name="connsiteX809" fmla="*/ 576604 w 751062"/>
                      <a:gd name="connsiteY809" fmla="*/ 629661 h 723778"/>
                      <a:gd name="connsiteX810" fmla="*/ 564878 w 751062"/>
                      <a:gd name="connsiteY810" fmla="*/ 625224 h 723778"/>
                      <a:gd name="connsiteX811" fmla="*/ 551640 w 751062"/>
                      <a:gd name="connsiteY811" fmla="*/ 625512 h 723778"/>
                      <a:gd name="connsiteX812" fmla="*/ 493405 w 751062"/>
                      <a:gd name="connsiteY812" fmla="*/ 635897 h 723778"/>
                      <a:gd name="connsiteX813" fmla="*/ 490921 w 751062"/>
                      <a:gd name="connsiteY813" fmla="*/ 627991 h 723778"/>
                      <a:gd name="connsiteX814" fmla="*/ 483312 w 751062"/>
                      <a:gd name="connsiteY814" fmla="*/ 612769 h 723778"/>
                      <a:gd name="connsiteX815" fmla="*/ 465229 w 751062"/>
                      <a:gd name="connsiteY815" fmla="*/ 603852 h 723778"/>
                      <a:gd name="connsiteX816" fmla="*/ 451666 w 751062"/>
                      <a:gd name="connsiteY816" fmla="*/ 586234 h 723778"/>
                      <a:gd name="connsiteX817" fmla="*/ 439785 w 751062"/>
                      <a:gd name="connsiteY817" fmla="*/ 568548 h 723778"/>
                      <a:gd name="connsiteX818" fmla="*/ 438546 w 751062"/>
                      <a:gd name="connsiteY818" fmla="*/ 554585 h 723778"/>
                      <a:gd name="connsiteX819" fmla="*/ 448616 w 751062"/>
                      <a:gd name="connsiteY819" fmla="*/ 535352 h 723778"/>
                      <a:gd name="connsiteX820" fmla="*/ 442095 w 751062"/>
                      <a:gd name="connsiteY820" fmla="*/ 521643 h 723778"/>
                      <a:gd name="connsiteX821" fmla="*/ 438406 w 751062"/>
                      <a:gd name="connsiteY821" fmla="*/ 491910 h 723778"/>
                      <a:gd name="connsiteX822" fmla="*/ 440013 w 751062"/>
                      <a:gd name="connsiteY822" fmla="*/ 378987 h 723778"/>
                      <a:gd name="connsiteX823" fmla="*/ 482232 w 751062"/>
                      <a:gd name="connsiteY823" fmla="*/ 374393 h 723778"/>
                      <a:gd name="connsiteX824" fmla="*/ 491901 w 751062"/>
                      <a:gd name="connsiteY824" fmla="*/ 373676 h 723778"/>
                      <a:gd name="connsiteX825" fmla="*/ 514167 w 751062"/>
                      <a:gd name="connsiteY825" fmla="*/ 382108 h 723778"/>
                      <a:gd name="connsiteX826" fmla="*/ 513130 w 751062"/>
                      <a:gd name="connsiteY826" fmla="*/ 505599 h 723778"/>
                      <a:gd name="connsiteX827" fmla="*/ 512759 w 751062"/>
                      <a:gd name="connsiteY827" fmla="*/ 536728 h 723778"/>
                      <a:gd name="connsiteX828" fmla="*/ 516162 w 751062"/>
                      <a:gd name="connsiteY828" fmla="*/ 546219 h 723778"/>
                      <a:gd name="connsiteX829" fmla="*/ 518567 w 751062"/>
                      <a:gd name="connsiteY829" fmla="*/ 568631 h 723778"/>
                      <a:gd name="connsiteX830" fmla="*/ 522556 w 751062"/>
                      <a:gd name="connsiteY830" fmla="*/ 586060 h 723778"/>
                      <a:gd name="connsiteX831" fmla="*/ 519412 w 751062"/>
                      <a:gd name="connsiteY831" fmla="*/ 601125 h 723778"/>
                      <a:gd name="connsiteX832" fmla="*/ 502394 w 751062"/>
                      <a:gd name="connsiteY832" fmla="*/ 600280 h 723778"/>
                      <a:gd name="connsiteX833" fmla="*/ 507397 w 751062"/>
                      <a:gd name="connsiteY833" fmla="*/ 626435 h 723778"/>
                      <a:gd name="connsiteX834" fmla="*/ 512399 w 751062"/>
                      <a:gd name="connsiteY834" fmla="*/ 627788 h 723778"/>
                      <a:gd name="connsiteX835" fmla="*/ 513259 w 751062"/>
                      <a:gd name="connsiteY835" fmla="*/ 616161 h 723778"/>
                      <a:gd name="connsiteX836" fmla="*/ 507999 w 751062"/>
                      <a:gd name="connsiteY836" fmla="*/ 606042 h 723778"/>
                      <a:gd name="connsiteX837" fmla="*/ 510252 w 751062"/>
                      <a:gd name="connsiteY837" fmla="*/ 601933 h 723778"/>
                      <a:gd name="connsiteX838" fmla="*/ 519732 w 751062"/>
                      <a:gd name="connsiteY838" fmla="*/ 611141 h 723778"/>
                      <a:gd name="connsiteX839" fmla="*/ 563147 w 751062"/>
                      <a:gd name="connsiteY839" fmla="*/ 592607 h 723778"/>
                      <a:gd name="connsiteX840" fmla="*/ 573389 w 751062"/>
                      <a:gd name="connsiteY840" fmla="*/ 585732 h 723778"/>
                      <a:gd name="connsiteX841" fmla="*/ 584040 w 751062"/>
                      <a:gd name="connsiteY841" fmla="*/ 583079 h 723778"/>
                      <a:gd name="connsiteX842" fmla="*/ 585436 w 751062"/>
                      <a:gd name="connsiteY842" fmla="*/ 576383 h 723778"/>
                      <a:gd name="connsiteX843" fmla="*/ 589388 w 751062"/>
                      <a:gd name="connsiteY843" fmla="*/ 569582 h 723778"/>
                      <a:gd name="connsiteX844" fmla="*/ 600495 w 751062"/>
                      <a:gd name="connsiteY844" fmla="*/ 591879 h 723778"/>
                      <a:gd name="connsiteX845" fmla="*/ 589197 w 751062"/>
                      <a:gd name="connsiteY845" fmla="*/ 598663 h 723778"/>
                      <a:gd name="connsiteX846" fmla="*/ 592240 w 751062"/>
                      <a:gd name="connsiteY846" fmla="*/ 601014 h 723778"/>
                      <a:gd name="connsiteX847" fmla="*/ 603847 w 751062"/>
                      <a:gd name="connsiteY847" fmla="*/ 595777 h 723778"/>
                      <a:gd name="connsiteX848" fmla="*/ 607522 w 751062"/>
                      <a:gd name="connsiteY848" fmla="*/ 599323 h 723778"/>
                      <a:gd name="connsiteX849" fmla="*/ 601006 w 751062"/>
                      <a:gd name="connsiteY849" fmla="*/ 605816 h 723778"/>
                      <a:gd name="connsiteX850" fmla="*/ 603582 w 751062"/>
                      <a:gd name="connsiteY850" fmla="*/ 607803 h 723778"/>
                      <a:gd name="connsiteX851" fmla="*/ 611937 w 751062"/>
                      <a:gd name="connsiteY851" fmla="*/ 602864 h 723778"/>
                      <a:gd name="connsiteX852" fmla="*/ 618444 w 751062"/>
                      <a:gd name="connsiteY852" fmla="*/ 607058 h 723778"/>
                      <a:gd name="connsiteX853" fmla="*/ 610880 w 751062"/>
                      <a:gd name="connsiteY853" fmla="*/ 612092 h 723778"/>
                      <a:gd name="connsiteX854" fmla="*/ 613364 w 751062"/>
                      <a:gd name="connsiteY854" fmla="*/ 615313 h 723778"/>
                      <a:gd name="connsiteX855" fmla="*/ 623552 w 751062"/>
                      <a:gd name="connsiteY855" fmla="*/ 609714 h 723778"/>
                      <a:gd name="connsiteX856" fmla="*/ 684348 w 751062"/>
                      <a:gd name="connsiteY856" fmla="*/ 617003 h 723778"/>
                      <a:gd name="connsiteX857" fmla="*/ 594707 w 751062"/>
                      <a:gd name="connsiteY857" fmla="*/ 647213 h 723778"/>
                      <a:gd name="connsiteX858" fmla="*/ 524343 w 751062"/>
                      <a:gd name="connsiteY858" fmla="*/ 652327 h 723778"/>
                      <a:gd name="connsiteX859" fmla="*/ 524586 w 751062"/>
                      <a:gd name="connsiteY859" fmla="*/ 654120 h 723778"/>
                      <a:gd name="connsiteX860" fmla="*/ 592018 w 751062"/>
                      <a:gd name="connsiteY860" fmla="*/ 650836 h 723778"/>
                      <a:gd name="connsiteX861" fmla="*/ 624046 w 751062"/>
                      <a:gd name="connsiteY861" fmla="*/ 644358 h 723778"/>
                      <a:gd name="connsiteX862" fmla="*/ 688189 w 751062"/>
                      <a:gd name="connsiteY862" fmla="*/ 619579 h 723778"/>
                      <a:gd name="connsiteX863" fmla="*/ 689479 w 751062"/>
                      <a:gd name="connsiteY863" fmla="*/ 621372 h 723778"/>
                      <a:gd name="connsiteX864" fmla="*/ 657993 w 751062"/>
                      <a:gd name="connsiteY864" fmla="*/ 639975 h 723778"/>
                      <a:gd name="connsiteX865" fmla="*/ 573752 w 751062"/>
                      <a:gd name="connsiteY865" fmla="*/ 667380 h 723778"/>
                      <a:gd name="connsiteX866" fmla="*/ 732095 w 751062"/>
                      <a:gd name="connsiteY866" fmla="*/ 645580 h 723778"/>
                      <a:gd name="connsiteX867" fmla="*/ 736807 w 751062"/>
                      <a:gd name="connsiteY867" fmla="*/ 645791 h 723778"/>
                      <a:gd name="connsiteX868" fmla="*/ 586244 w 751062"/>
                      <a:gd name="connsiteY868" fmla="*/ 673708 h 723778"/>
                      <a:gd name="connsiteX869" fmla="*/ 586892 w 751062"/>
                      <a:gd name="connsiteY869" fmla="*/ 671141 h 723778"/>
                      <a:gd name="connsiteX870" fmla="*/ 643762 w 751062"/>
                      <a:gd name="connsiteY870" fmla="*/ 654112 h 723778"/>
                      <a:gd name="connsiteX871" fmla="*/ 644916 w 751062"/>
                      <a:gd name="connsiteY871" fmla="*/ 655060 h 723778"/>
                      <a:gd name="connsiteX872" fmla="*/ 654935 w 751062"/>
                      <a:gd name="connsiteY872" fmla="*/ 653746 h 723778"/>
                      <a:gd name="connsiteX873" fmla="*/ 683711 w 751062"/>
                      <a:gd name="connsiteY873" fmla="*/ 651673 h 723778"/>
                      <a:gd name="connsiteX874" fmla="*/ 732095 w 751062"/>
                      <a:gd name="connsiteY874" fmla="*/ 645580 h 723778"/>
                      <a:gd name="connsiteX875" fmla="*/ 737920 w 751062"/>
                      <a:gd name="connsiteY875" fmla="*/ 636874 h 723778"/>
                      <a:gd name="connsiteX876" fmla="*/ 729737 w 751062"/>
                      <a:gd name="connsiteY876" fmla="*/ 636885 h 723778"/>
                      <a:gd name="connsiteX877" fmla="*/ 726305 w 751062"/>
                      <a:gd name="connsiteY877" fmla="*/ 641859 h 723778"/>
                      <a:gd name="connsiteX878" fmla="*/ 685585 w 751062"/>
                      <a:gd name="connsiteY878" fmla="*/ 647424 h 723778"/>
                      <a:gd name="connsiteX879" fmla="*/ 651589 w 751062"/>
                      <a:gd name="connsiteY879" fmla="*/ 651242 h 723778"/>
                      <a:gd name="connsiteX880" fmla="*/ 700361 w 751062"/>
                      <a:gd name="connsiteY880" fmla="*/ 626752 h 723778"/>
                      <a:gd name="connsiteX881" fmla="*/ 719249 w 751062"/>
                      <a:gd name="connsiteY881" fmla="*/ 625715 h 723778"/>
                      <a:gd name="connsiteX882" fmla="*/ 721345 w 751062"/>
                      <a:gd name="connsiteY882" fmla="*/ 640826 h 723778"/>
                      <a:gd name="connsiteX883" fmla="*/ 721602 w 751062"/>
                      <a:gd name="connsiteY883" fmla="*/ 639344 h 723778"/>
                      <a:gd name="connsiteX884" fmla="*/ 724637 w 751062"/>
                      <a:gd name="connsiteY884" fmla="*/ 624590 h 723778"/>
                      <a:gd name="connsiteX885" fmla="*/ 725280 w 751062"/>
                      <a:gd name="connsiteY885" fmla="*/ 624127 h 723778"/>
                      <a:gd name="connsiteX886" fmla="*/ 726973 w 751062"/>
                      <a:gd name="connsiteY886" fmla="*/ 626121 h 723778"/>
                      <a:gd name="connsiteX887" fmla="*/ 727998 w 751062"/>
                      <a:gd name="connsiteY887" fmla="*/ 627645 h 723778"/>
                      <a:gd name="connsiteX888" fmla="*/ 741218 w 751062"/>
                      <a:gd name="connsiteY888" fmla="*/ 627457 h 723778"/>
                      <a:gd name="connsiteX889" fmla="*/ 741284 w 751062"/>
                      <a:gd name="connsiteY889" fmla="*/ 636802 h 723778"/>
                      <a:gd name="connsiteX890" fmla="*/ 737920 w 751062"/>
                      <a:gd name="connsiteY890" fmla="*/ 636874 h 723778"/>
                      <a:gd name="connsiteX891" fmla="*/ 745156 w 751062"/>
                      <a:gd name="connsiteY891" fmla="*/ 636854 h 723778"/>
                      <a:gd name="connsiteX892" fmla="*/ 743868 w 751062"/>
                      <a:gd name="connsiteY892" fmla="*/ 627902 h 723778"/>
                      <a:gd name="connsiteX893" fmla="*/ 746421 w 751062"/>
                      <a:gd name="connsiteY893" fmla="*/ 628262 h 723778"/>
                      <a:gd name="connsiteX894" fmla="*/ 745156 w 751062"/>
                      <a:gd name="connsiteY894" fmla="*/ 636854 h 72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Lst>
                    <a:rect l="l" t="t" r="r" b="b"/>
                    <a:pathLst>
                      <a:path w="751062" h="723778">
                        <a:moveTo>
                          <a:pt x="748257" y="625144"/>
                        </a:moveTo>
                        <a:cubicBezTo>
                          <a:pt x="747877" y="624970"/>
                          <a:pt x="747469" y="624950"/>
                          <a:pt x="747120" y="625078"/>
                        </a:cubicBezTo>
                        <a:cubicBezTo>
                          <a:pt x="746372" y="624661"/>
                          <a:pt x="745427" y="624510"/>
                          <a:pt x="744528" y="624544"/>
                        </a:cubicBezTo>
                        <a:cubicBezTo>
                          <a:pt x="744102" y="624230"/>
                          <a:pt x="743534" y="624122"/>
                          <a:pt x="743103" y="624444"/>
                        </a:cubicBezTo>
                        <a:cubicBezTo>
                          <a:pt x="739008" y="623345"/>
                          <a:pt x="734411" y="624693"/>
                          <a:pt x="730288" y="625070"/>
                        </a:cubicBezTo>
                        <a:cubicBezTo>
                          <a:pt x="729914" y="622320"/>
                          <a:pt x="725996" y="619742"/>
                          <a:pt x="723649" y="621843"/>
                        </a:cubicBezTo>
                        <a:cubicBezTo>
                          <a:pt x="715180" y="621178"/>
                          <a:pt x="706617" y="622905"/>
                          <a:pt x="698145" y="623485"/>
                        </a:cubicBezTo>
                        <a:cubicBezTo>
                          <a:pt x="697700" y="616706"/>
                          <a:pt x="692263" y="611250"/>
                          <a:pt x="685850" y="609137"/>
                        </a:cubicBezTo>
                        <a:cubicBezTo>
                          <a:pt x="670174" y="543076"/>
                          <a:pt x="653496" y="477260"/>
                          <a:pt x="637204" y="411350"/>
                        </a:cubicBezTo>
                        <a:cubicBezTo>
                          <a:pt x="635250" y="403526"/>
                          <a:pt x="633429" y="395200"/>
                          <a:pt x="628575" y="388570"/>
                        </a:cubicBezTo>
                        <a:cubicBezTo>
                          <a:pt x="623723" y="382188"/>
                          <a:pt x="616685" y="377385"/>
                          <a:pt x="608918" y="375355"/>
                        </a:cubicBezTo>
                        <a:cubicBezTo>
                          <a:pt x="613359" y="351773"/>
                          <a:pt x="610306" y="326249"/>
                          <a:pt x="596909" y="306844"/>
                        </a:cubicBezTo>
                        <a:cubicBezTo>
                          <a:pt x="594959" y="304023"/>
                          <a:pt x="590793" y="298789"/>
                          <a:pt x="590793" y="298789"/>
                        </a:cubicBezTo>
                        <a:cubicBezTo>
                          <a:pt x="588034" y="295914"/>
                          <a:pt x="584979" y="293241"/>
                          <a:pt x="581616" y="290808"/>
                        </a:cubicBezTo>
                        <a:cubicBezTo>
                          <a:pt x="582058" y="277028"/>
                          <a:pt x="580773" y="263083"/>
                          <a:pt x="579077" y="249394"/>
                        </a:cubicBezTo>
                        <a:cubicBezTo>
                          <a:pt x="578963" y="248706"/>
                          <a:pt x="578184" y="247904"/>
                          <a:pt x="577487" y="247804"/>
                        </a:cubicBezTo>
                        <a:cubicBezTo>
                          <a:pt x="575225" y="247475"/>
                          <a:pt x="572964" y="247150"/>
                          <a:pt x="570702" y="246824"/>
                        </a:cubicBezTo>
                        <a:cubicBezTo>
                          <a:pt x="568658" y="246530"/>
                          <a:pt x="565314" y="245302"/>
                          <a:pt x="563458" y="246545"/>
                        </a:cubicBezTo>
                        <a:cubicBezTo>
                          <a:pt x="556634" y="220898"/>
                          <a:pt x="473198" y="216321"/>
                          <a:pt x="445376" y="212891"/>
                        </a:cubicBezTo>
                        <a:lnTo>
                          <a:pt x="430285" y="181799"/>
                        </a:lnTo>
                        <a:cubicBezTo>
                          <a:pt x="428301" y="173842"/>
                          <a:pt x="423344" y="166563"/>
                          <a:pt x="419971" y="159057"/>
                        </a:cubicBezTo>
                        <a:cubicBezTo>
                          <a:pt x="410318" y="139455"/>
                          <a:pt x="400341" y="120007"/>
                          <a:pt x="390901" y="100302"/>
                        </a:cubicBezTo>
                        <a:cubicBezTo>
                          <a:pt x="390901" y="100302"/>
                          <a:pt x="384822" y="86516"/>
                          <a:pt x="381727" y="79872"/>
                        </a:cubicBezTo>
                        <a:cubicBezTo>
                          <a:pt x="374340" y="64016"/>
                          <a:pt x="364712" y="49797"/>
                          <a:pt x="349107" y="42190"/>
                        </a:cubicBezTo>
                        <a:cubicBezTo>
                          <a:pt x="339819" y="38258"/>
                          <a:pt x="328666" y="36351"/>
                          <a:pt x="319001" y="40094"/>
                        </a:cubicBezTo>
                        <a:cubicBezTo>
                          <a:pt x="317390" y="36157"/>
                          <a:pt x="307731" y="21409"/>
                          <a:pt x="303025" y="26831"/>
                        </a:cubicBezTo>
                        <a:cubicBezTo>
                          <a:pt x="299013" y="28581"/>
                          <a:pt x="297905" y="34164"/>
                          <a:pt x="297020" y="38095"/>
                        </a:cubicBezTo>
                        <a:cubicBezTo>
                          <a:pt x="296332" y="42810"/>
                          <a:pt x="297291" y="47507"/>
                          <a:pt x="299670" y="51613"/>
                        </a:cubicBezTo>
                        <a:cubicBezTo>
                          <a:pt x="300335" y="52760"/>
                          <a:pt x="302271" y="52004"/>
                          <a:pt x="301851" y="50693"/>
                        </a:cubicBezTo>
                        <a:cubicBezTo>
                          <a:pt x="300624" y="46850"/>
                          <a:pt x="300418" y="42715"/>
                          <a:pt x="301212" y="38761"/>
                        </a:cubicBezTo>
                        <a:cubicBezTo>
                          <a:pt x="306994" y="50268"/>
                          <a:pt x="306560" y="63991"/>
                          <a:pt x="303533" y="76303"/>
                        </a:cubicBezTo>
                        <a:cubicBezTo>
                          <a:pt x="302203" y="79992"/>
                          <a:pt x="300461" y="84081"/>
                          <a:pt x="301086" y="88118"/>
                        </a:cubicBezTo>
                        <a:cubicBezTo>
                          <a:pt x="295787" y="80437"/>
                          <a:pt x="287709" y="75392"/>
                          <a:pt x="280234" y="70067"/>
                        </a:cubicBezTo>
                        <a:cubicBezTo>
                          <a:pt x="274223" y="65827"/>
                          <a:pt x="268104" y="61903"/>
                          <a:pt x="261802" y="58103"/>
                        </a:cubicBezTo>
                        <a:cubicBezTo>
                          <a:pt x="251797" y="52101"/>
                          <a:pt x="241624" y="45382"/>
                          <a:pt x="235270" y="35334"/>
                        </a:cubicBezTo>
                        <a:cubicBezTo>
                          <a:pt x="238848" y="25660"/>
                          <a:pt x="238331" y="13671"/>
                          <a:pt x="237138" y="3469"/>
                        </a:cubicBezTo>
                        <a:cubicBezTo>
                          <a:pt x="237004" y="2224"/>
                          <a:pt x="236413" y="1193"/>
                          <a:pt x="235542" y="333"/>
                        </a:cubicBezTo>
                        <a:cubicBezTo>
                          <a:pt x="234500" y="-797"/>
                          <a:pt x="233920" y="1247"/>
                          <a:pt x="233620" y="2027"/>
                        </a:cubicBezTo>
                        <a:cubicBezTo>
                          <a:pt x="233300" y="6795"/>
                          <a:pt x="233671" y="11606"/>
                          <a:pt x="233292" y="16386"/>
                        </a:cubicBezTo>
                        <a:cubicBezTo>
                          <a:pt x="221585" y="19915"/>
                          <a:pt x="216736" y="32473"/>
                          <a:pt x="215137" y="43572"/>
                        </a:cubicBezTo>
                        <a:cubicBezTo>
                          <a:pt x="196763" y="51299"/>
                          <a:pt x="181878" y="65738"/>
                          <a:pt x="169152" y="80771"/>
                        </a:cubicBezTo>
                        <a:cubicBezTo>
                          <a:pt x="158670" y="79698"/>
                          <a:pt x="148371" y="78644"/>
                          <a:pt x="137929" y="77439"/>
                        </a:cubicBezTo>
                        <a:cubicBezTo>
                          <a:pt x="135410" y="77162"/>
                          <a:pt x="131681" y="76326"/>
                          <a:pt x="129126" y="77414"/>
                        </a:cubicBezTo>
                        <a:cubicBezTo>
                          <a:pt x="125003" y="69170"/>
                          <a:pt x="117976" y="60370"/>
                          <a:pt x="108293" y="58979"/>
                        </a:cubicBezTo>
                        <a:cubicBezTo>
                          <a:pt x="107776" y="53491"/>
                          <a:pt x="92186" y="54360"/>
                          <a:pt x="87766" y="54003"/>
                        </a:cubicBezTo>
                        <a:cubicBezTo>
                          <a:pt x="81878" y="54368"/>
                          <a:pt x="73078" y="53277"/>
                          <a:pt x="68235" y="56898"/>
                        </a:cubicBezTo>
                        <a:cubicBezTo>
                          <a:pt x="59838" y="59765"/>
                          <a:pt x="57060" y="71574"/>
                          <a:pt x="64943" y="76700"/>
                        </a:cubicBezTo>
                        <a:cubicBezTo>
                          <a:pt x="70371" y="79549"/>
                          <a:pt x="76913" y="77950"/>
                          <a:pt x="82803" y="78864"/>
                        </a:cubicBezTo>
                        <a:cubicBezTo>
                          <a:pt x="89653" y="78958"/>
                          <a:pt x="96452" y="81234"/>
                          <a:pt x="103228" y="81166"/>
                        </a:cubicBezTo>
                        <a:cubicBezTo>
                          <a:pt x="111448" y="86528"/>
                          <a:pt x="111000" y="97921"/>
                          <a:pt x="111977" y="106644"/>
                        </a:cubicBezTo>
                        <a:cubicBezTo>
                          <a:pt x="116371" y="158380"/>
                          <a:pt x="117941" y="210330"/>
                          <a:pt x="121810" y="262089"/>
                        </a:cubicBezTo>
                        <a:cubicBezTo>
                          <a:pt x="121896" y="262920"/>
                          <a:pt x="122170" y="263751"/>
                          <a:pt x="122453" y="264530"/>
                        </a:cubicBezTo>
                        <a:cubicBezTo>
                          <a:pt x="123167" y="266946"/>
                          <a:pt x="127107" y="266863"/>
                          <a:pt x="127264" y="264233"/>
                        </a:cubicBezTo>
                        <a:cubicBezTo>
                          <a:pt x="128104" y="262021"/>
                          <a:pt x="127638" y="258586"/>
                          <a:pt x="127618" y="256747"/>
                        </a:cubicBezTo>
                        <a:cubicBezTo>
                          <a:pt x="125605" y="220852"/>
                          <a:pt x="123147" y="184958"/>
                          <a:pt x="120671" y="149083"/>
                        </a:cubicBezTo>
                        <a:cubicBezTo>
                          <a:pt x="119343" y="131377"/>
                          <a:pt x="118247" y="113639"/>
                          <a:pt x="116180" y="96002"/>
                        </a:cubicBezTo>
                        <a:cubicBezTo>
                          <a:pt x="115326" y="88527"/>
                          <a:pt x="112034" y="80120"/>
                          <a:pt x="104950" y="76600"/>
                        </a:cubicBezTo>
                        <a:cubicBezTo>
                          <a:pt x="100218" y="71477"/>
                          <a:pt x="102308" y="67854"/>
                          <a:pt x="106529" y="63377"/>
                        </a:cubicBezTo>
                        <a:cubicBezTo>
                          <a:pt x="128826" y="69950"/>
                          <a:pt x="130134" y="98266"/>
                          <a:pt x="131087" y="117691"/>
                        </a:cubicBezTo>
                        <a:cubicBezTo>
                          <a:pt x="132101" y="138561"/>
                          <a:pt x="133189" y="159425"/>
                          <a:pt x="133971" y="180306"/>
                        </a:cubicBezTo>
                        <a:cubicBezTo>
                          <a:pt x="132612" y="205659"/>
                          <a:pt x="132481" y="231100"/>
                          <a:pt x="132669" y="256467"/>
                        </a:cubicBezTo>
                        <a:cubicBezTo>
                          <a:pt x="131576" y="257469"/>
                          <a:pt x="131304" y="259231"/>
                          <a:pt x="131950" y="260753"/>
                        </a:cubicBezTo>
                        <a:cubicBezTo>
                          <a:pt x="132067" y="263545"/>
                          <a:pt x="131433" y="268282"/>
                          <a:pt x="132407" y="271637"/>
                        </a:cubicBezTo>
                        <a:cubicBezTo>
                          <a:pt x="129217" y="270255"/>
                          <a:pt x="126022" y="269085"/>
                          <a:pt x="122821" y="268134"/>
                        </a:cubicBezTo>
                        <a:cubicBezTo>
                          <a:pt x="122861" y="266341"/>
                          <a:pt x="122281" y="264844"/>
                          <a:pt x="121833" y="263183"/>
                        </a:cubicBezTo>
                        <a:cubicBezTo>
                          <a:pt x="121473" y="262426"/>
                          <a:pt x="120191" y="262426"/>
                          <a:pt x="119832" y="263183"/>
                        </a:cubicBezTo>
                        <a:cubicBezTo>
                          <a:pt x="119478" y="264490"/>
                          <a:pt x="119052" y="265707"/>
                          <a:pt x="118884" y="267077"/>
                        </a:cubicBezTo>
                        <a:cubicBezTo>
                          <a:pt x="85493" y="259379"/>
                          <a:pt x="60497" y="273028"/>
                          <a:pt x="38391" y="306230"/>
                        </a:cubicBezTo>
                        <a:cubicBezTo>
                          <a:pt x="-17462" y="388021"/>
                          <a:pt x="-12816" y="548484"/>
                          <a:pt x="55244" y="616010"/>
                        </a:cubicBezTo>
                        <a:lnTo>
                          <a:pt x="55121" y="616118"/>
                        </a:lnTo>
                        <a:cubicBezTo>
                          <a:pt x="99136" y="666989"/>
                          <a:pt x="157999" y="689072"/>
                          <a:pt x="200638" y="627174"/>
                        </a:cubicBezTo>
                        <a:cubicBezTo>
                          <a:pt x="213110" y="629930"/>
                          <a:pt x="226031" y="631868"/>
                          <a:pt x="238677" y="633256"/>
                        </a:cubicBezTo>
                        <a:cubicBezTo>
                          <a:pt x="205526" y="664279"/>
                          <a:pt x="230174" y="725335"/>
                          <a:pt x="276296" y="723748"/>
                        </a:cubicBezTo>
                        <a:cubicBezTo>
                          <a:pt x="327021" y="724770"/>
                          <a:pt x="348599" y="655933"/>
                          <a:pt x="307374" y="627671"/>
                        </a:cubicBezTo>
                        <a:cubicBezTo>
                          <a:pt x="310512" y="619116"/>
                          <a:pt x="315860" y="610759"/>
                          <a:pt x="317262" y="601839"/>
                        </a:cubicBezTo>
                        <a:cubicBezTo>
                          <a:pt x="317944" y="598144"/>
                          <a:pt x="320291" y="594035"/>
                          <a:pt x="319092" y="590286"/>
                        </a:cubicBezTo>
                        <a:cubicBezTo>
                          <a:pt x="320114" y="587876"/>
                          <a:pt x="319557" y="584904"/>
                          <a:pt x="319766" y="582311"/>
                        </a:cubicBezTo>
                        <a:cubicBezTo>
                          <a:pt x="338982" y="588281"/>
                          <a:pt x="358907" y="591631"/>
                          <a:pt x="378509" y="596082"/>
                        </a:cubicBezTo>
                        <a:cubicBezTo>
                          <a:pt x="372915" y="609134"/>
                          <a:pt x="379568" y="624681"/>
                          <a:pt x="381173" y="638079"/>
                        </a:cubicBezTo>
                        <a:cubicBezTo>
                          <a:pt x="382147" y="644817"/>
                          <a:pt x="381713" y="651899"/>
                          <a:pt x="386096" y="657567"/>
                        </a:cubicBezTo>
                        <a:cubicBezTo>
                          <a:pt x="389682" y="662204"/>
                          <a:pt x="395864" y="665624"/>
                          <a:pt x="401851" y="665087"/>
                        </a:cubicBezTo>
                        <a:cubicBezTo>
                          <a:pt x="402705" y="669528"/>
                          <a:pt x="403245" y="674050"/>
                          <a:pt x="404264" y="678456"/>
                        </a:cubicBezTo>
                        <a:cubicBezTo>
                          <a:pt x="404307" y="678636"/>
                          <a:pt x="404476" y="679424"/>
                          <a:pt x="404496" y="679487"/>
                        </a:cubicBezTo>
                        <a:cubicBezTo>
                          <a:pt x="405155" y="681774"/>
                          <a:pt x="407439" y="680952"/>
                          <a:pt x="409178" y="680803"/>
                        </a:cubicBezTo>
                        <a:cubicBezTo>
                          <a:pt x="409515" y="682616"/>
                          <a:pt x="409784" y="684804"/>
                          <a:pt x="410595" y="686468"/>
                        </a:cubicBezTo>
                        <a:cubicBezTo>
                          <a:pt x="412642" y="689629"/>
                          <a:pt x="417727" y="687999"/>
                          <a:pt x="419320" y="685212"/>
                        </a:cubicBezTo>
                        <a:cubicBezTo>
                          <a:pt x="421339" y="684458"/>
                          <a:pt x="419846" y="681880"/>
                          <a:pt x="419523" y="680332"/>
                        </a:cubicBezTo>
                        <a:cubicBezTo>
                          <a:pt x="421945" y="678996"/>
                          <a:pt x="420337" y="675458"/>
                          <a:pt x="420014" y="673345"/>
                        </a:cubicBezTo>
                        <a:cubicBezTo>
                          <a:pt x="426727" y="675270"/>
                          <a:pt x="435008" y="671803"/>
                          <a:pt x="441855" y="670875"/>
                        </a:cubicBezTo>
                        <a:cubicBezTo>
                          <a:pt x="448711" y="669011"/>
                          <a:pt x="456666" y="668268"/>
                          <a:pt x="462196" y="663580"/>
                        </a:cubicBezTo>
                        <a:cubicBezTo>
                          <a:pt x="471659" y="669151"/>
                          <a:pt x="490581" y="660096"/>
                          <a:pt x="501235" y="658178"/>
                        </a:cubicBezTo>
                        <a:cubicBezTo>
                          <a:pt x="491381" y="673482"/>
                          <a:pt x="500135" y="679901"/>
                          <a:pt x="515857" y="679621"/>
                        </a:cubicBezTo>
                        <a:cubicBezTo>
                          <a:pt x="538403" y="681709"/>
                          <a:pt x="561086" y="679964"/>
                          <a:pt x="582549" y="672434"/>
                        </a:cubicBezTo>
                        <a:cubicBezTo>
                          <a:pt x="577107" y="681126"/>
                          <a:pt x="593974" y="677328"/>
                          <a:pt x="598071" y="677043"/>
                        </a:cubicBezTo>
                        <a:cubicBezTo>
                          <a:pt x="603573" y="676340"/>
                          <a:pt x="609076" y="675638"/>
                          <a:pt x="614578" y="674936"/>
                        </a:cubicBezTo>
                        <a:cubicBezTo>
                          <a:pt x="646638" y="671555"/>
                          <a:pt x="678318" y="666287"/>
                          <a:pt x="709358" y="657475"/>
                        </a:cubicBezTo>
                        <a:cubicBezTo>
                          <a:pt x="720480" y="654803"/>
                          <a:pt x="731610" y="652096"/>
                          <a:pt x="742469" y="648481"/>
                        </a:cubicBezTo>
                        <a:cubicBezTo>
                          <a:pt x="744259" y="647884"/>
                          <a:pt x="744293" y="645745"/>
                          <a:pt x="743285" y="644749"/>
                        </a:cubicBezTo>
                        <a:cubicBezTo>
                          <a:pt x="743782" y="641925"/>
                          <a:pt x="732778" y="642613"/>
                          <a:pt x="730610" y="642102"/>
                        </a:cubicBezTo>
                        <a:cubicBezTo>
                          <a:pt x="730862" y="641482"/>
                          <a:pt x="730982" y="640823"/>
                          <a:pt x="731059" y="640157"/>
                        </a:cubicBezTo>
                        <a:cubicBezTo>
                          <a:pt x="735096" y="640132"/>
                          <a:pt x="742474" y="642208"/>
                          <a:pt x="745661" y="639812"/>
                        </a:cubicBezTo>
                        <a:cubicBezTo>
                          <a:pt x="751931" y="639541"/>
                          <a:pt x="752668" y="627977"/>
                          <a:pt x="748257" y="625144"/>
                        </a:cubicBezTo>
                        <a:close/>
                        <a:moveTo>
                          <a:pt x="96509" y="73656"/>
                        </a:moveTo>
                        <a:cubicBezTo>
                          <a:pt x="88740" y="72508"/>
                          <a:pt x="80910" y="71786"/>
                          <a:pt x="73058" y="71623"/>
                        </a:cubicBezTo>
                        <a:cubicBezTo>
                          <a:pt x="71465" y="71586"/>
                          <a:pt x="69323" y="71820"/>
                          <a:pt x="68081" y="70624"/>
                        </a:cubicBezTo>
                        <a:cubicBezTo>
                          <a:pt x="64681" y="66412"/>
                          <a:pt x="69340" y="62848"/>
                          <a:pt x="73098" y="61387"/>
                        </a:cubicBezTo>
                        <a:cubicBezTo>
                          <a:pt x="81707" y="61132"/>
                          <a:pt x="90050" y="61375"/>
                          <a:pt x="98576" y="62397"/>
                        </a:cubicBezTo>
                        <a:cubicBezTo>
                          <a:pt x="96035" y="65798"/>
                          <a:pt x="95373" y="69724"/>
                          <a:pt x="96509" y="73656"/>
                        </a:cubicBezTo>
                        <a:close/>
                        <a:moveTo>
                          <a:pt x="607379" y="388147"/>
                        </a:moveTo>
                        <a:cubicBezTo>
                          <a:pt x="607699" y="385212"/>
                          <a:pt x="608062" y="382268"/>
                          <a:pt x="608427" y="379318"/>
                        </a:cubicBezTo>
                        <a:cubicBezTo>
                          <a:pt x="623464" y="389635"/>
                          <a:pt x="626630" y="392162"/>
                          <a:pt x="630927" y="410622"/>
                        </a:cubicBezTo>
                        <a:cubicBezTo>
                          <a:pt x="647311" y="476126"/>
                          <a:pt x="662710" y="541868"/>
                          <a:pt x="678660" y="607478"/>
                        </a:cubicBezTo>
                        <a:cubicBezTo>
                          <a:pt x="676025" y="607135"/>
                          <a:pt x="673369" y="607115"/>
                          <a:pt x="670720" y="607295"/>
                        </a:cubicBezTo>
                        <a:cubicBezTo>
                          <a:pt x="651283" y="540654"/>
                          <a:pt x="642777" y="470744"/>
                          <a:pt x="617376" y="405836"/>
                        </a:cubicBezTo>
                        <a:cubicBezTo>
                          <a:pt x="615129" y="400736"/>
                          <a:pt x="611839" y="395425"/>
                          <a:pt x="606900" y="392630"/>
                        </a:cubicBezTo>
                        <a:cubicBezTo>
                          <a:pt x="607062" y="391137"/>
                          <a:pt x="607217" y="389640"/>
                          <a:pt x="607379" y="388147"/>
                        </a:cubicBezTo>
                        <a:close/>
                        <a:moveTo>
                          <a:pt x="617108" y="538895"/>
                        </a:moveTo>
                        <a:cubicBezTo>
                          <a:pt x="628315" y="540334"/>
                          <a:pt x="639616" y="542496"/>
                          <a:pt x="650852" y="543107"/>
                        </a:cubicBezTo>
                        <a:cubicBezTo>
                          <a:pt x="656103" y="564611"/>
                          <a:pt x="659001" y="586862"/>
                          <a:pt x="666588" y="607692"/>
                        </a:cubicBezTo>
                        <a:cubicBezTo>
                          <a:pt x="648108" y="611478"/>
                          <a:pt x="634445" y="608417"/>
                          <a:pt x="618649" y="598198"/>
                        </a:cubicBezTo>
                        <a:cubicBezTo>
                          <a:pt x="616534" y="587927"/>
                          <a:pt x="615000" y="577517"/>
                          <a:pt x="615429" y="566981"/>
                        </a:cubicBezTo>
                        <a:cubicBezTo>
                          <a:pt x="615437" y="557569"/>
                          <a:pt x="617690" y="548335"/>
                          <a:pt x="617108" y="538895"/>
                        </a:cubicBezTo>
                        <a:close/>
                        <a:moveTo>
                          <a:pt x="614098" y="407752"/>
                        </a:moveTo>
                        <a:cubicBezTo>
                          <a:pt x="630528" y="450120"/>
                          <a:pt x="640173" y="494752"/>
                          <a:pt x="649961" y="539024"/>
                        </a:cubicBezTo>
                        <a:cubicBezTo>
                          <a:pt x="636375" y="537416"/>
                          <a:pt x="622764" y="535500"/>
                          <a:pt x="609324" y="533927"/>
                        </a:cubicBezTo>
                        <a:cubicBezTo>
                          <a:pt x="612014" y="522537"/>
                          <a:pt x="600527" y="521515"/>
                          <a:pt x="599236" y="509908"/>
                        </a:cubicBezTo>
                        <a:cubicBezTo>
                          <a:pt x="601900" y="510228"/>
                          <a:pt x="604615" y="510399"/>
                          <a:pt x="607294" y="510356"/>
                        </a:cubicBezTo>
                        <a:cubicBezTo>
                          <a:pt x="606971" y="513388"/>
                          <a:pt x="607374" y="516698"/>
                          <a:pt x="607459" y="519764"/>
                        </a:cubicBezTo>
                        <a:cubicBezTo>
                          <a:pt x="604173" y="523973"/>
                          <a:pt x="640793" y="524681"/>
                          <a:pt x="644647" y="525735"/>
                        </a:cubicBezTo>
                        <a:cubicBezTo>
                          <a:pt x="647052" y="525712"/>
                          <a:pt x="647106" y="522052"/>
                          <a:pt x="644647" y="522012"/>
                        </a:cubicBezTo>
                        <a:cubicBezTo>
                          <a:pt x="633189" y="521027"/>
                          <a:pt x="621665" y="519419"/>
                          <a:pt x="610152" y="519290"/>
                        </a:cubicBezTo>
                        <a:cubicBezTo>
                          <a:pt x="610552" y="516281"/>
                          <a:pt x="611451" y="513012"/>
                          <a:pt x="610717" y="510025"/>
                        </a:cubicBezTo>
                        <a:cubicBezTo>
                          <a:pt x="611200" y="509594"/>
                          <a:pt x="611811" y="509405"/>
                          <a:pt x="611954" y="508669"/>
                        </a:cubicBezTo>
                        <a:cubicBezTo>
                          <a:pt x="611991" y="506616"/>
                          <a:pt x="612999" y="502161"/>
                          <a:pt x="610849" y="501116"/>
                        </a:cubicBezTo>
                        <a:cubicBezTo>
                          <a:pt x="610455" y="498104"/>
                          <a:pt x="608624" y="495314"/>
                          <a:pt x="607551" y="492519"/>
                        </a:cubicBezTo>
                        <a:cubicBezTo>
                          <a:pt x="606617" y="488593"/>
                          <a:pt x="602622" y="487610"/>
                          <a:pt x="599110" y="487059"/>
                        </a:cubicBezTo>
                        <a:cubicBezTo>
                          <a:pt x="600849" y="456881"/>
                          <a:pt x="603328" y="426746"/>
                          <a:pt x="606471" y="396682"/>
                        </a:cubicBezTo>
                        <a:cubicBezTo>
                          <a:pt x="609909" y="399588"/>
                          <a:pt x="612211" y="403460"/>
                          <a:pt x="614098" y="407752"/>
                        </a:cubicBezTo>
                        <a:close/>
                        <a:moveTo>
                          <a:pt x="602380" y="576372"/>
                        </a:moveTo>
                        <a:cubicBezTo>
                          <a:pt x="601857" y="566598"/>
                          <a:pt x="601446" y="556924"/>
                          <a:pt x="602083" y="547127"/>
                        </a:cubicBezTo>
                        <a:cubicBezTo>
                          <a:pt x="604610" y="544252"/>
                          <a:pt x="606717" y="541037"/>
                          <a:pt x="608179" y="537425"/>
                        </a:cubicBezTo>
                        <a:cubicBezTo>
                          <a:pt x="610052" y="537879"/>
                          <a:pt x="612002" y="538176"/>
                          <a:pt x="613924" y="538444"/>
                        </a:cubicBezTo>
                        <a:cubicBezTo>
                          <a:pt x="614052" y="548367"/>
                          <a:pt x="612051" y="558203"/>
                          <a:pt x="611865" y="568126"/>
                        </a:cubicBezTo>
                        <a:cubicBezTo>
                          <a:pt x="611677" y="577154"/>
                          <a:pt x="612753" y="586080"/>
                          <a:pt x="614355" y="594960"/>
                        </a:cubicBezTo>
                        <a:cubicBezTo>
                          <a:pt x="609332" y="590771"/>
                          <a:pt x="604901" y="585663"/>
                          <a:pt x="602334" y="579604"/>
                        </a:cubicBezTo>
                        <a:cubicBezTo>
                          <a:pt x="602611" y="578576"/>
                          <a:pt x="602431" y="577531"/>
                          <a:pt x="602380" y="576372"/>
                        </a:cubicBezTo>
                        <a:close/>
                        <a:moveTo>
                          <a:pt x="598833" y="507229"/>
                        </a:moveTo>
                        <a:cubicBezTo>
                          <a:pt x="598202" y="501479"/>
                          <a:pt x="598616" y="495680"/>
                          <a:pt x="598942" y="489923"/>
                        </a:cubicBezTo>
                        <a:cubicBezTo>
                          <a:pt x="602437" y="490357"/>
                          <a:pt x="604119" y="491585"/>
                          <a:pt x="604510" y="495123"/>
                        </a:cubicBezTo>
                        <a:cubicBezTo>
                          <a:pt x="605486" y="497681"/>
                          <a:pt x="605763" y="502301"/>
                          <a:pt x="608596" y="503398"/>
                        </a:cubicBezTo>
                        <a:cubicBezTo>
                          <a:pt x="608653" y="504523"/>
                          <a:pt x="608724" y="505668"/>
                          <a:pt x="608896" y="506787"/>
                        </a:cubicBezTo>
                        <a:cubicBezTo>
                          <a:pt x="605541" y="506910"/>
                          <a:pt x="602188" y="507092"/>
                          <a:pt x="598833" y="507229"/>
                        </a:cubicBezTo>
                        <a:close/>
                        <a:moveTo>
                          <a:pt x="579003" y="296887"/>
                        </a:moveTo>
                        <a:cubicBezTo>
                          <a:pt x="579003" y="296887"/>
                          <a:pt x="585199" y="302946"/>
                          <a:pt x="588243" y="306398"/>
                        </a:cubicBezTo>
                        <a:cubicBezTo>
                          <a:pt x="596692" y="315981"/>
                          <a:pt x="602483" y="327696"/>
                          <a:pt x="603919" y="341259"/>
                        </a:cubicBezTo>
                        <a:cubicBezTo>
                          <a:pt x="605418" y="353891"/>
                          <a:pt x="603145" y="366641"/>
                          <a:pt x="601654" y="379167"/>
                        </a:cubicBezTo>
                        <a:cubicBezTo>
                          <a:pt x="597183" y="418157"/>
                          <a:pt x="593088" y="457272"/>
                          <a:pt x="591081" y="496476"/>
                        </a:cubicBezTo>
                        <a:cubicBezTo>
                          <a:pt x="590599" y="506676"/>
                          <a:pt x="591332" y="517780"/>
                          <a:pt x="598562" y="525698"/>
                        </a:cubicBezTo>
                        <a:cubicBezTo>
                          <a:pt x="600013" y="527288"/>
                          <a:pt x="602180" y="528682"/>
                          <a:pt x="601929" y="531094"/>
                        </a:cubicBezTo>
                        <a:cubicBezTo>
                          <a:pt x="600292" y="544049"/>
                          <a:pt x="579420" y="549620"/>
                          <a:pt x="580411" y="555625"/>
                        </a:cubicBezTo>
                        <a:cubicBezTo>
                          <a:pt x="562585" y="560108"/>
                          <a:pt x="543782" y="558994"/>
                          <a:pt x="525694" y="556718"/>
                        </a:cubicBezTo>
                        <a:cubicBezTo>
                          <a:pt x="525477" y="546365"/>
                          <a:pt x="519346" y="537585"/>
                          <a:pt x="518472" y="527400"/>
                        </a:cubicBezTo>
                        <a:cubicBezTo>
                          <a:pt x="523112" y="479036"/>
                          <a:pt x="527453" y="430158"/>
                          <a:pt x="519343" y="381802"/>
                        </a:cubicBezTo>
                        <a:cubicBezTo>
                          <a:pt x="521719" y="379227"/>
                          <a:pt x="521485" y="375629"/>
                          <a:pt x="520685" y="372417"/>
                        </a:cubicBezTo>
                        <a:cubicBezTo>
                          <a:pt x="520037" y="367649"/>
                          <a:pt x="519812" y="362829"/>
                          <a:pt x="519903" y="358020"/>
                        </a:cubicBezTo>
                        <a:cubicBezTo>
                          <a:pt x="520000" y="353015"/>
                          <a:pt x="512256" y="353021"/>
                          <a:pt x="512131" y="358020"/>
                        </a:cubicBezTo>
                        <a:cubicBezTo>
                          <a:pt x="511997" y="363648"/>
                          <a:pt x="512333" y="368993"/>
                          <a:pt x="512956" y="374653"/>
                        </a:cubicBezTo>
                        <a:cubicBezTo>
                          <a:pt x="486915" y="368151"/>
                          <a:pt x="465020" y="345163"/>
                          <a:pt x="437084" y="346425"/>
                        </a:cubicBezTo>
                        <a:cubicBezTo>
                          <a:pt x="435131" y="333781"/>
                          <a:pt x="431324" y="320649"/>
                          <a:pt x="424980" y="309182"/>
                        </a:cubicBezTo>
                        <a:cubicBezTo>
                          <a:pt x="422958" y="305528"/>
                          <a:pt x="418664" y="298797"/>
                          <a:pt x="418664" y="298797"/>
                        </a:cubicBezTo>
                        <a:cubicBezTo>
                          <a:pt x="411066" y="289175"/>
                          <a:pt x="401129" y="281900"/>
                          <a:pt x="388477" y="279307"/>
                        </a:cubicBezTo>
                        <a:cubicBezTo>
                          <a:pt x="385196" y="278787"/>
                          <a:pt x="383906" y="283159"/>
                          <a:pt x="387095" y="284321"/>
                        </a:cubicBezTo>
                        <a:cubicBezTo>
                          <a:pt x="393405" y="286479"/>
                          <a:pt x="398856" y="289406"/>
                          <a:pt x="403568" y="292941"/>
                        </a:cubicBezTo>
                        <a:cubicBezTo>
                          <a:pt x="405221" y="294183"/>
                          <a:pt x="407719" y="296887"/>
                          <a:pt x="407719" y="296887"/>
                        </a:cubicBezTo>
                        <a:cubicBezTo>
                          <a:pt x="421185" y="309873"/>
                          <a:pt x="428546" y="329070"/>
                          <a:pt x="430525" y="347870"/>
                        </a:cubicBezTo>
                        <a:cubicBezTo>
                          <a:pt x="434765" y="381266"/>
                          <a:pt x="435065" y="415104"/>
                          <a:pt x="434362" y="448723"/>
                        </a:cubicBezTo>
                        <a:cubicBezTo>
                          <a:pt x="434440" y="469884"/>
                          <a:pt x="430117" y="491100"/>
                          <a:pt x="432792" y="512186"/>
                        </a:cubicBezTo>
                        <a:cubicBezTo>
                          <a:pt x="435148" y="533150"/>
                          <a:pt x="453293" y="534187"/>
                          <a:pt x="429388" y="551462"/>
                        </a:cubicBezTo>
                        <a:cubicBezTo>
                          <a:pt x="424557" y="555008"/>
                          <a:pt x="419001" y="557518"/>
                          <a:pt x="414215" y="561093"/>
                        </a:cubicBezTo>
                        <a:cubicBezTo>
                          <a:pt x="410931" y="561256"/>
                          <a:pt x="407645" y="561256"/>
                          <a:pt x="404358" y="561207"/>
                        </a:cubicBezTo>
                        <a:cubicBezTo>
                          <a:pt x="402994" y="561281"/>
                          <a:pt x="401743" y="561261"/>
                          <a:pt x="400584" y="560596"/>
                        </a:cubicBezTo>
                        <a:cubicBezTo>
                          <a:pt x="393697" y="525441"/>
                          <a:pt x="387261" y="490177"/>
                          <a:pt x="379308" y="455245"/>
                        </a:cubicBezTo>
                        <a:cubicBezTo>
                          <a:pt x="375325" y="438087"/>
                          <a:pt x="365577" y="420250"/>
                          <a:pt x="347771" y="414650"/>
                        </a:cubicBezTo>
                        <a:cubicBezTo>
                          <a:pt x="349182" y="403515"/>
                          <a:pt x="348731" y="391813"/>
                          <a:pt x="345755" y="380949"/>
                        </a:cubicBezTo>
                        <a:cubicBezTo>
                          <a:pt x="345119" y="374787"/>
                          <a:pt x="345530" y="368728"/>
                          <a:pt x="345093" y="362586"/>
                        </a:cubicBezTo>
                        <a:cubicBezTo>
                          <a:pt x="344956" y="360556"/>
                          <a:pt x="341655" y="359776"/>
                          <a:pt x="341287" y="362072"/>
                        </a:cubicBezTo>
                        <a:cubicBezTo>
                          <a:pt x="340387" y="367486"/>
                          <a:pt x="340490" y="372922"/>
                          <a:pt x="340419" y="378405"/>
                        </a:cubicBezTo>
                        <a:cubicBezTo>
                          <a:pt x="337272" y="376763"/>
                          <a:pt x="334006" y="374401"/>
                          <a:pt x="330368" y="374356"/>
                        </a:cubicBezTo>
                        <a:cubicBezTo>
                          <a:pt x="327844" y="374284"/>
                          <a:pt x="327110" y="378419"/>
                          <a:pt x="329643" y="378921"/>
                        </a:cubicBezTo>
                        <a:cubicBezTo>
                          <a:pt x="333069" y="381020"/>
                          <a:pt x="336444" y="383187"/>
                          <a:pt x="339922" y="385166"/>
                        </a:cubicBezTo>
                        <a:cubicBezTo>
                          <a:pt x="339973" y="386739"/>
                          <a:pt x="340253" y="388327"/>
                          <a:pt x="340424" y="389897"/>
                        </a:cubicBezTo>
                        <a:cubicBezTo>
                          <a:pt x="336201" y="390074"/>
                          <a:pt x="332144" y="392053"/>
                          <a:pt x="328044" y="393004"/>
                        </a:cubicBezTo>
                        <a:cubicBezTo>
                          <a:pt x="326776" y="356664"/>
                          <a:pt x="325611" y="320310"/>
                          <a:pt x="325445" y="283947"/>
                        </a:cubicBezTo>
                        <a:cubicBezTo>
                          <a:pt x="325445" y="283650"/>
                          <a:pt x="325217" y="268776"/>
                          <a:pt x="324868" y="266586"/>
                        </a:cubicBezTo>
                        <a:cubicBezTo>
                          <a:pt x="326359" y="266549"/>
                          <a:pt x="327772" y="266498"/>
                          <a:pt x="329177" y="266364"/>
                        </a:cubicBezTo>
                        <a:cubicBezTo>
                          <a:pt x="329177" y="266364"/>
                          <a:pt x="333272" y="266207"/>
                          <a:pt x="335368" y="265969"/>
                        </a:cubicBezTo>
                        <a:cubicBezTo>
                          <a:pt x="341527" y="269227"/>
                          <a:pt x="347243" y="273268"/>
                          <a:pt x="352463" y="277871"/>
                        </a:cubicBezTo>
                        <a:cubicBezTo>
                          <a:pt x="355346" y="280146"/>
                          <a:pt x="357117" y="280715"/>
                          <a:pt x="359038" y="279338"/>
                        </a:cubicBezTo>
                        <a:cubicBezTo>
                          <a:pt x="362388" y="276494"/>
                          <a:pt x="361257" y="271001"/>
                          <a:pt x="359432" y="267534"/>
                        </a:cubicBezTo>
                        <a:cubicBezTo>
                          <a:pt x="362099" y="270238"/>
                          <a:pt x="366556" y="272328"/>
                          <a:pt x="369620" y="268982"/>
                        </a:cubicBezTo>
                        <a:cubicBezTo>
                          <a:pt x="369934" y="268539"/>
                          <a:pt x="370146" y="268077"/>
                          <a:pt x="370283" y="267606"/>
                        </a:cubicBezTo>
                        <a:cubicBezTo>
                          <a:pt x="370557" y="267863"/>
                          <a:pt x="370862" y="268065"/>
                          <a:pt x="370979" y="268148"/>
                        </a:cubicBezTo>
                        <a:cubicBezTo>
                          <a:pt x="372567" y="269256"/>
                          <a:pt x="379982" y="267471"/>
                          <a:pt x="377081" y="260450"/>
                        </a:cubicBezTo>
                        <a:cubicBezTo>
                          <a:pt x="377769" y="259728"/>
                          <a:pt x="378175" y="258754"/>
                          <a:pt x="378489" y="257900"/>
                        </a:cubicBezTo>
                        <a:cubicBezTo>
                          <a:pt x="396332" y="267075"/>
                          <a:pt x="410352" y="259499"/>
                          <a:pt x="426416" y="251841"/>
                        </a:cubicBezTo>
                        <a:cubicBezTo>
                          <a:pt x="426793" y="251901"/>
                          <a:pt x="427176" y="251827"/>
                          <a:pt x="427521" y="251656"/>
                        </a:cubicBezTo>
                        <a:cubicBezTo>
                          <a:pt x="434628" y="254411"/>
                          <a:pt x="450035" y="258400"/>
                          <a:pt x="449227" y="258080"/>
                        </a:cubicBezTo>
                        <a:cubicBezTo>
                          <a:pt x="469989" y="261909"/>
                          <a:pt x="489836" y="266306"/>
                          <a:pt x="509826" y="272380"/>
                        </a:cubicBezTo>
                        <a:cubicBezTo>
                          <a:pt x="530388" y="277705"/>
                          <a:pt x="552163" y="280189"/>
                          <a:pt x="570708" y="291368"/>
                        </a:cubicBezTo>
                        <a:cubicBezTo>
                          <a:pt x="573692" y="293092"/>
                          <a:pt x="576453" y="294934"/>
                          <a:pt x="579003" y="296887"/>
                        </a:cubicBezTo>
                        <a:close/>
                        <a:moveTo>
                          <a:pt x="598351" y="569867"/>
                        </a:moveTo>
                        <a:cubicBezTo>
                          <a:pt x="597083" y="567126"/>
                          <a:pt x="594944" y="563374"/>
                          <a:pt x="592283" y="561584"/>
                        </a:cubicBezTo>
                        <a:cubicBezTo>
                          <a:pt x="593223" y="559397"/>
                          <a:pt x="593163" y="557001"/>
                          <a:pt x="593602" y="554691"/>
                        </a:cubicBezTo>
                        <a:cubicBezTo>
                          <a:pt x="595293" y="553472"/>
                          <a:pt x="596926" y="552173"/>
                          <a:pt x="598465" y="550782"/>
                        </a:cubicBezTo>
                        <a:cubicBezTo>
                          <a:pt x="598219" y="557141"/>
                          <a:pt x="598174" y="563506"/>
                          <a:pt x="598351" y="569867"/>
                        </a:cubicBezTo>
                        <a:close/>
                        <a:moveTo>
                          <a:pt x="588289" y="560659"/>
                        </a:moveTo>
                        <a:cubicBezTo>
                          <a:pt x="582658" y="562695"/>
                          <a:pt x="579654" y="570578"/>
                          <a:pt x="579348" y="576172"/>
                        </a:cubicBezTo>
                        <a:cubicBezTo>
                          <a:pt x="576008" y="576612"/>
                          <a:pt x="572944" y="577905"/>
                          <a:pt x="569992" y="579590"/>
                        </a:cubicBezTo>
                        <a:cubicBezTo>
                          <a:pt x="566868" y="579832"/>
                          <a:pt x="563573" y="581143"/>
                          <a:pt x="560666" y="581803"/>
                        </a:cubicBezTo>
                        <a:cubicBezTo>
                          <a:pt x="550133" y="584321"/>
                          <a:pt x="539174" y="584230"/>
                          <a:pt x="528489" y="583170"/>
                        </a:cubicBezTo>
                        <a:cubicBezTo>
                          <a:pt x="527889" y="580495"/>
                          <a:pt x="525371" y="578722"/>
                          <a:pt x="525731" y="575558"/>
                        </a:cubicBezTo>
                        <a:cubicBezTo>
                          <a:pt x="525745" y="570627"/>
                          <a:pt x="526142" y="565710"/>
                          <a:pt x="525925" y="560770"/>
                        </a:cubicBezTo>
                        <a:cubicBezTo>
                          <a:pt x="537009" y="563685"/>
                          <a:pt x="548591" y="564722"/>
                          <a:pt x="560046" y="564088"/>
                        </a:cubicBezTo>
                        <a:cubicBezTo>
                          <a:pt x="569732" y="563192"/>
                          <a:pt x="579585" y="563597"/>
                          <a:pt x="588309" y="558160"/>
                        </a:cubicBezTo>
                        <a:cubicBezTo>
                          <a:pt x="588223" y="558988"/>
                          <a:pt x="588171" y="559854"/>
                          <a:pt x="588289" y="560659"/>
                        </a:cubicBezTo>
                        <a:close/>
                        <a:moveTo>
                          <a:pt x="527887" y="586457"/>
                        </a:moveTo>
                        <a:cubicBezTo>
                          <a:pt x="538351" y="588847"/>
                          <a:pt x="549216" y="588344"/>
                          <a:pt x="559658" y="586431"/>
                        </a:cubicBezTo>
                        <a:cubicBezTo>
                          <a:pt x="553353" y="590603"/>
                          <a:pt x="547586" y="595534"/>
                          <a:pt x="541695" y="600260"/>
                        </a:cubicBezTo>
                        <a:cubicBezTo>
                          <a:pt x="537086" y="603855"/>
                          <a:pt x="530331" y="610093"/>
                          <a:pt x="524417" y="605965"/>
                        </a:cubicBezTo>
                        <a:cubicBezTo>
                          <a:pt x="528186" y="601876"/>
                          <a:pt x="528172" y="591845"/>
                          <a:pt x="527887" y="586457"/>
                        </a:cubicBezTo>
                        <a:close/>
                        <a:moveTo>
                          <a:pt x="451752" y="357586"/>
                        </a:moveTo>
                        <a:cubicBezTo>
                          <a:pt x="458096" y="356010"/>
                          <a:pt x="462222" y="358768"/>
                          <a:pt x="467779" y="361364"/>
                        </a:cubicBezTo>
                        <a:cubicBezTo>
                          <a:pt x="473355" y="364051"/>
                          <a:pt x="478803" y="366995"/>
                          <a:pt x="484297" y="369844"/>
                        </a:cubicBezTo>
                        <a:cubicBezTo>
                          <a:pt x="469266" y="369216"/>
                          <a:pt x="454042" y="370752"/>
                          <a:pt x="439862" y="375915"/>
                        </a:cubicBezTo>
                        <a:cubicBezTo>
                          <a:pt x="439579" y="370441"/>
                          <a:pt x="439231" y="364953"/>
                          <a:pt x="438714" y="359485"/>
                        </a:cubicBezTo>
                        <a:cubicBezTo>
                          <a:pt x="443037" y="358708"/>
                          <a:pt x="447389" y="358097"/>
                          <a:pt x="451752" y="357586"/>
                        </a:cubicBezTo>
                        <a:close/>
                        <a:moveTo>
                          <a:pt x="438488" y="357232"/>
                        </a:moveTo>
                        <a:cubicBezTo>
                          <a:pt x="438297" y="355382"/>
                          <a:pt x="438080" y="353535"/>
                          <a:pt x="437840" y="351693"/>
                        </a:cubicBezTo>
                        <a:cubicBezTo>
                          <a:pt x="442349" y="352667"/>
                          <a:pt x="446880" y="353449"/>
                          <a:pt x="451312" y="354748"/>
                        </a:cubicBezTo>
                        <a:cubicBezTo>
                          <a:pt x="446989" y="355336"/>
                          <a:pt x="442726" y="356204"/>
                          <a:pt x="438488" y="357232"/>
                        </a:cubicBezTo>
                        <a:close/>
                        <a:moveTo>
                          <a:pt x="469806" y="652932"/>
                        </a:moveTo>
                        <a:cubicBezTo>
                          <a:pt x="464221" y="653632"/>
                          <a:pt x="458587" y="654057"/>
                          <a:pt x="453139" y="655628"/>
                        </a:cubicBezTo>
                        <a:cubicBezTo>
                          <a:pt x="451580" y="655948"/>
                          <a:pt x="449841" y="655988"/>
                          <a:pt x="448285" y="656430"/>
                        </a:cubicBezTo>
                        <a:cubicBezTo>
                          <a:pt x="446620" y="651145"/>
                          <a:pt x="446238" y="643618"/>
                          <a:pt x="452968" y="642119"/>
                        </a:cubicBezTo>
                        <a:cubicBezTo>
                          <a:pt x="458187" y="642422"/>
                          <a:pt x="463393" y="642376"/>
                          <a:pt x="468638" y="642296"/>
                        </a:cubicBezTo>
                        <a:cubicBezTo>
                          <a:pt x="466174" y="645326"/>
                          <a:pt x="466973" y="650197"/>
                          <a:pt x="469806" y="652932"/>
                        </a:cubicBezTo>
                        <a:close/>
                        <a:moveTo>
                          <a:pt x="470460" y="642416"/>
                        </a:moveTo>
                        <a:cubicBezTo>
                          <a:pt x="472590" y="642319"/>
                          <a:pt x="474589" y="642382"/>
                          <a:pt x="475205" y="644912"/>
                        </a:cubicBezTo>
                        <a:cubicBezTo>
                          <a:pt x="475665" y="646548"/>
                          <a:pt x="475928" y="649906"/>
                          <a:pt x="474857" y="651388"/>
                        </a:cubicBezTo>
                        <a:cubicBezTo>
                          <a:pt x="472099" y="654654"/>
                          <a:pt x="467287" y="645668"/>
                          <a:pt x="470460" y="642416"/>
                        </a:cubicBezTo>
                        <a:close/>
                        <a:moveTo>
                          <a:pt x="472119" y="639703"/>
                        </a:moveTo>
                        <a:cubicBezTo>
                          <a:pt x="469292" y="638441"/>
                          <a:pt x="465637" y="639469"/>
                          <a:pt x="462565" y="639372"/>
                        </a:cubicBezTo>
                        <a:cubicBezTo>
                          <a:pt x="460754" y="639432"/>
                          <a:pt x="458950" y="639546"/>
                          <a:pt x="457145" y="639678"/>
                        </a:cubicBezTo>
                        <a:cubicBezTo>
                          <a:pt x="454147" y="634318"/>
                          <a:pt x="439845" y="640012"/>
                          <a:pt x="434240" y="639835"/>
                        </a:cubicBezTo>
                        <a:cubicBezTo>
                          <a:pt x="444191" y="636757"/>
                          <a:pt x="451726" y="628128"/>
                          <a:pt x="461957" y="625552"/>
                        </a:cubicBezTo>
                        <a:cubicBezTo>
                          <a:pt x="469912" y="623682"/>
                          <a:pt x="481567" y="624302"/>
                          <a:pt x="486513" y="631500"/>
                        </a:cubicBezTo>
                        <a:cubicBezTo>
                          <a:pt x="487466" y="634121"/>
                          <a:pt x="486281" y="636186"/>
                          <a:pt x="485490" y="638624"/>
                        </a:cubicBezTo>
                        <a:cubicBezTo>
                          <a:pt x="482669" y="639709"/>
                          <a:pt x="479908" y="640937"/>
                          <a:pt x="477218" y="642387"/>
                        </a:cubicBezTo>
                        <a:cubicBezTo>
                          <a:pt x="476199" y="640797"/>
                          <a:pt x="473998" y="639429"/>
                          <a:pt x="472119" y="639703"/>
                        </a:cubicBezTo>
                        <a:close/>
                        <a:moveTo>
                          <a:pt x="476876" y="619876"/>
                        </a:moveTo>
                        <a:cubicBezTo>
                          <a:pt x="455626" y="615287"/>
                          <a:pt x="446161" y="629481"/>
                          <a:pt x="429703" y="638050"/>
                        </a:cubicBezTo>
                        <a:cubicBezTo>
                          <a:pt x="428603" y="638527"/>
                          <a:pt x="428814" y="639772"/>
                          <a:pt x="429554" y="640406"/>
                        </a:cubicBezTo>
                        <a:cubicBezTo>
                          <a:pt x="425063" y="641197"/>
                          <a:pt x="420266" y="641248"/>
                          <a:pt x="415934" y="642633"/>
                        </a:cubicBezTo>
                        <a:cubicBezTo>
                          <a:pt x="411994" y="620850"/>
                          <a:pt x="407908" y="599095"/>
                          <a:pt x="403773" y="577348"/>
                        </a:cubicBezTo>
                        <a:cubicBezTo>
                          <a:pt x="414041" y="580055"/>
                          <a:pt x="425445" y="578142"/>
                          <a:pt x="433988" y="571575"/>
                        </a:cubicBezTo>
                        <a:cubicBezTo>
                          <a:pt x="434548" y="572597"/>
                          <a:pt x="435739" y="572960"/>
                          <a:pt x="436841" y="572740"/>
                        </a:cubicBezTo>
                        <a:cubicBezTo>
                          <a:pt x="439505" y="578248"/>
                          <a:pt x="442760" y="583165"/>
                          <a:pt x="446106" y="588210"/>
                        </a:cubicBezTo>
                        <a:cubicBezTo>
                          <a:pt x="452243" y="596502"/>
                          <a:pt x="457271" y="607030"/>
                          <a:pt x="466982" y="611615"/>
                        </a:cubicBezTo>
                        <a:cubicBezTo>
                          <a:pt x="472990" y="614068"/>
                          <a:pt x="480465" y="615436"/>
                          <a:pt x="483414" y="621975"/>
                        </a:cubicBezTo>
                        <a:cubicBezTo>
                          <a:pt x="481319" y="621015"/>
                          <a:pt x="479080" y="620338"/>
                          <a:pt x="476876" y="619876"/>
                        </a:cubicBezTo>
                        <a:close/>
                        <a:moveTo>
                          <a:pt x="403153" y="574096"/>
                        </a:moveTo>
                        <a:cubicBezTo>
                          <a:pt x="402628" y="571338"/>
                          <a:pt x="402100" y="568580"/>
                          <a:pt x="401574" y="565821"/>
                        </a:cubicBezTo>
                        <a:cubicBezTo>
                          <a:pt x="407762" y="566575"/>
                          <a:pt x="411819" y="565836"/>
                          <a:pt x="417484" y="566310"/>
                        </a:cubicBezTo>
                        <a:cubicBezTo>
                          <a:pt x="423746" y="564708"/>
                          <a:pt x="429137" y="561692"/>
                          <a:pt x="434322" y="557878"/>
                        </a:cubicBezTo>
                        <a:cubicBezTo>
                          <a:pt x="434437" y="560665"/>
                          <a:pt x="434400" y="563337"/>
                          <a:pt x="433857" y="566118"/>
                        </a:cubicBezTo>
                        <a:cubicBezTo>
                          <a:pt x="422656" y="573231"/>
                          <a:pt x="416922" y="575775"/>
                          <a:pt x="403153" y="574096"/>
                        </a:cubicBezTo>
                        <a:close/>
                        <a:moveTo>
                          <a:pt x="328540" y="407589"/>
                        </a:moveTo>
                        <a:cubicBezTo>
                          <a:pt x="328403" y="403620"/>
                          <a:pt x="328286" y="399651"/>
                          <a:pt x="328138" y="395682"/>
                        </a:cubicBezTo>
                        <a:cubicBezTo>
                          <a:pt x="332378" y="395257"/>
                          <a:pt x="336821" y="395060"/>
                          <a:pt x="340781" y="393218"/>
                        </a:cubicBezTo>
                        <a:cubicBezTo>
                          <a:pt x="341421" y="399765"/>
                          <a:pt x="341704" y="406333"/>
                          <a:pt x="342355" y="412872"/>
                        </a:cubicBezTo>
                        <a:cubicBezTo>
                          <a:pt x="337783" y="411644"/>
                          <a:pt x="333118" y="410530"/>
                          <a:pt x="328406" y="410656"/>
                        </a:cubicBezTo>
                        <a:cubicBezTo>
                          <a:pt x="328663" y="409642"/>
                          <a:pt x="328569" y="408394"/>
                          <a:pt x="328540" y="407589"/>
                        </a:cubicBezTo>
                        <a:close/>
                        <a:moveTo>
                          <a:pt x="569677" y="251276"/>
                        </a:moveTo>
                        <a:cubicBezTo>
                          <a:pt x="571416" y="251521"/>
                          <a:pt x="573152" y="251767"/>
                          <a:pt x="574891" y="252013"/>
                        </a:cubicBezTo>
                        <a:cubicBezTo>
                          <a:pt x="574920" y="252201"/>
                          <a:pt x="574946" y="252392"/>
                          <a:pt x="574971" y="252581"/>
                        </a:cubicBezTo>
                        <a:cubicBezTo>
                          <a:pt x="576476" y="263731"/>
                          <a:pt x="577335" y="276412"/>
                          <a:pt x="577818" y="288113"/>
                        </a:cubicBezTo>
                        <a:cubicBezTo>
                          <a:pt x="575020" y="286245"/>
                          <a:pt x="572122" y="284572"/>
                          <a:pt x="569143" y="283062"/>
                        </a:cubicBezTo>
                        <a:cubicBezTo>
                          <a:pt x="568629" y="278656"/>
                          <a:pt x="568113" y="274239"/>
                          <a:pt x="567350" y="269873"/>
                        </a:cubicBezTo>
                        <a:cubicBezTo>
                          <a:pt x="565666" y="263403"/>
                          <a:pt x="563938" y="256924"/>
                          <a:pt x="563630" y="250125"/>
                        </a:cubicBezTo>
                        <a:cubicBezTo>
                          <a:pt x="565203" y="251179"/>
                          <a:pt x="567961" y="251033"/>
                          <a:pt x="569677" y="251276"/>
                        </a:cubicBezTo>
                        <a:close/>
                        <a:moveTo>
                          <a:pt x="559809" y="257518"/>
                        </a:moveTo>
                        <a:cubicBezTo>
                          <a:pt x="560729" y="265387"/>
                          <a:pt x="563887" y="272662"/>
                          <a:pt x="564144" y="280712"/>
                        </a:cubicBezTo>
                        <a:cubicBezTo>
                          <a:pt x="550652" y="274827"/>
                          <a:pt x="535822" y="271883"/>
                          <a:pt x="521305" y="269667"/>
                        </a:cubicBezTo>
                        <a:cubicBezTo>
                          <a:pt x="490022" y="260250"/>
                          <a:pt x="462071" y="253069"/>
                          <a:pt x="428689" y="249217"/>
                        </a:cubicBezTo>
                        <a:cubicBezTo>
                          <a:pt x="427898" y="247495"/>
                          <a:pt x="426890" y="245856"/>
                          <a:pt x="426062" y="244149"/>
                        </a:cubicBezTo>
                        <a:cubicBezTo>
                          <a:pt x="454718" y="249023"/>
                          <a:pt x="483449" y="253560"/>
                          <a:pt x="512328" y="256898"/>
                        </a:cubicBezTo>
                        <a:cubicBezTo>
                          <a:pt x="525539" y="257889"/>
                          <a:pt x="547797" y="262063"/>
                          <a:pt x="559809" y="257518"/>
                        </a:cubicBezTo>
                        <a:close/>
                        <a:moveTo>
                          <a:pt x="444713" y="218028"/>
                        </a:moveTo>
                        <a:cubicBezTo>
                          <a:pt x="470865" y="220064"/>
                          <a:pt x="514820" y="225675"/>
                          <a:pt x="535799" y="232773"/>
                        </a:cubicBezTo>
                        <a:cubicBezTo>
                          <a:pt x="550084" y="237330"/>
                          <a:pt x="558108" y="242656"/>
                          <a:pt x="558396" y="247767"/>
                        </a:cubicBezTo>
                        <a:lnTo>
                          <a:pt x="558504" y="247761"/>
                        </a:lnTo>
                        <a:cubicBezTo>
                          <a:pt x="558165" y="249743"/>
                          <a:pt x="557528" y="251293"/>
                          <a:pt x="557068" y="253583"/>
                        </a:cubicBezTo>
                        <a:cubicBezTo>
                          <a:pt x="543437" y="256367"/>
                          <a:pt x="529103" y="253554"/>
                          <a:pt x="515369" y="252469"/>
                        </a:cubicBezTo>
                        <a:cubicBezTo>
                          <a:pt x="484574" y="249026"/>
                          <a:pt x="453964" y="244106"/>
                          <a:pt x="423432" y="238861"/>
                        </a:cubicBezTo>
                        <a:cubicBezTo>
                          <a:pt x="422233" y="236365"/>
                          <a:pt x="421074" y="233850"/>
                          <a:pt x="419946" y="231311"/>
                        </a:cubicBezTo>
                        <a:cubicBezTo>
                          <a:pt x="458901" y="235694"/>
                          <a:pt x="497683" y="241585"/>
                          <a:pt x="536630" y="245996"/>
                        </a:cubicBezTo>
                        <a:cubicBezTo>
                          <a:pt x="537592" y="246051"/>
                          <a:pt x="536690" y="246011"/>
                          <a:pt x="537178" y="245959"/>
                        </a:cubicBezTo>
                        <a:cubicBezTo>
                          <a:pt x="537423" y="245934"/>
                          <a:pt x="537669" y="245916"/>
                          <a:pt x="537912" y="245896"/>
                        </a:cubicBezTo>
                        <a:cubicBezTo>
                          <a:pt x="540147" y="245537"/>
                          <a:pt x="539474" y="243030"/>
                          <a:pt x="537535" y="242747"/>
                        </a:cubicBezTo>
                        <a:cubicBezTo>
                          <a:pt x="498014" y="236311"/>
                          <a:pt x="457659" y="231608"/>
                          <a:pt x="417779" y="226320"/>
                        </a:cubicBezTo>
                        <a:cubicBezTo>
                          <a:pt x="416305" y="222857"/>
                          <a:pt x="414858" y="219350"/>
                          <a:pt x="413476" y="215838"/>
                        </a:cubicBezTo>
                        <a:cubicBezTo>
                          <a:pt x="418961" y="216132"/>
                          <a:pt x="429046" y="216735"/>
                          <a:pt x="441432" y="217754"/>
                        </a:cubicBezTo>
                        <a:cubicBezTo>
                          <a:pt x="442352" y="218488"/>
                          <a:pt x="443674" y="218619"/>
                          <a:pt x="444713" y="218028"/>
                        </a:cubicBezTo>
                        <a:close/>
                        <a:moveTo>
                          <a:pt x="438466" y="212329"/>
                        </a:moveTo>
                        <a:cubicBezTo>
                          <a:pt x="425622" y="211312"/>
                          <a:pt x="415669" y="210767"/>
                          <a:pt x="411428" y="210556"/>
                        </a:cubicBezTo>
                        <a:cubicBezTo>
                          <a:pt x="409318" y="204996"/>
                          <a:pt x="407325" y="199391"/>
                          <a:pt x="405401" y="193763"/>
                        </a:cubicBezTo>
                        <a:cubicBezTo>
                          <a:pt x="412291" y="191610"/>
                          <a:pt x="418958" y="188655"/>
                          <a:pt x="425597" y="185817"/>
                        </a:cubicBezTo>
                        <a:lnTo>
                          <a:pt x="438466" y="212329"/>
                        </a:lnTo>
                        <a:close/>
                        <a:moveTo>
                          <a:pt x="305909" y="79267"/>
                        </a:moveTo>
                        <a:cubicBezTo>
                          <a:pt x="310894" y="65278"/>
                          <a:pt x="312633" y="46202"/>
                          <a:pt x="302677" y="34049"/>
                        </a:cubicBezTo>
                        <a:cubicBezTo>
                          <a:pt x="303136" y="32956"/>
                          <a:pt x="303884" y="32031"/>
                          <a:pt x="304524" y="30951"/>
                        </a:cubicBezTo>
                        <a:cubicBezTo>
                          <a:pt x="321839" y="45808"/>
                          <a:pt x="321730" y="73365"/>
                          <a:pt x="315640" y="93669"/>
                        </a:cubicBezTo>
                        <a:cubicBezTo>
                          <a:pt x="314529" y="89529"/>
                          <a:pt x="314989" y="84438"/>
                          <a:pt x="311471" y="81448"/>
                        </a:cubicBezTo>
                        <a:cubicBezTo>
                          <a:pt x="308804" y="79361"/>
                          <a:pt x="306232" y="80820"/>
                          <a:pt x="304524" y="83033"/>
                        </a:cubicBezTo>
                        <a:cubicBezTo>
                          <a:pt x="304890" y="81762"/>
                          <a:pt x="305361" y="80512"/>
                          <a:pt x="305909" y="79267"/>
                        </a:cubicBezTo>
                        <a:close/>
                        <a:moveTo>
                          <a:pt x="221059" y="47744"/>
                        </a:moveTo>
                        <a:cubicBezTo>
                          <a:pt x="221602" y="38221"/>
                          <a:pt x="223655" y="26728"/>
                          <a:pt x="232966" y="21948"/>
                        </a:cubicBezTo>
                        <a:cubicBezTo>
                          <a:pt x="232769" y="24373"/>
                          <a:pt x="232486" y="26785"/>
                          <a:pt x="232072" y="29181"/>
                        </a:cubicBezTo>
                        <a:cubicBezTo>
                          <a:pt x="231578" y="28170"/>
                          <a:pt x="230191" y="24016"/>
                          <a:pt x="229100" y="26426"/>
                        </a:cubicBezTo>
                        <a:cubicBezTo>
                          <a:pt x="234083" y="56184"/>
                          <a:pt x="282349" y="66632"/>
                          <a:pt x="298651" y="90248"/>
                        </a:cubicBezTo>
                        <a:cubicBezTo>
                          <a:pt x="282072" y="81645"/>
                          <a:pt x="272661" y="77205"/>
                          <a:pt x="265360" y="99197"/>
                        </a:cubicBezTo>
                        <a:cubicBezTo>
                          <a:pt x="253984" y="82488"/>
                          <a:pt x="235190" y="72976"/>
                          <a:pt x="223406" y="56590"/>
                        </a:cubicBezTo>
                        <a:cubicBezTo>
                          <a:pt x="220545" y="53980"/>
                          <a:pt x="220354" y="51387"/>
                          <a:pt x="221059" y="47744"/>
                        </a:cubicBezTo>
                        <a:close/>
                        <a:moveTo>
                          <a:pt x="279785" y="87958"/>
                        </a:moveTo>
                        <a:cubicBezTo>
                          <a:pt x="279585" y="87927"/>
                          <a:pt x="279428" y="87876"/>
                          <a:pt x="279785" y="87958"/>
                        </a:cubicBezTo>
                        <a:lnTo>
                          <a:pt x="279785" y="87958"/>
                        </a:lnTo>
                        <a:close/>
                        <a:moveTo>
                          <a:pt x="187329" y="69898"/>
                        </a:moveTo>
                        <a:cubicBezTo>
                          <a:pt x="195413" y="61735"/>
                          <a:pt x="204650" y="55239"/>
                          <a:pt x="214352" y="49166"/>
                        </a:cubicBezTo>
                        <a:cubicBezTo>
                          <a:pt x="213347" y="54479"/>
                          <a:pt x="216160" y="58757"/>
                          <a:pt x="219612" y="62474"/>
                        </a:cubicBezTo>
                        <a:cubicBezTo>
                          <a:pt x="232284" y="79235"/>
                          <a:pt x="251894" y="89121"/>
                          <a:pt x="264269" y="106181"/>
                        </a:cubicBezTo>
                        <a:cubicBezTo>
                          <a:pt x="265397" y="107680"/>
                          <a:pt x="268421" y="107940"/>
                          <a:pt x="268826" y="105584"/>
                        </a:cubicBezTo>
                        <a:cubicBezTo>
                          <a:pt x="270083" y="99288"/>
                          <a:pt x="272687" y="91805"/>
                          <a:pt x="278415" y="88275"/>
                        </a:cubicBezTo>
                        <a:cubicBezTo>
                          <a:pt x="281973" y="87447"/>
                          <a:pt x="288226" y="91525"/>
                          <a:pt x="291766" y="92884"/>
                        </a:cubicBezTo>
                        <a:cubicBezTo>
                          <a:pt x="293919" y="93949"/>
                          <a:pt x="296044" y="95088"/>
                          <a:pt x="297991" y="96496"/>
                        </a:cubicBezTo>
                        <a:cubicBezTo>
                          <a:pt x="299022" y="97307"/>
                          <a:pt x="300218" y="98335"/>
                          <a:pt x="301566" y="97747"/>
                        </a:cubicBezTo>
                        <a:cubicBezTo>
                          <a:pt x="313458" y="122314"/>
                          <a:pt x="320320" y="149331"/>
                          <a:pt x="329491" y="175189"/>
                        </a:cubicBezTo>
                        <a:cubicBezTo>
                          <a:pt x="331387" y="180532"/>
                          <a:pt x="335536" y="189532"/>
                          <a:pt x="335536" y="189532"/>
                        </a:cubicBezTo>
                        <a:cubicBezTo>
                          <a:pt x="341572" y="204437"/>
                          <a:pt x="348868" y="218713"/>
                          <a:pt x="358930" y="231623"/>
                        </a:cubicBezTo>
                        <a:cubicBezTo>
                          <a:pt x="360318" y="233170"/>
                          <a:pt x="362882" y="231169"/>
                          <a:pt x="361799" y="229410"/>
                        </a:cubicBezTo>
                        <a:cubicBezTo>
                          <a:pt x="348799" y="211701"/>
                          <a:pt x="340501" y="191816"/>
                          <a:pt x="333343" y="171389"/>
                        </a:cubicBezTo>
                        <a:cubicBezTo>
                          <a:pt x="331918" y="167323"/>
                          <a:pt x="329174" y="161061"/>
                          <a:pt x="329174" y="161061"/>
                        </a:cubicBezTo>
                        <a:cubicBezTo>
                          <a:pt x="321845" y="139203"/>
                          <a:pt x="315149" y="117032"/>
                          <a:pt x="304815" y="96490"/>
                        </a:cubicBezTo>
                        <a:cubicBezTo>
                          <a:pt x="305858" y="92970"/>
                          <a:pt x="305983" y="89095"/>
                          <a:pt x="308613" y="86128"/>
                        </a:cubicBezTo>
                        <a:cubicBezTo>
                          <a:pt x="310469" y="91602"/>
                          <a:pt x="309521" y="98118"/>
                          <a:pt x="314843" y="101810"/>
                        </a:cubicBezTo>
                        <a:cubicBezTo>
                          <a:pt x="316040" y="102669"/>
                          <a:pt x="318013" y="102047"/>
                          <a:pt x="318675" y="100805"/>
                        </a:cubicBezTo>
                        <a:cubicBezTo>
                          <a:pt x="326976" y="83561"/>
                          <a:pt x="326939" y="62386"/>
                          <a:pt x="320848" y="44426"/>
                        </a:cubicBezTo>
                        <a:cubicBezTo>
                          <a:pt x="324660" y="44380"/>
                          <a:pt x="328438" y="43983"/>
                          <a:pt x="332287" y="44323"/>
                        </a:cubicBezTo>
                        <a:cubicBezTo>
                          <a:pt x="354433" y="46927"/>
                          <a:pt x="366351" y="62937"/>
                          <a:pt x="375040" y="81671"/>
                        </a:cubicBezTo>
                        <a:cubicBezTo>
                          <a:pt x="378129" y="88335"/>
                          <a:pt x="384351" y="102215"/>
                          <a:pt x="384351" y="102215"/>
                        </a:cubicBezTo>
                        <a:cubicBezTo>
                          <a:pt x="396483" y="128282"/>
                          <a:pt x="410006" y="153694"/>
                          <a:pt x="422210" y="179732"/>
                        </a:cubicBezTo>
                        <a:cubicBezTo>
                          <a:pt x="416037" y="182633"/>
                          <a:pt x="409595" y="184926"/>
                          <a:pt x="403293" y="187499"/>
                        </a:cubicBezTo>
                        <a:cubicBezTo>
                          <a:pt x="393571" y="159565"/>
                          <a:pt x="386681" y="130523"/>
                          <a:pt x="378463" y="102215"/>
                        </a:cubicBezTo>
                        <a:cubicBezTo>
                          <a:pt x="378463" y="102215"/>
                          <a:pt x="378055" y="99408"/>
                          <a:pt x="377512" y="98009"/>
                        </a:cubicBezTo>
                        <a:cubicBezTo>
                          <a:pt x="376827" y="96247"/>
                          <a:pt x="376245" y="93332"/>
                          <a:pt x="374780" y="92024"/>
                        </a:cubicBezTo>
                        <a:cubicBezTo>
                          <a:pt x="372116" y="89652"/>
                          <a:pt x="368270" y="93112"/>
                          <a:pt x="370051" y="95691"/>
                        </a:cubicBezTo>
                        <a:cubicBezTo>
                          <a:pt x="370720" y="97218"/>
                          <a:pt x="371348" y="98760"/>
                          <a:pt x="371967" y="100308"/>
                        </a:cubicBezTo>
                        <a:lnTo>
                          <a:pt x="371907" y="100308"/>
                        </a:lnTo>
                        <a:cubicBezTo>
                          <a:pt x="382481" y="140220"/>
                          <a:pt x="392966" y="180326"/>
                          <a:pt x="408062" y="218808"/>
                        </a:cubicBezTo>
                        <a:cubicBezTo>
                          <a:pt x="412054" y="228901"/>
                          <a:pt x="416185" y="239386"/>
                          <a:pt x="422807" y="248098"/>
                        </a:cubicBezTo>
                        <a:cubicBezTo>
                          <a:pt x="404844" y="256941"/>
                          <a:pt x="398428" y="258608"/>
                          <a:pt x="378823" y="256575"/>
                        </a:cubicBezTo>
                        <a:cubicBezTo>
                          <a:pt x="379762" y="248580"/>
                          <a:pt x="372587" y="241953"/>
                          <a:pt x="366488" y="237836"/>
                        </a:cubicBezTo>
                        <a:cubicBezTo>
                          <a:pt x="361206" y="233347"/>
                          <a:pt x="353493" y="230398"/>
                          <a:pt x="345073" y="228933"/>
                        </a:cubicBezTo>
                        <a:cubicBezTo>
                          <a:pt x="341961" y="228390"/>
                          <a:pt x="335536" y="227474"/>
                          <a:pt x="335536" y="227474"/>
                        </a:cubicBezTo>
                        <a:cubicBezTo>
                          <a:pt x="324597" y="226808"/>
                          <a:pt x="313496" y="228707"/>
                          <a:pt x="303719" y="233281"/>
                        </a:cubicBezTo>
                        <a:cubicBezTo>
                          <a:pt x="274589" y="243378"/>
                          <a:pt x="244796" y="227551"/>
                          <a:pt x="215234" y="227682"/>
                        </a:cubicBezTo>
                        <a:cubicBezTo>
                          <a:pt x="217079" y="223956"/>
                          <a:pt x="217367" y="219639"/>
                          <a:pt x="218067" y="215587"/>
                        </a:cubicBezTo>
                        <a:cubicBezTo>
                          <a:pt x="220334" y="191827"/>
                          <a:pt x="220377" y="167683"/>
                          <a:pt x="219552" y="143832"/>
                        </a:cubicBezTo>
                        <a:cubicBezTo>
                          <a:pt x="219146" y="136391"/>
                          <a:pt x="218444" y="129821"/>
                          <a:pt x="217342" y="122662"/>
                        </a:cubicBezTo>
                        <a:cubicBezTo>
                          <a:pt x="216891" y="119747"/>
                          <a:pt x="212293" y="120521"/>
                          <a:pt x="212291" y="123345"/>
                        </a:cubicBezTo>
                        <a:cubicBezTo>
                          <a:pt x="211374" y="145665"/>
                          <a:pt x="210626" y="168002"/>
                          <a:pt x="210003" y="190340"/>
                        </a:cubicBezTo>
                        <a:cubicBezTo>
                          <a:pt x="209652" y="202364"/>
                          <a:pt x="208404" y="214502"/>
                          <a:pt x="210203" y="226463"/>
                        </a:cubicBezTo>
                        <a:cubicBezTo>
                          <a:pt x="189999" y="223616"/>
                          <a:pt x="170340" y="231023"/>
                          <a:pt x="151289" y="236742"/>
                        </a:cubicBezTo>
                        <a:cubicBezTo>
                          <a:pt x="148659" y="237736"/>
                          <a:pt x="145678" y="238156"/>
                          <a:pt x="143354" y="239723"/>
                        </a:cubicBezTo>
                        <a:cubicBezTo>
                          <a:pt x="142546" y="240551"/>
                          <a:pt x="143777" y="241770"/>
                          <a:pt x="144619" y="240988"/>
                        </a:cubicBezTo>
                        <a:cubicBezTo>
                          <a:pt x="165106" y="238801"/>
                          <a:pt x="185116" y="229478"/>
                          <a:pt x="206149" y="230794"/>
                        </a:cubicBezTo>
                        <a:cubicBezTo>
                          <a:pt x="213433" y="231654"/>
                          <a:pt x="220848" y="231371"/>
                          <a:pt x="228118" y="232553"/>
                        </a:cubicBezTo>
                        <a:cubicBezTo>
                          <a:pt x="247586" y="234863"/>
                          <a:pt x="266636" y="241611"/>
                          <a:pt x="286378" y="241334"/>
                        </a:cubicBezTo>
                        <a:cubicBezTo>
                          <a:pt x="293006" y="241288"/>
                          <a:pt x="299476" y="239817"/>
                          <a:pt x="305635" y="237567"/>
                        </a:cubicBezTo>
                        <a:cubicBezTo>
                          <a:pt x="312916" y="233781"/>
                          <a:pt x="320994" y="232091"/>
                          <a:pt x="329177" y="231994"/>
                        </a:cubicBezTo>
                        <a:cubicBezTo>
                          <a:pt x="329177" y="231994"/>
                          <a:pt x="341015" y="232890"/>
                          <a:pt x="346675" y="234261"/>
                        </a:cubicBezTo>
                        <a:cubicBezTo>
                          <a:pt x="352828" y="235646"/>
                          <a:pt x="359221" y="237385"/>
                          <a:pt x="363930" y="241836"/>
                        </a:cubicBezTo>
                        <a:cubicBezTo>
                          <a:pt x="368978" y="245262"/>
                          <a:pt x="374280" y="250234"/>
                          <a:pt x="375057" y="256515"/>
                        </a:cubicBezTo>
                        <a:cubicBezTo>
                          <a:pt x="370508" y="249814"/>
                          <a:pt x="364349" y="244106"/>
                          <a:pt x="357719" y="239629"/>
                        </a:cubicBezTo>
                        <a:cubicBezTo>
                          <a:pt x="356132" y="238727"/>
                          <a:pt x="354707" y="241165"/>
                          <a:pt x="356289" y="242076"/>
                        </a:cubicBezTo>
                        <a:cubicBezTo>
                          <a:pt x="362528" y="246308"/>
                          <a:pt x="372236" y="255216"/>
                          <a:pt x="374617" y="262403"/>
                        </a:cubicBezTo>
                        <a:cubicBezTo>
                          <a:pt x="375268" y="264936"/>
                          <a:pt x="373572" y="265758"/>
                          <a:pt x="371468" y="266595"/>
                        </a:cubicBezTo>
                        <a:cubicBezTo>
                          <a:pt x="371145" y="266746"/>
                          <a:pt x="370754" y="266809"/>
                          <a:pt x="370437" y="266855"/>
                        </a:cubicBezTo>
                        <a:cubicBezTo>
                          <a:pt x="370988" y="261661"/>
                          <a:pt x="362536" y="255276"/>
                          <a:pt x="359324" y="252435"/>
                        </a:cubicBezTo>
                        <a:cubicBezTo>
                          <a:pt x="356306" y="249982"/>
                          <a:pt x="353162" y="247513"/>
                          <a:pt x="349767" y="245594"/>
                        </a:cubicBezTo>
                        <a:cubicBezTo>
                          <a:pt x="348177" y="244697"/>
                          <a:pt x="346752" y="247136"/>
                          <a:pt x="348337" y="248041"/>
                        </a:cubicBezTo>
                        <a:cubicBezTo>
                          <a:pt x="353094" y="250719"/>
                          <a:pt x="367059" y="261058"/>
                          <a:pt x="367579" y="266412"/>
                        </a:cubicBezTo>
                        <a:cubicBezTo>
                          <a:pt x="367510" y="267640"/>
                          <a:pt x="365763" y="267880"/>
                          <a:pt x="364709" y="267608"/>
                        </a:cubicBezTo>
                        <a:cubicBezTo>
                          <a:pt x="363615" y="267329"/>
                          <a:pt x="362776" y="266483"/>
                          <a:pt x="361919" y="265801"/>
                        </a:cubicBezTo>
                        <a:cubicBezTo>
                          <a:pt x="359649" y="264014"/>
                          <a:pt x="356825" y="261698"/>
                          <a:pt x="354484" y="260473"/>
                        </a:cubicBezTo>
                        <a:cubicBezTo>
                          <a:pt x="354247" y="260282"/>
                          <a:pt x="353984" y="260227"/>
                          <a:pt x="353739" y="260262"/>
                        </a:cubicBezTo>
                        <a:cubicBezTo>
                          <a:pt x="350215" y="256955"/>
                          <a:pt x="345907" y="254380"/>
                          <a:pt x="341338" y="253029"/>
                        </a:cubicBezTo>
                        <a:cubicBezTo>
                          <a:pt x="339199" y="252395"/>
                          <a:pt x="338369" y="255607"/>
                          <a:pt x="340427" y="256336"/>
                        </a:cubicBezTo>
                        <a:cubicBezTo>
                          <a:pt x="348396" y="259508"/>
                          <a:pt x="358133" y="267574"/>
                          <a:pt x="356948" y="277023"/>
                        </a:cubicBezTo>
                        <a:cubicBezTo>
                          <a:pt x="351974" y="271812"/>
                          <a:pt x="345944" y="267700"/>
                          <a:pt x="339756" y="264062"/>
                        </a:cubicBezTo>
                        <a:cubicBezTo>
                          <a:pt x="338440" y="263317"/>
                          <a:pt x="337589" y="262243"/>
                          <a:pt x="335999" y="261866"/>
                        </a:cubicBezTo>
                        <a:lnTo>
                          <a:pt x="335542" y="261781"/>
                        </a:lnTo>
                        <a:cubicBezTo>
                          <a:pt x="334137" y="261578"/>
                          <a:pt x="332789" y="261704"/>
                          <a:pt x="331601" y="262335"/>
                        </a:cubicBezTo>
                        <a:cubicBezTo>
                          <a:pt x="325802" y="262769"/>
                          <a:pt x="320003" y="263003"/>
                          <a:pt x="314189" y="262712"/>
                        </a:cubicBezTo>
                        <a:cubicBezTo>
                          <a:pt x="312485" y="262629"/>
                          <a:pt x="310646" y="262620"/>
                          <a:pt x="309001" y="262101"/>
                        </a:cubicBezTo>
                        <a:cubicBezTo>
                          <a:pt x="308327" y="261886"/>
                          <a:pt x="307771" y="262046"/>
                          <a:pt x="307374" y="262395"/>
                        </a:cubicBezTo>
                        <a:cubicBezTo>
                          <a:pt x="298191" y="263014"/>
                          <a:pt x="289028" y="264176"/>
                          <a:pt x="279825" y="264667"/>
                        </a:cubicBezTo>
                        <a:cubicBezTo>
                          <a:pt x="276230" y="265161"/>
                          <a:pt x="272261" y="264699"/>
                          <a:pt x="268744" y="264836"/>
                        </a:cubicBezTo>
                        <a:cubicBezTo>
                          <a:pt x="264906" y="265176"/>
                          <a:pt x="261080" y="265644"/>
                          <a:pt x="257248" y="266052"/>
                        </a:cubicBezTo>
                        <a:cubicBezTo>
                          <a:pt x="222707" y="268556"/>
                          <a:pt x="170234" y="278173"/>
                          <a:pt x="139990" y="259111"/>
                        </a:cubicBezTo>
                        <a:cubicBezTo>
                          <a:pt x="141364" y="256321"/>
                          <a:pt x="141033" y="252238"/>
                          <a:pt x="141004" y="249457"/>
                        </a:cubicBezTo>
                        <a:cubicBezTo>
                          <a:pt x="141432" y="215141"/>
                          <a:pt x="141389" y="180632"/>
                          <a:pt x="146061" y="146573"/>
                        </a:cubicBezTo>
                        <a:cubicBezTo>
                          <a:pt x="150829" y="117543"/>
                          <a:pt x="167539" y="91179"/>
                          <a:pt x="187329" y="69898"/>
                        </a:cubicBezTo>
                        <a:close/>
                        <a:moveTo>
                          <a:pt x="137952" y="266409"/>
                        </a:moveTo>
                        <a:cubicBezTo>
                          <a:pt x="137786" y="264656"/>
                          <a:pt x="137358" y="262883"/>
                          <a:pt x="137549" y="261127"/>
                        </a:cubicBezTo>
                        <a:cubicBezTo>
                          <a:pt x="165243" y="284549"/>
                          <a:pt x="218615" y="274010"/>
                          <a:pt x="252582" y="271903"/>
                        </a:cubicBezTo>
                        <a:cubicBezTo>
                          <a:pt x="259404" y="271023"/>
                          <a:pt x="266228" y="271021"/>
                          <a:pt x="272918" y="269193"/>
                        </a:cubicBezTo>
                        <a:cubicBezTo>
                          <a:pt x="275788" y="269844"/>
                          <a:pt x="278732" y="270321"/>
                          <a:pt x="281673" y="270741"/>
                        </a:cubicBezTo>
                        <a:cubicBezTo>
                          <a:pt x="277738" y="290237"/>
                          <a:pt x="256563" y="285937"/>
                          <a:pt x="241801" y="283501"/>
                        </a:cubicBezTo>
                        <a:cubicBezTo>
                          <a:pt x="214509" y="280518"/>
                          <a:pt x="186809" y="281314"/>
                          <a:pt x="159727" y="276346"/>
                        </a:cubicBezTo>
                        <a:cubicBezTo>
                          <a:pt x="152514" y="275027"/>
                          <a:pt x="145407" y="273037"/>
                          <a:pt x="138120" y="272211"/>
                        </a:cubicBezTo>
                        <a:cubicBezTo>
                          <a:pt x="138334" y="270278"/>
                          <a:pt x="138129" y="268379"/>
                          <a:pt x="137952" y="266409"/>
                        </a:cubicBezTo>
                        <a:close/>
                        <a:moveTo>
                          <a:pt x="240464" y="289900"/>
                        </a:moveTo>
                        <a:cubicBezTo>
                          <a:pt x="255749" y="292250"/>
                          <a:pt x="277995" y="295945"/>
                          <a:pt x="285230" y="278070"/>
                        </a:cubicBezTo>
                        <a:cubicBezTo>
                          <a:pt x="292417" y="279224"/>
                          <a:pt x="299382" y="280580"/>
                          <a:pt x="306608" y="281220"/>
                        </a:cubicBezTo>
                        <a:cubicBezTo>
                          <a:pt x="306149" y="309839"/>
                          <a:pt x="305364" y="338467"/>
                          <a:pt x="305466" y="367095"/>
                        </a:cubicBezTo>
                        <a:cubicBezTo>
                          <a:pt x="305475" y="371675"/>
                          <a:pt x="305352" y="376206"/>
                          <a:pt x="303765" y="380538"/>
                        </a:cubicBezTo>
                        <a:cubicBezTo>
                          <a:pt x="273349" y="375718"/>
                          <a:pt x="243074" y="369730"/>
                          <a:pt x="212528" y="365827"/>
                        </a:cubicBezTo>
                        <a:cubicBezTo>
                          <a:pt x="198491" y="332636"/>
                          <a:pt x="177872" y="300990"/>
                          <a:pt x="149893" y="281445"/>
                        </a:cubicBezTo>
                        <a:cubicBezTo>
                          <a:pt x="179605" y="288113"/>
                          <a:pt x="210272" y="287522"/>
                          <a:pt x="240464" y="289900"/>
                        </a:cubicBezTo>
                        <a:close/>
                        <a:moveTo>
                          <a:pt x="286344" y="274541"/>
                        </a:moveTo>
                        <a:cubicBezTo>
                          <a:pt x="286592" y="273528"/>
                          <a:pt x="286787" y="272500"/>
                          <a:pt x="286944" y="271466"/>
                        </a:cubicBezTo>
                        <a:cubicBezTo>
                          <a:pt x="293460" y="272397"/>
                          <a:pt x="300018" y="273268"/>
                          <a:pt x="306534" y="274147"/>
                        </a:cubicBezTo>
                        <a:cubicBezTo>
                          <a:pt x="306563" y="275238"/>
                          <a:pt x="306583" y="276297"/>
                          <a:pt x="306586" y="277374"/>
                        </a:cubicBezTo>
                        <a:cubicBezTo>
                          <a:pt x="299850" y="276129"/>
                          <a:pt x="293068" y="276000"/>
                          <a:pt x="286344" y="274541"/>
                        </a:cubicBezTo>
                        <a:close/>
                        <a:moveTo>
                          <a:pt x="306483" y="269896"/>
                        </a:moveTo>
                        <a:cubicBezTo>
                          <a:pt x="300735" y="269168"/>
                          <a:pt x="295001" y="268202"/>
                          <a:pt x="289242" y="267531"/>
                        </a:cubicBezTo>
                        <a:cubicBezTo>
                          <a:pt x="295090" y="267055"/>
                          <a:pt x="300961" y="266709"/>
                          <a:pt x="306766" y="265830"/>
                        </a:cubicBezTo>
                        <a:cubicBezTo>
                          <a:pt x="306580" y="267163"/>
                          <a:pt x="306503" y="268525"/>
                          <a:pt x="306483" y="269896"/>
                        </a:cubicBezTo>
                        <a:close/>
                        <a:moveTo>
                          <a:pt x="133175" y="88758"/>
                        </a:moveTo>
                        <a:cubicBezTo>
                          <a:pt x="132575" y="86325"/>
                          <a:pt x="131833" y="83927"/>
                          <a:pt x="130936" y="81591"/>
                        </a:cubicBezTo>
                        <a:cubicBezTo>
                          <a:pt x="142377" y="83493"/>
                          <a:pt x="153679" y="84292"/>
                          <a:pt x="165140" y="85837"/>
                        </a:cubicBezTo>
                        <a:cubicBezTo>
                          <a:pt x="152859" y="102940"/>
                          <a:pt x="142389" y="122123"/>
                          <a:pt x="138237" y="142932"/>
                        </a:cubicBezTo>
                        <a:cubicBezTo>
                          <a:pt x="137029" y="124875"/>
                          <a:pt x="137135" y="106484"/>
                          <a:pt x="133175" y="88758"/>
                        </a:cubicBezTo>
                        <a:close/>
                        <a:moveTo>
                          <a:pt x="7014" y="477659"/>
                        </a:moveTo>
                        <a:cubicBezTo>
                          <a:pt x="2223" y="420201"/>
                          <a:pt x="14132" y="368231"/>
                          <a:pt x="36153" y="336451"/>
                        </a:cubicBezTo>
                        <a:cubicBezTo>
                          <a:pt x="-5812" y="429570"/>
                          <a:pt x="18124" y="567212"/>
                          <a:pt x="96323" y="634644"/>
                        </a:cubicBezTo>
                        <a:cubicBezTo>
                          <a:pt x="52197" y="624696"/>
                          <a:pt x="13835" y="559462"/>
                          <a:pt x="7014" y="477659"/>
                        </a:cubicBezTo>
                        <a:close/>
                        <a:moveTo>
                          <a:pt x="49893" y="320498"/>
                        </a:moveTo>
                        <a:cubicBezTo>
                          <a:pt x="69797" y="301616"/>
                          <a:pt x="97226" y="298840"/>
                          <a:pt x="120251" y="313662"/>
                        </a:cubicBezTo>
                        <a:cubicBezTo>
                          <a:pt x="120468" y="323610"/>
                          <a:pt x="121048" y="333550"/>
                          <a:pt x="121779" y="343475"/>
                        </a:cubicBezTo>
                        <a:cubicBezTo>
                          <a:pt x="122273" y="346245"/>
                          <a:pt x="121365" y="350074"/>
                          <a:pt x="123224" y="352290"/>
                        </a:cubicBezTo>
                        <a:cubicBezTo>
                          <a:pt x="123132" y="353383"/>
                          <a:pt x="124183" y="353877"/>
                          <a:pt x="125083" y="354114"/>
                        </a:cubicBezTo>
                        <a:cubicBezTo>
                          <a:pt x="124571" y="360933"/>
                          <a:pt x="124275" y="368488"/>
                          <a:pt x="126405" y="375050"/>
                        </a:cubicBezTo>
                        <a:cubicBezTo>
                          <a:pt x="125856" y="398101"/>
                          <a:pt x="125280" y="421155"/>
                          <a:pt x="124791" y="444203"/>
                        </a:cubicBezTo>
                        <a:cubicBezTo>
                          <a:pt x="121134" y="446982"/>
                          <a:pt x="120488" y="451490"/>
                          <a:pt x="118918" y="455528"/>
                        </a:cubicBezTo>
                        <a:cubicBezTo>
                          <a:pt x="116665" y="451299"/>
                          <a:pt x="111317" y="451739"/>
                          <a:pt x="107205" y="452507"/>
                        </a:cubicBezTo>
                        <a:cubicBezTo>
                          <a:pt x="96461" y="436862"/>
                          <a:pt x="89117" y="455850"/>
                          <a:pt x="88785" y="466001"/>
                        </a:cubicBezTo>
                        <a:cubicBezTo>
                          <a:pt x="88905" y="468651"/>
                          <a:pt x="89919" y="472548"/>
                          <a:pt x="91906" y="475232"/>
                        </a:cubicBezTo>
                        <a:cubicBezTo>
                          <a:pt x="92883" y="479564"/>
                          <a:pt x="96426" y="484475"/>
                          <a:pt x="100361" y="485437"/>
                        </a:cubicBezTo>
                        <a:cubicBezTo>
                          <a:pt x="105489" y="486437"/>
                          <a:pt x="108624" y="478819"/>
                          <a:pt x="110689" y="475152"/>
                        </a:cubicBezTo>
                        <a:cubicBezTo>
                          <a:pt x="113904" y="476612"/>
                          <a:pt x="118073" y="475184"/>
                          <a:pt x="120017" y="472297"/>
                        </a:cubicBezTo>
                        <a:cubicBezTo>
                          <a:pt x="122279" y="475058"/>
                          <a:pt x="124529" y="477762"/>
                          <a:pt x="127267" y="480129"/>
                        </a:cubicBezTo>
                        <a:cubicBezTo>
                          <a:pt x="127076" y="481420"/>
                          <a:pt x="127827" y="482988"/>
                          <a:pt x="129514" y="483173"/>
                        </a:cubicBezTo>
                        <a:cubicBezTo>
                          <a:pt x="134180" y="483681"/>
                          <a:pt x="139265" y="483293"/>
                          <a:pt x="141752" y="478687"/>
                        </a:cubicBezTo>
                        <a:cubicBezTo>
                          <a:pt x="143834" y="473967"/>
                          <a:pt x="144493" y="468528"/>
                          <a:pt x="144448" y="463400"/>
                        </a:cubicBezTo>
                        <a:lnTo>
                          <a:pt x="144482" y="463400"/>
                        </a:lnTo>
                        <a:lnTo>
                          <a:pt x="145141" y="445785"/>
                        </a:lnTo>
                        <a:cubicBezTo>
                          <a:pt x="167370" y="468160"/>
                          <a:pt x="138977" y="515638"/>
                          <a:pt x="122290" y="478428"/>
                        </a:cubicBezTo>
                        <a:cubicBezTo>
                          <a:pt x="121865" y="477180"/>
                          <a:pt x="120508" y="476514"/>
                          <a:pt x="119263" y="476940"/>
                        </a:cubicBezTo>
                        <a:cubicBezTo>
                          <a:pt x="118016" y="477365"/>
                          <a:pt x="117350" y="478722"/>
                          <a:pt x="117776" y="479969"/>
                        </a:cubicBezTo>
                        <a:cubicBezTo>
                          <a:pt x="121311" y="490317"/>
                          <a:pt x="128620" y="496745"/>
                          <a:pt x="136852" y="496745"/>
                        </a:cubicBezTo>
                        <a:cubicBezTo>
                          <a:pt x="142674" y="496745"/>
                          <a:pt x="148085" y="493541"/>
                          <a:pt x="152086" y="487725"/>
                        </a:cubicBezTo>
                        <a:cubicBezTo>
                          <a:pt x="163824" y="471523"/>
                          <a:pt x="156023" y="445974"/>
                          <a:pt x="145373" y="439601"/>
                        </a:cubicBezTo>
                        <a:lnTo>
                          <a:pt x="147614" y="379652"/>
                        </a:lnTo>
                        <a:cubicBezTo>
                          <a:pt x="155695" y="380837"/>
                          <a:pt x="163733" y="383282"/>
                          <a:pt x="171907" y="383356"/>
                        </a:cubicBezTo>
                        <a:cubicBezTo>
                          <a:pt x="198402" y="443926"/>
                          <a:pt x="197220" y="547992"/>
                          <a:pt x="165092" y="596919"/>
                        </a:cubicBezTo>
                        <a:cubicBezTo>
                          <a:pt x="164880" y="596348"/>
                          <a:pt x="164395" y="595880"/>
                          <a:pt x="163576" y="595708"/>
                        </a:cubicBezTo>
                        <a:cubicBezTo>
                          <a:pt x="151026" y="592899"/>
                          <a:pt x="138183" y="591185"/>
                          <a:pt x="125782" y="587808"/>
                        </a:cubicBezTo>
                        <a:cubicBezTo>
                          <a:pt x="117056" y="586100"/>
                          <a:pt x="103011" y="579110"/>
                          <a:pt x="97531" y="589601"/>
                        </a:cubicBezTo>
                        <a:cubicBezTo>
                          <a:pt x="95644" y="593827"/>
                          <a:pt x="96492" y="601485"/>
                          <a:pt x="101769" y="602618"/>
                        </a:cubicBezTo>
                        <a:cubicBezTo>
                          <a:pt x="105178" y="604520"/>
                          <a:pt x="109527" y="605119"/>
                          <a:pt x="113201" y="606267"/>
                        </a:cubicBezTo>
                        <a:cubicBezTo>
                          <a:pt x="119475" y="608220"/>
                          <a:pt x="125785" y="610085"/>
                          <a:pt x="132078" y="611947"/>
                        </a:cubicBezTo>
                        <a:cubicBezTo>
                          <a:pt x="137700" y="614245"/>
                          <a:pt x="143497" y="616592"/>
                          <a:pt x="149701" y="617021"/>
                        </a:cubicBezTo>
                        <a:cubicBezTo>
                          <a:pt x="136792" y="629921"/>
                          <a:pt x="121608" y="636914"/>
                          <a:pt x="104621" y="635852"/>
                        </a:cubicBezTo>
                        <a:lnTo>
                          <a:pt x="104644" y="635817"/>
                        </a:lnTo>
                        <a:cubicBezTo>
                          <a:pt x="18241" y="573982"/>
                          <a:pt x="-5707" y="401116"/>
                          <a:pt x="49901" y="320501"/>
                        </a:cubicBezTo>
                        <a:lnTo>
                          <a:pt x="49893" y="320498"/>
                        </a:lnTo>
                        <a:close/>
                        <a:moveTo>
                          <a:pt x="119769" y="294574"/>
                        </a:moveTo>
                        <a:cubicBezTo>
                          <a:pt x="119823" y="296859"/>
                          <a:pt x="119897" y="299143"/>
                          <a:pt x="119954" y="301427"/>
                        </a:cubicBezTo>
                        <a:cubicBezTo>
                          <a:pt x="103873" y="292784"/>
                          <a:pt x="85770" y="290931"/>
                          <a:pt x="69063" y="297333"/>
                        </a:cubicBezTo>
                        <a:cubicBezTo>
                          <a:pt x="83963" y="287111"/>
                          <a:pt x="102380" y="283561"/>
                          <a:pt x="119635" y="289084"/>
                        </a:cubicBezTo>
                        <a:cubicBezTo>
                          <a:pt x="119523" y="290905"/>
                          <a:pt x="119726" y="292830"/>
                          <a:pt x="119769" y="294574"/>
                        </a:cubicBezTo>
                        <a:close/>
                        <a:moveTo>
                          <a:pt x="158502" y="618151"/>
                        </a:moveTo>
                        <a:cubicBezTo>
                          <a:pt x="158641" y="618722"/>
                          <a:pt x="159070" y="619242"/>
                          <a:pt x="159795" y="619328"/>
                        </a:cubicBezTo>
                        <a:cubicBezTo>
                          <a:pt x="166505" y="620093"/>
                          <a:pt x="173198" y="621021"/>
                          <a:pt x="179922" y="621643"/>
                        </a:cubicBezTo>
                        <a:cubicBezTo>
                          <a:pt x="163453" y="640689"/>
                          <a:pt x="144739" y="647873"/>
                          <a:pt x="120631" y="641011"/>
                        </a:cubicBezTo>
                        <a:cubicBezTo>
                          <a:pt x="134682" y="638179"/>
                          <a:pt x="147483" y="630178"/>
                          <a:pt x="158502" y="618151"/>
                        </a:cubicBezTo>
                        <a:close/>
                        <a:moveTo>
                          <a:pt x="151891" y="613951"/>
                        </a:moveTo>
                        <a:cubicBezTo>
                          <a:pt x="146195" y="611041"/>
                          <a:pt x="139611" y="609974"/>
                          <a:pt x="133360" y="609163"/>
                        </a:cubicBezTo>
                        <a:cubicBezTo>
                          <a:pt x="123307" y="606853"/>
                          <a:pt x="113550" y="603583"/>
                          <a:pt x="103639" y="600748"/>
                        </a:cubicBezTo>
                        <a:cubicBezTo>
                          <a:pt x="103422" y="599460"/>
                          <a:pt x="102437" y="598532"/>
                          <a:pt x="101923" y="597356"/>
                        </a:cubicBezTo>
                        <a:cubicBezTo>
                          <a:pt x="100601" y="594415"/>
                          <a:pt x="101215" y="590137"/>
                          <a:pt x="104618" y="589010"/>
                        </a:cubicBezTo>
                        <a:cubicBezTo>
                          <a:pt x="110226" y="587536"/>
                          <a:pt x="115931" y="590626"/>
                          <a:pt x="121445" y="591442"/>
                        </a:cubicBezTo>
                        <a:cubicBezTo>
                          <a:pt x="135433" y="593695"/>
                          <a:pt x="149056" y="598172"/>
                          <a:pt x="163107" y="600123"/>
                        </a:cubicBezTo>
                        <a:cubicBezTo>
                          <a:pt x="159758" y="605348"/>
                          <a:pt x="156154" y="610088"/>
                          <a:pt x="152317" y="614279"/>
                        </a:cubicBezTo>
                        <a:cubicBezTo>
                          <a:pt x="152203" y="614154"/>
                          <a:pt x="152063" y="614040"/>
                          <a:pt x="151891" y="613951"/>
                        </a:cubicBezTo>
                        <a:close/>
                        <a:moveTo>
                          <a:pt x="178192" y="618839"/>
                        </a:moveTo>
                        <a:cubicBezTo>
                          <a:pt x="172127" y="617988"/>
                          <a:pt x="166037" y="617309"/>
                          <a:pt x="159961" y="616515"/>
                        </a:cubicBezTo>
                        <a:cubicBezTo>
                          <a:pt x="163998" y="611909"/>
                          <a:pt x="167787" y="606756"/>
                          <a:pt x="171299" y="601108"/>
                        </a:cubicBezTo>
                        <a:cubicBezTo>
                          <a:pt x="177364" y="603880"/>
                          <a:pt x="184337" y="603983"/>
                          <a:pt x="190764" y="605613"/>
                        </a:cubicBezTo>
                        <a:lnTo>
                          <a:pt x="181598" y="619365"/>
                        </a:lnTo>
                        <a:cubicBezTo>
                          <a:pt x="180476" y="619088"/>
                          <a:pt x="179254" y="619008"/>
                          <a:pt x="178192" y="618839"/>
                        </a:cubicBezTo>
                        <a:close/>
                        <a:moveTo>
                          <a:pt x="190427" y="601439"/>
                        </a:moveTo>
                        <a:cubicBezTo>
                          <a:pt x="184585" y="600708"/>
                          <a:pt x="178735" y="598618"/>
                          <a:pt x="172750" y="598721"/>
                        </a:cubicBezTo>
                        <a:cubicBezTo>
                          <a:pt x="204924" y="549060"/>
                          <a:pt x="207705" y="447407"/>
                          <a:pt x="182621" y="384898"/>
                        </a:cubicBezTo>
                        <a:cubicBezTo>
                          <a:pt x="185248" y="386382"/>
                          <a:pt x="188625" y="386402"/>
                          <a:pt x="191552" y="387088"/>
                        </a:cubicBezTo>
                        <a:cubicBezTo>
                          <a:pt x="194368" y="387487"/>
                          <a:pt x="197189" y="388321"/>
                          <a:pt x="200018" y="388487"/>
                        </a:cubicBezTo>
                        <a:cubicBezTo>
                          <a:pt x="223980" y="452512"/>
                          <a:pt x="225154" y="553877"/>
                          <a:pt x="193154" y="601936"/>
                        </a:cubicBezTo>
                        <a:cubicBezTo>
                          <a:pt x="192277" y="601719"/>
                          <a:pt x="191355" y="601604"/>
                          <a:pt x="190427" y="601439"/>
                        </a:cubicBezTo>
                        <a:close/>
                        <a:moveTo>
                          <a:pt x="197226" y="384943"/>
                        </a:moveTo>
                        <a:cubicBezTo>
                          <a:pt x="193517" y="384769"/>
                          <a:pt x="184888" y="381800"/>
                          <a:pt x="182141" y="383607"/>
                        </a:cubicBezTo>
                        <a:cubicBezTo>
                          <a:pt x="179269" y="375898"/>
                          <a:pt x="176093" y="368551"/>
                          <a:pt x="172653" y="361624"/>
                        </a:cubicBezTo>
                        <a:cubicBezTo>
                          <a:pt x="178472" y="363434"/>
                          <a:pt x="184697" y="363828"/>
                          <a:pt x="190641" y="365207"/>
                        </a:cubicBezTo>
                        <a:cubicBezTo>
                          <a:pt x="193565" y="371569"/>
                          <a:pt x="196301" y="378228"/>
                          <a:pt x="198825" y="385155"/>
                        </a:cubicBezTo>
                        <a:cubicBezTo>
                          <a:pt x="198285" y="385078"/>
                          <a:pt x="197740" y="385026"/>
                          <a:pt x="197226" y="384943"/>
                        </a:cubicBezTo>
                        <a:close/>
                        <a:moveTo>
                          <a:pt x="181667" y="360099"/>
                        </a:moveTo>
                        <a:cubicBezTo>
                          <a:pt x="178706" y="359602"/>
                          <a:pt x="174209" y="357509"/>
                          <a:pt x="171545" y="359425"/>
                        </a:cubicBezTo>
                        <a:cubicBezTo>
                          <a:pt x="158362" y="333650"/>
                          <a:pt x="141452" y="313894"/>
                          <a:pt x="122761" y="302992"/>
                        </a:cubicBezTo>
                        <a:cubicBezTo>
                          <a:pt x="122456" y="298612"/>
                          <a:pt x="122330" y="294355"/>
                          <a:pt x="122204" y="289937"/>
                        </a:cubicBezTo>
                        <a:cubicBezTo>
                          <a:pt x="147600" y="298972"/>
                          <a:pt x="171442" y="325092"/>
                          <a:pt x="188962" y="361632"/>
                        </a:cubicBezTo>
                        <a:cubicBezTo>
                          <a:pt x="186518" y="361190"/>
                          <a:pt x="184120" y="360619"/>
                          <a:pt x="181667" y="360099"/>
                        </a:cubicBezTo>
                        <a:close/>
                        <a:moveTo>
                          <a:pt x="121730" y="464254"/>
                        </a:moveTo>
                        <a:cubicBezTo>
                          <a:pt x="121499" y="462423"/>
                          <a:pt x="121017" y="460170"/>
                          <a:pt x="120208" y="458115"/>
                        </a:cubicBezTo>
                        <a:cubicBezTo>
                          <a:pt x="121670" y="456875"/>
                          <a:pt x="122316" y="454985"/>
                          <a:pt x="122952" y="453126"/>
                        </a:cubicBezTo>
                        <a:cubicBezTo>
                          <a:pt x="123695" y="450556"/>
                          <a:pt x="125205" y="448346"/>
                          <a:pt x="126736" y="446208"/>
                        </a:cubicBezTo>
                        <a:cubicBezTo>
                          <a:pt x="139334" y="448144"/>
                          <a:pt x="141749" y="464722"/>
                          <a:pt x="138171" y="474870"/>
                        </a:cubicBezTo>
                        <a:cubicBezTo>
                          <a:pt x="137021" y="478704"/>
                          <a:pt x="133774" y="478813"/>
                          <a:pt x="130419" y="478496"/>
                        </a:cubicBezTo>
                        <a:cubicBezTo>
                          <a:pt x="127844" y="475270"/>
                          <a:pt x="124046" y="473025"/>
                          <a:pt x="121162" y="470050"/>
                        </a:cubicBezTo>
                        <a:cubicBezTo>
                          <a:pt x="121819" y="468203"/>
                          <a:pt x="121970" y="466150"/>
                          <a:pt x="121730" y="464254"/>
                        </a:cubicBezTo>
                        <a:close/>
                        <a:moveTo>
                          <a:pt x="125648" y="342804"/>
                        </a:moveTo>
                        <a:cubicBezTo>
                          <a:pt x="125008" y="333844"/>
                          <a:pt x="124412" y="324878"/>
                          <a:pt x="123698" y="315924"/>
                        </a:cubicBezTo>
                        <a:cubicBezTo>
                          <a:pt x="136758" y="324978"/>
                          <a:pt x="148773" y="338884"/>
                          <a:pt x="158927" y="356407"/>
                        </a:cubicBezTo>
                        <a:cubicBezTo>
                          <a:pt x="147911" y="355039"/>
                          <a:pt x="137118" y="352044"/>
                          <a:pt x="126036" y="351259"/>
                        </a:cubicBezTo>
                        <a:cubicBezTo>
                          <a:pt x="126490" y="348515"/>
                          <a:pt x="125768" y="345577"/>
                          <a:pt x="125648" y="342804"/>
                        </a:cubicBezTo>
                        <a:close/>
                        <a:moveTo>
                          <a:pt x="139159" y="448364"/>
                        </a:moveTo>
                        <a:cubicBezTo>
                          <a:pt x="136761" y="445066"/>
                          <a:pt x="133420" y="442941"/>
                          <a:pt x="129594" y="441973"/>
                        </a:cubicBezTo>
                        <a:cubicBezTo>
                          <a:pt x="130108" y="420107"/>
                          <a:pt x="130622" y="398238"/>
                          <a:pt x="131136" y="376372"/>
                        </a:cubicBezTo>
                        <a:cubicBezTo>
                          <a:pt x="134996" y="377385"/>
                          <a:pt x="138962" y="378016"/>
                          <a:pt x="142871" y="378770"/>
                        </a:cubicBezTo>
                        <a:lnTo>
                          <a:pt x="140210" y="449948"/>
                        </a:lnTo>
                        <a:cubicBezTo>
                          <a:pt x="139879" y="449397"/>
                          <a:pt x="139528" y="448869"/>
                          <a:pt x="139159" y="448364"/>
                        </a:cubicBezTo>
                        <a:close/>
                        <a:moveTo>
                          <a:pt x="141147" y="375409"/>
                        </a:moveTo>
                        <a:cubicBezTo>
                          <a:pt x="137632" y="374773"/>
                          <a:pt x="134103" y="374070"/>
                          <a:pt x="130559" y="373608"/>
                        </a:cubicBezTo>
                        <a:cubicBezTo>
                          <a:pt x="130254" y="373302"/>
                          <a:pt x="129862" y="373102"/>
                          <a:pt x="129437" y="373005"/>
                        </a:cubicBezTo>
                        <a:cubicBezTo>
                          <a:pt x="128492" y="366992"/>
                          <a:pt x="127575" y="360944"/>
                          <a:pt x="127709" y="354834"/>
                        </a:cubicBezTo>
                        <a:cubicBezTo>
                          <a:pt x="138169" y="356541"/>
                          <a:pt x="148551" y="357780"/>
                          <a:pt x="158953" y="359742"/>
                        </a:cubicBezTo>
                        <a:cubicBezTo>
                          <a:pt x="159618" y="359865"/>
                          <a:pt x="160158" y="359622"/>
                          <a:pt x="160520" y="359222"/>
                        </a:cubicBezTo>
                        <a:cubicBezTo>
                          <a:pt x="164272" y="365975"/>
                          <a:pt x="167756" y="373231"/>
                          <a:pt x="170925" y="380926"/>
                        </a:cubicBezTo>
                        <a:cubicBezTo>
                          <a:pt x="161243" y="378185"/>
                          <a:pt x="150978" y="377577"/>
                          <a:pt x="141147" y="375409"/>
                        </a:cubicBezTo>
                        <a:close/>
                        <a:moveTo>
                          <a:pt x="110349" y="458243"/>
                        </a:moveTo>
                        <a:cubicBezTo>
                          <a:pt x="109855" y="457207"/>
                          <a:pt x="109347" y="456170"/>
                          <a:pt x="108796" y="455156"/>
                        </a:cubicBezTo>
                        <a:cubicBezTo>
                          <a:pt x="113144" y="454591"/>
                          <a:pt x="116180" y="455391"/>
                          <a:pt x="117170" y="459731"/>
                        </a:cubicBezTo>
                        <a:cubicBezTo>
                          <a:pt x="119926" y="465953"/>
                          <a:pt x="119783" y="472109"/>
                          <a:pt x="111631" y="472731"/>
                        </a:cubicBezTo>
                        <a:cubicBezTo>
                          <a:pt x="113210" y="467826"/>
                          <a:pt x="112682" y="463154"/>
                          <a:pt x="110349" y="458243"/>
                        </a:cubicBezTo>
                        <a:close/>
                        <a:moveTo>
                          <a:pt x="96960" y="478245"/>
                        </a:moveTo>
                        <a:cubicBezTo>
                          <a:pt x="107442" y="478456"/>
                          <a:pt x="106728" y="451653"/>
                          <a:pt x="93794" y="455005"/>
                        </a:cubicBezTo>
                        <a:cubicBezTo>
                          <a:pt x="95370" y="451633"/>
                          <a:pt x="98831" y="447241"/>
                          <a:pt x="102197" y="451496"/>
                        </a:cubicBezTo>
                        <a:cubicBezTo>
                          <a:pt x="105772" y="455550"/>
                          <a:pt x="108710" y="460730"/>
                          <a:pt x="109472" y="466130"/>
                        </a:cubicBezTo>
                        <a:cubicBezTo>
                          <a:pt x="109861" y="471729"/>
                          <a:pt x="107088" y="476997"/>
                          <a:pt x="103656" y="481220"/>
                        </a:cubicBezTo>
                        <a:cubicBezTo>
                          <a:pt x="101263" y="484949"/>
                          <a:pt x="97640" y="480706"/>
                          <a:pt x="96323" y="478185"/>
                        </a:cubicBezTo>
                        <a:cubicBezTo>
                          <a:pt x="96532" y="478216"/>
                          <a:pt x="96743" y="478239"/>
                          <a:pt x="96960" y="478245"/>
                        </a:cubicBezTo>
                        <a:close/>
                        <a:moveTo>
                          <a:pt x="92497" y="466001"/>
                        </a:moveTo>
                        <a:cubicBezTo>
                          <a:pt x="92292" y="463169"/>
                          <a:pt x="92669" y="461144"/>
                          <a:pt x="93968" y="458340"/>
                        </a:cubicBezTo>
                        <a:cubicBezTo>
                          <a:pt x="98337" y="458160"/>
                          <a:pt x="99693" y="461170"/>
                          <a:pt x="99810" y="465085"/>
                        </a:cubicBezTo>
                        <a:cubicBezTo>
                          <a:pt x="99930" y="466669"/>
                          <a:pt x="99847" y="475923"/>
                          <a:pt x="96392" y="473962"/>
                        </a:cubicBezTo>
                        <a:cubicBezTo>
                          <a:pt x="93948" y="472577"/>
                          <a:pt x="92749" y="468588"/>
                          <a:pt x="92497" y="466001"/>
                        </a:cubicBezTo>
                        <a:close/>
                        <a:moveTo>
                          <a:pt x="197674" y="624473"/>
                        </a:moveTo>
                        <a:cubicBezTo>
                          <a:pt x="165757" y="671712"/>
                          <a:pt x="120228" y="670664"/>
                          <a:pt x="79725" y="634604"/>
                        </a:cubicBezTo>
                        <a:cubicBezTo>
                          <a:pt x="89496" y="639661"/>
                          <a:pt x="99707" y="642310"/>
                          <a:pt x="110095" y="642150"/>
                        </a:cubicBezTo>
                        <a:cubicBezTo>
                          <a:pt x="149253" y="656519"/>
                          <a:pt x="175302" y="641020"/>
                          <a:pt x="196212" y="604563"/>
                        </a:cubicBezTo>
                        <a:cubicBezTo>
                          <a:pt x="245201" y="523799"/>
                          <a:pt x="223521" y="348892"/>
                          <a:pt x="136872" y="292516"/>
                        </a:cubicBezTo>
                        <a:cubicBezTo>
                          <a:pt x="108373" y="274967"/>
                          <a:pt x="75305" y="281445"/>
                          <a:pt x="53539" y="305725"/>
                        </a:cubicBezTo>
                        <a:lnTo>
                          <a:pt x="53573" y="305756"/>
                        </a:lnTo>
                        <a:cubicBezTo>
                          <a:pt x="43848" y="312769"/>
                          <a:pt x="35116" y="322574"/>
                          <a:pt x="27641" y="334606"/>
                        </a:cubicBezTo>
                        <a:cubicBezTo>
                          <a:pt x="59352" y="256752"/>
                          <a:pt x="125871" y="245582"/>
                          <a:pt x="179860" y="316358"/>
                        </a:cubicBezTo>
                        <a:cubicBezTo>
                          <a:pt x="239562" y="393484"/>
                          <a:pt x="254815" y="542990"/>
                          <a:pt x="197674" y="624473"/>
                        </a:cubicBezTo>
                        <a:close/>
                        <a:moveTo>
                          <a:pt x="308821" y="446450"/>
                        </a:moveTo>
                        <a:cubicBezTo>
                          <a:pt x="309729" y="479221"/>
                          <a:pt x="309864" y="512049"/>
                          <a:pt x="311368" y="544792"/>
                        </a:cubicBezTo>
                        <a:cubicBezTo>
                          <a:pt x="304370" y="542293"/>
                          <a:pt x="297903" y="548035"/>
                          <a:pt x="292743" y="552147"/>
                        </a:cubicBezTo>
                        <a:cubicBezTo>
                          <a:pt x="291541" y="552244"/>
                          <a:pt x="290967" y="553546"/>
                          <a:pt x="290873" y="554585"/>
                        </a:cubicBezTo>
                        <a:cubicBezTo>
                          <a:pt x="262585" y="544860"/>
                          <a:pt x="257488" y="567243"/>
                          <a:pt x="248948" y="588110"/>
                        </a:cubicBezTo>
                        <a:cubicBezTo>
                          <a:pt x="245832" y="594583"/>
                          <a:pt x="243834" y="605442"/>
                          <a:pt x="236627" y="608163"/>
                        </a:cubicBezTo>
                        <a:cubicBezTo>
                          <a:pt x="228777" y="608763"/>
                          <a:pt x="221011" y="606110"/>
                          <a:pt x="213179" y="605653"/>
                        </a:cubicBezTo>
                        <a:cubicBezTo>
                          <a:pt x="241475" y="549997"/>
                          <a:pt x="243057" y="479967"/>
                          <a:pt x="229017" y="417757"/>
                        </a:cubicBezTo>
                        <a:cubicBezTo>
                          <a:pt x="247863" y="420635"/>
                          <a:pt x="266962" y="423228"/>
                          <a:pt x="286019" y="423739"/>
                        </a:cubicBezTo>
                        <a:cubicBezTo>
                          <a:pt x="286938" y="424470"/>
                          <a:pt x="288209" y="424850"/>
                          <a:pt x="289434" y="424361"/>
                        </a:cubicBezTo>
                        <a:cubicBezTo>
                          <a:pt x="295915" y="424541"/>
                          <a:pt x="302354" y="425549"/>
                          <a:pt x="308807" y="425992"/>
                        </a:cubicBezTo>
                        <a:cubicBezTo>
                          <a:pt x="308062" y="432733"/>
                          <a:pt x="308696" y="439712"/>
                          <a:pt x="308821" y="446450"/>
                        </a:cubicBezTo>
                        <a:close/>
                        <a:moveTo>
                          <a:pt x="285145" y="410847"/>
                        </a:moveTo>
                        <a:cubicBezTo>
                          <a:pt x="283414" y="413623"/>
                          <a:pt x="282615" y="417229"/>
                          <a:pt x="283791" y="420430"/>
                        </a:cubicBezTo>
                        <a:cubicBezTo>
                          <a:pt x="265386" y="418157"/>
                          <a:pt x="246758" y="417006"/>
                          <a:pt x="228346" y="414839"/>
                        </a:cubicBezTo>
                        <a:cubicBezTo>
                          <a:pt x="226647" y="407626"/>
                          <a:pt x="224731" y="400545"/>
                          <a:pt x="222604" y="393632"/>
                        </a:cubicBezTo>
                        <a:cubicBezTo>
                          <a:pt x="243134" y="397161"/>
                          <a:pt x="263921" y="399046"/>
                          <a:pt x="284482" y="402424"/>
                        </a:cubicBezTo>
                        <a:cubicBezTo>
                          <a:pt x="285676" y="404825"/>
                          <a:pt x="285756" y="407178"/>
                          <a:pt x="286610" y="409642"/>
                        </a:cubicBezTo>
                        <a:cubicBezTo>
                          <a:pt x="286041" y="409928"/>
                          <a:pt x="285530" y="410313"/>
                          <a:pt x="285145" y="410847"/>
                        </a:cubicBezTo>
                        <a:close/>
                        <a:moveTo>
                          <a:pt x="236570" y="630626"/>
                        </a:moveTo>
                        <a:cubicBezTo>
                          <a:pt x="224940" y="629456"/>
                          <a:pt x="213530" y="626612"/>
                          <a:pt x="201946" y="625036"/>
                        </a:cubicBezTo>
                        <a:lnTo>
                          <a:pt x="211243" y="609131"/>
                        </a:lnTo>
                        <a:cubicBezTo>
                          <a:pt x="217456" y="611547"/>
                          <a:pt x="224446" y="611755"/>
                          <a:pt x="231010" y="612780"/>
                        </a:cubicBezTo>
                        <a:cubicBezTo>
                          <a:pt x="235402" y="613640"/>
                          <a:pt x="239816" y="612735"/>
                          <a:pt x="243134" y="609605"/>
                        </a:cubicBezTo>
                        <a:cubicBezTo>
                          <a:pt x="254373" y="596922"/>
                          <a:pt x="254061" y="577682"/>
                          <a:pt x="264366" y="564311"/>
                        </a:cubicBezTo>
                        <a:cubicBezTo>
                          <a:pt x="271656" y="554440"/>
                          <a:pt x="280511" y="555942"/>
                          <a:pt x="290858" y="559217"/>
                        </a:cubicBezTo>
                        <a:cubicBezTo>
                          <a:pt x="290875" y="560193"/>
                          <a:pt x="290893" y="561167"/>
                          <a:pt x="290901" y="562144"/>
                        </a:cubicBezTo>
                        <a:cubicBezTo>
                          <a:pt x="289245" y="563314"/>
                          <a:pt x="291686" y="564199"/>
                          <a:pt x="292769" y="564371"/>
                        </a:cubicBezTo>
                        <a:cubicBezTo>
                          <a:pt x="291369" y="565247"/>
                          <a:pt x="292443" y="571298"/>
                          <a:pt x="292109" y="573225"/>
                        </a:cubicBezTo>
                        <a:cubicBezTo>
                          <a:pt x="269386" y="567255"/>
                          <a:pt x="266942" y="586134"/>
                          <a:pt x="261017" y="602484"/>
                        </a:cubicBezTo>
                        <a:cubicBezTo>
                          <a:pt x="258025" y="608968"/>
                          <a:pt x="256303" y="616073"/>
                          <a:pt x="253036" y="622417"/>
                        </a:cubicBezTo>
                        <a:cubicBezTo>
                          <a:pt x="250001" y="625227"/>
                          <a:pt x="245667" y="626697"/>
                          <a:pt x="242623" y="629664"/>
                        </a:cubicBezTo>
                        <a:cubicBezTo>
                          <a:pt x="240741" y="630369"/>
                          <a:pt x="238751" y="630758"/>
                          <a:pt x="236570" y="630626"/>
                        </a:cubicBezTo>
                        <a:close/>
                        <a:moveTo>
                          <a:pt x="296649" y="591539"/>
                        </a:moveTo>
                        <a:cubicBezTo>
                          <a:pt x="294819" y="594349"/>
                          <a:pt x="293165" y="597516"/>
                          <a:pt x="292694" y="600891"/>
                        </a:cubicBezTo>
                        <a:cubicBezTo>
                          <a:pt x="289822" y="606564"/>
                          <a:pt x="287412" y="612429"/>
                          <a:pt x="284988" y="618300"/>
                        </a:cubicBezTo>
                        <a:cubicBezTo>
                          <a:pt x="275622" y="616689"/>
                          <a:pt x="265283" y="617843"/>
                          <a:pt x="256706" y="621329"/>
                        </a:cubicBezTo>
                        <a:cubicBezTo>
                          <a:pt x="261031" y="609688"/>
                          <a:pt x="265888" y="598449"/>
                          <a:pt x="271259" y="587276"/>
                        </a:cubicBezTo>
                        <a:cubicBezTo>
                          <a:pt x="275040" y="576717"/>
                          <a:pt x="281824" y="575292"/>
                          <a:pt x="292152" y="576843"/>
                        </a:cubicBezTo>
                        <a:cubicBezTo>
                          <a:pt x="292734" y="581708"/>
                          <a:pt x="290447" y="589829"/>
                          <a:pt x="296649" y="591539"/>
                        </a:cubicBezTo>
                        <a:close/>
                        <a:moveTo>
                          <a:pt x="325397" y="670667"/>
                        </a:moveTo>
                        <a:cubicBezTo>
                          <a:pt x="324237" y="735201"/>
                          <a:pt x="228338" y="735192"/>
                          <a:pt x="227187" y="670664"/>
                        </a:cubicBezTo>
                        <a:cubicBezTo>
                          <a:pt x="226936" y="641048"/>
                          <a:pt x="254167" y="617563"/>
                          <a:pt x="283409" y="622080"/>
                        </a:cubicBezTo>
                        <a:cubicBezTo>
                          <a:pt x="281930" y="625627"/>
                          <a:pt x="280456" y="629179"/>
                          <a:pt x="278992" y="632731"/>
                        </a:cubicBezTo>
                        <a:cubicBezTo>
                          <a:pt x="227307" y="630178"/>
                          <a:pt x="224563" y="707581"/>
                          <a:pt x="276293" y="708700"/>
                        </a:cubicBezTo>
                        <a:cubicBezTo>
                          <a:pt x="310849" y="709468"/>
                          <a:pt x="327532" y="663883"/>
                          <a:pt x="301377" y="642088"/>
                        </a:cubicBezTo>
                        <a:cubicBezTo>
                          <a:pt x="302839" y="638536"/>
                          <a:pt x="304307" y="634984"/>
                          <a:pt x="305789" y="631437"/>
                        </a:cubicBezTo>
                        <a:cubicBezTo>
                          <a:pt x="317690" y="640406"/>
                          <a:pt x="325397" y="654651"/>
                          <a:pt x="325397" y="670667"/>
                        </a:cubicBezTo>
                        <a:close/>
                        <a:moveTo>
                          <a:pt x="260486" y="683182"/>
                        </a:moveTo>
                        <a:cubicBezTo>
                          <a:pt x="261757" y="683693"/>
                          <a:pt x="263164" y="683847"/>
                          <a:pt x="264509" y="684056"/>
                        </a:cubicBezTo>
                        <a:cubicBezTo>
                          <a:pt x="262773" y="686651"/>
                          <a:pt x="259578" y="694840"/>
                          <a:pt x="257242" y="691020"/>
                        </a:cubicBezTo>
                        <a:cubicBezTo>
                          <a:pt x="257242" y="691020"/>
                          <a:pt x="248365" y="675050"/>
                          <a:pt x="247631" y="672186"/>
                        </a:cubicBezTo>
                        <a:cubicBezTo>
                          <a:pt x="246897" y="669322"/>
                          <a:pt x="249964" y="668939"/>
                          <a:pt x="249964" y="668939"/>
                        </a:cubicBezTo>
                        <a:lnTo>
                          <a:pt x="262665" y="672263"/>
                        </a:lnTo>
                        <a:cubicBezTo>
                          <a:pt x="261508" y="674996"/>
                          <a:pt x="260343" y="677725"/>
                          <a:pt x="259161" y="680449"/>
                        </a:cubicBezTo>
                        <a:cubicBezTo>
                          <a:pt x="258544" y="681868"/>
                          <a:pt x="259430" y="682968"/>
                          <a:pt x="260486" y="683182"/>
                        </a:cubicBezTo>
                        <a:close/>
                        <a:moveTo>
                          <a:pt x="251752" y="661338"/>
                        </a:moveTo>
                        <a:cubicBezTo>
                          <a:pt x="247446" y="660191"/>
                          <a:pt x="249741" y="657895"/>
                          <a:pt x="249741" y="657895"/>
                        </a:cubicBezTo>
                        <a:cubicBezTo>
                          <a:pt x="249741" y="657895"/>
                          <a:pt x="262944" y="645266"/>
                          <a:pt x="265529" y="643829"/>
                        </a:cubicBezTo>
                        <a:cubicBezTo>
                          <a:pt x="268113" y="642393"/>
                          <a:pt x="269261" y="645266"/>
                          <a:pt x="269261" y="645266"/>
                        </a:cubicBezTo>
                        <a:lnTo>
                          <a:pt x="269261" y="656419"/>
                        </a:lnTo>
                        <a:cubicBezTo>
                          <a:pt x="268178" y="659054"/>
                          <a:pt x="267090" y="661690"/>
                          <a:pt x="266000" y="664319"/>
                        </a:cubicBezTo>
                        <a:cubicBezTo>
                          <a:pt x="261897" y="664485"/>
                          <a:pt x="255398" y="662309"/>
                          <a:pt x="251752" y="661338"/>
                        </a:cubicBezTo>
                        <a:close/>
                        <a:moveTo>
                          <a:pt x="292069" y="691271"/>
                        </a:moveTo>
                        <a:cubicBezTo>
                          <a:pt x="294679" y="694883"/>
                          <a:pt x="291447" y="695209"/>
                          <a:pt x="291447" y="695209"/>
                        </a:cubicBezTo>
                        <a:cubicBezTo>
                          <a:pt x="291447" y="695209"/>
                          <a:pt x="273232" y="696645"/>
                          <a:pt x="270323" y="696125"/>
                        </a:cubicBezTo>
                        <a:cubicBezTo>
                          <a:pt x="267413" y="695603"/>
                          <a:pt x="268338" y="692653"/>
                          <a:pt x="268338" y="692653"/>
                        </a:cubicBezTo>
                        <a:lnTo>
                          <a:pt x="275220" y="684221"/>
                        </a:lnTo>
                        <a:cubicBezTo>
                          <a:pt x="278629" y="684121"/>
                          <a:pt x="282484" y="684033"/>
                          <a:pt x="285028" y="681906"/>
                        </a:cubicBezTo>
                        <a:cubicBezTo>
                          <a:pt x="287678" y="684747"/>
                          <a:pt x="290324" y="688858"/>
                          <a:pt x="292069" y="691271"/>
                        </a:cubicBezTo>
                        <a:close/>
                        <a:moveTo>
                          <a:pt x="287857" y="674684"/>
                        </a:moveTo>
                        <a:cubicBezTo>
                          <a:pt x="288608" y="672834"/>
                          <a:pt x="289362" y="670987"/>
                          <a:pt x="290122" y="669139"/>
                        </a:cubicBezTo>
                        <a:cubicBezTo>
                          <a:pt x="293348" y="666778"/>
                          <a:pt x="298222" y="664608"/>
                          <a:pt x="301041" y="663157"/>
                        </a:cubicBezTo>
                        <a:cubicBezTo>
                          <a:pt x="305004" y="661119"/>
                          <a:pt x="304841" y="664362"/>
                          <a:pt x="304841" y="664362"/>
                        </a:cubicBezTo>
                        <a:cubicBezTo>
                          <a:pt x="304841" y="664362"/>
                          <a:pt x="303530" y="682588"/>
                          <a:pt x="302577" y="685383"/>
                        </a:cubicBezTo>
                        <a:cubicBezTo>
                          <a:pt x="301626" y="688182"/>
                          <a:pt x="298848" y="686825"/>
                          <a:pt x="298848" y="686825"/>
                        </a:cubicBezTo>
                        <a:lnTo>
                          <a:pt x="287857" y="674684"/>
                        </a:lnTo>
                        <a:close/>
                        <a:moveTo>
                          <a:pt x="312436" y="606082"/>
                        </a:moveTo>
                        <a:cubicBezTo>
                          <a:pt x="301155" y="630058"/>
                          <a:pt x="292080" y="654982"/>
                          <a:pt x="282349" y="679601"/>
                        </a:cubicBezTo>
                        <a:cubicBezTo>
                          <a:pt x="275882" y="679721"/>
                          <a:pt x="269420" y="680772"/>
                          <a:pt x="262962" y="680972"/>
                        </a:cubicBezTo>
                        <a:cubicBezTo>
                          <a:pt x="273032" y="654697"/>
                          <a:pt x="284968" y="629153"/>
                          <a:pt x="294545" y="602695"/>
                        </a:cubicBezTo>
                        <a:cubicBezTo>
                          <a:pt x="300432" y="604548"/>
                          <a:pt x="306874" y="604420"/>
                          <a:pt x="312930" y="605191"/>
                        </a:cubicBezTo>
                        <a:cubicBezTo>
                          <a:pt x="312762" y="605482"/>
                          <a:pt x="312593" y="605776"/>
                          <a:pt x="312436" y="606082"/>
                        </a:cubicBezTo>
                        <a:close/>
                        <a:moveTo>
                          <a:pt x="314558" y="596368"/>
                        </a:moveTo>
                        <a:cubicBezTo>
                          <a:pt x="314272" y="598012"/>
                          <a:pt x="314064" y="599663"/>
                          <a:pt x="313872" y="601316"/>
                        </a:cubicBezTo>
                        <a:cubicBezTo>
                          <a:pt x="308199" y="600234"/>
                          <a:pt x="302611" y="599260"/>
                          <a:pt x="296703" y="599189"/>
                        </a:cubicBezTo>
                        <a:cubicBezTo>
                          <a:pt x="297677" y="596856"/>
                          <a:pt x="298753" y="594677"/>
                          <a:pt x="299067" y="592150"/>
                        </a:cubicBezTo>
                        <a:cubicBezTo>
                          <a:pt x="304487" y="593167"/>
                          <a:pt x="309801" y="593547"/>
                          <a:pt x="315380" y="592684"/>
                        </a:cubicBezTo>
                        <a:cubicBezTo>
                          <a:pt x="314958" y="593926"/>
                          <a:pt x="314746" y="595289"/>
                          <a:pt x="314558" y="596368"/>
                        </a:cubicBezTo>
                        <a:close/>
                        <a:moveTo>
                          <a:pt x="316939" y="571506"/>
                        </a:moveTo>
                        <a:cubicBezTo>
                          <a:pt x="316565" y="577157"/>
                          <a:pt x="317030" y="583133"/>
                          <a:pt x="316357" y="588678"/>
                        </a:cubicBezTo>
                        <a:cubicBezTo>
                          <a:pt x="313573" y="590760"/>
                          <a:pt x="303562" y="589509"/>
                          <a:pt x="300027" y="588778"/>
                        </a:cubicBezTo>
                        <a:cubicBezTo>
                          <a:pt x="295927" y="588350"/>
                          <a:pt x="295792" y="587082"/>
                          <a:pt x="295961" y="583262"/>
                        </a:cubicBezTo>
                        <a:cubicBezTo>
                          <a:pt x="295467" y="577111"/>
                          <a:pt x="295441" y="570761"/>
                          <a:pt x="294376" y="564745"/>
                        </a:cubicBezTo>
                        <a:cubicBezTo>
                          <a:pt x="301966" y="565961"/>
                          <a:pt x="309507" y="565778"/>
                          <a:pt x="317159" y="565087"/>
                        </a:cubicBezTo>
                        <a:cubicBezTo>
                          <a:pt x="316625" y="567072"/>
                          <a:pt x="316988" y="569685"/>
                          <a:pt x="316939" y="571506"/>
                        </a:cubicBezTo>
                        <a:close/>
                        <a:moveTo>
                          <a:pt x="318193" y="561090"/>
                        </a:moveTo>
                        <a:cubicBezTo>
                          <a:pt x="310109" y="562244"/>
                          <a:pt x="301983" y="562218"/>
                          <a:pt x="293836" y="561924"/>
                        </a:cubicBezTo>
                        <a:cubicBezTo>
                          <a:pt x="294325" y="559514"/>
                          <a:pt x="294787" y="556927"/>
                          <a:pt x="294527" y="554474"/>
                        </a:cubicBezTo>
                        <a:cubicBezTo>
                          <a:pt x="306163" y="547724"/>
                          <a:pt x="309130" y="543058"/>
                          <a:pt x="318935" y="556273"/>
                        </a:cubicBezTo>
                        <a:cubicBezTo>
                          <a:pt x="318555" y="557835"/>
                          <a:pt x="318141" y="559520"/>
                          <a:pt x="318193" y="561090"/>
                        </a:cubicBezTo>
                        <a:close/>
                        <a:moveTo>
                          <a:pt x="386804" y="634253"/>
                        </a:moveTo>
                        <a:cubicBezTo>
                          <a:pt x="384271" y="621986"/>
                          <a:pt x="381476" y="609645"/>
                          <a:pt x="383237" y="597090"/>
                        </a:cubicBezTo>
                        <a:cubicBezTo>
                          <a:pt x="385316" y="597424"/>
                          <a:pt x="387415" y="598212"/>
                          <a:pt x="389508" y="598281"/>
                        </a:cubicBezTo>
                        <a:cubicBezTo>
                          <a:pt x="392335" y="613197"/>
                          <a:pt x="395127" y="628122"/>
                          <a:pt x="397868" y="643056"/>
                        </a:cubicBezTo>
                        <a:cubicBezTo>
                          <a:pt x="394276" y="642710"/>
                          <a:pt x="390776" y="641642"/>
                          <a:pt x="387678" y="639843"/>
                        </a:cubicBezTo>
                        <a:cubicBezTo>
                          <a:pt x="387418" y="637976"/>
                          <a:pt x="387132" y="636114"/>
                          <a:pt x="386804" y="634253"/>
                        </a:cubicBezTo>
                        <a:close/>
                        <a:moveTo>
                          <a:pt x="390322" y="651953"/>
                        </a:moveTo>
                        <a:cubicBezTo>
                          <a:pt x="388980" y="649557"/>
                          <a:pt x="388546" y="646765"/>
                          <a:pt x="388226" y="644072"/>
                        </a:cubicBezTo>
                        <a:cubicBezTo>
                          <a:pt x="391387" y="645917"/>
                          <a:pt x="394916" y="647441"/>
                          <a:pt x="398688" y="647501"/>
                        </a:cubicBezTo>
                        <a:cubicBezTo>
                          <a:pt x="399353" y="651128"/>
                          <a:pt x="400013" y="654757"/>
                          <a:pt x="400664" y="658383"/>
                        </a:cubicBezTo>
                        <a:cubicBezTo>
                          <a:pt x="396398" y="657892"/>
                          <a:pt x="392520" y="655873"/>
                          <a:pt x="390322" y="651953"/>
                        </a:cubicBezTo>
                        <a:close/>
                        <a:moveTo>
                          <a:pt x="414524" y="684510"/>
                        </a:moveTo>
                        <a:cubicBezTo>
                          <a:pt x="414244" y="684578"/>
                          <a:pt x="413915" y="684638"/>
                          <a:pt x="413627" y="684572"/>
                        </a:cubicBezTo>
                        <a:cubicBezTo>
                          <a:pt x="413261" y="683245"/>
                          <a:pt x="412893" y="681914"/>
                          <a:pt x="412528" y="680586"/>
                        </a:cubicBezTo>
                        <a:cubicBezTo>
                          <a:pt x="413747" y="680529"/>
                          <a:pt x="414966" y="680489"/>
                          <a:pt x="416188" y="680475"/>
                        </a:cubicBezTo>
                        <a:cubicBezTo>
                          <a:pt x="416291" y="681166"/>
                          <a:pt x="416482" y="681897"/>
                          <a:pt x="416674" y="682579"/>
                        </a:cubicBezTo>
                        <a:cubicBezTo>
                          <a:pt x="416074" y="683310"/>
                          <a:pt x="415649" y="684236"/>
                          <a:pt x="414524" y="684510"/>
                        </a:cubicBezTo>
                        <a:close/>
                        <a:moveTo>
                          <a:pt x="408573" y="677603"/>
                        </a:moveTo>
                        <a:cubicBezTo>
                          <a:pt x="400484" y="626652"/>
                          <a:pt x="389956" y="576106"/>
                          <a:pt x="380294" y="525464"/>
                        </a:cubicBezTo>
                        <a:cubicBezTo>
                          <a:pt x="375788" y="503460"/>
                          <a:pt x="371879" y="481277"/>
                          <a:pt x="366191" y="459548"/>
                        </a:cubicBezTo>
                        <a:cubicBezTo>
                          <a:pt x="360178" y="443572"/>
                          <a:pt x="347394" y="423805"/>
                          <a:pt x="328229" y="424627"/>
                        </a:cubicBezTo>
                        <a:cubicBezTo>
                          <a:pt x="327818" y="424324"/>
                          <a:pt x="327161" y="424384"/>
                          <a:pt x="326824" y="424810"/>
                        </a:cubicBezTo>
                        <a:cubicBezTo>
                          <a:pt x="325037" y="424987"/>
                          <a:pt x="325080" y="427511"/>
                          <a:pt x="326459" y="428153"/>
                        </a:cubicBezTo>
                        <a:cubicBezTo>
                          <a:pt x="323598" y="472820"/>
                          <a:pt x="326347" y="517623"/>
                          <a:pt x="328912" y="562241"/>
                        </a:cubicBezTo>
                        <a:cubicBezTo>
                          <a:pt x="329091" y="564836"/>
                          <a:pt x="329114" y="567577"/>
                          <a:pt x="330105" y="570007"/>
                        </a:cubicBezTo>
                        <a:cubicBezTo>
                          <a:pt x="331342" y="571818"/>
                          <a:pt x="332469" y="570213"/>
                          <a:pt x="332461" y="568574"/>
                        </a:cubicBezTo>
                        <a:cubicBezTo>
                          <a:pt x="340499" y="571818"/>
                          <a:pt x="349339" y="572883"/>
                          <a:pt x="357788" y="574750"/>
                        </a:cubicBezTo>
                        <a:cubicBezTo>
                          <a:pt x="367070" y="576486"/>
                          <a:pt x="376447" y="578054"/>
                          <a:pt x="385830" y="578987"/>
                        </a:cubicBezTo>
                        <a:cubicBezTo>
                          <a:pt x="386849" y="584310"/>
                          <a:pt x="387866" y="589632"/>
                          <a:pt x="388871" y="594957"/>
                        </a:cubicBezTo>
                        <a:cubicBezTo>
                          <a:pt x="365911" y="589609"/>
                          <a:pt x="342874" y="584518"/>
                          <a:pt x="319814" y="579633"/>
                        </a:cubicBezTo>
                        <a:cubicBezTo>
                          <a:pt x="319723" y="574659"/>
                          <a:pt x="320428" y="569542"/>
                          <a:pt x="319914" y="564619"/>
                        </a:cubicBezTo>
                        <a:cubicBezTo>
                          <a:pt x="321776" y="564434"/>
                          <a:pt x="324169" y="563291"/>
                          <a:pt x="322370" y="561264"/>
                        </a:cubicBezTo>
                        <a:cubicBezTo>
                          <a:pt x="322593" y="559634"/>
                          <a:pt x="322256" y="557789"/>
                          <a:pt x="322019" y="556142"/>
                        </a:cubicBezTo>
                        <a:cubicBezTo>
                          <a:pt x="323683" y="554348"/>
                          <a:pt x="316517" y="547847"/>
                          <a:pt x="314943" y="546676"/>
                        </a:cubicBezTo>
                        <a:cubicBezTo>
                          <a:pt x="314849" y="509956"/>
                          <a:pt x="313150" y="473185"/>
                          <a:pt x="312182" y="436465"/>
                        </a:cubicBezTo>
                        <a:cubicBezTo>
                          <a:pt x="311882" y="434207"/>
                          <a:pt x="312282" y="422186"/>
                          <a:pt x="309786" y="422531"/>
                        </a:cubicBezTo>
                        <a:cubicBezTo>
                          <a:pt x="302908" y="421349"/>
                          <a:pt x="295530" y="420361"/>
                          <a:pt x="288611" y="421469"/>
                        </a:cubicBezTo>
                        <a:cubicBezTo>
                          <a:pt x="285165" y="418876"/>
                          <a:pt x="285961" y="414516"/>
                          <a:pt x="287817" y="411173"/>
                        </a:cubicBezTo>
                        <a:cubicBezTo>
                          <a:pt x="288414" y="411413"/>
                          <a:pt x="289257" y="410944"/>
                          <a:pt x="289251" y="410279"/>
                        </a:cubicBezTo>
                        <a:cubicBezTo>
                          <a:pt x="289496" y="410222"/>
                          <a:pt x="289813" y="410150"/>
                          <a:pt x="289902" y="409899"/>
                        </a:cubicBezTo>
                        <a:cubicBezTo>
                          <a:pt x="295181" y="410927"/>
                          <a:pt x="300641" y="410953"/>
                          <a:pt x="305906" y="412175"/>
                        </a:cubicBezTo>
                        <a:cubicBezTo>
                          <a:pt x="308239" y="412620"/>
                          <a:pt x="310480" y="413314"/>
                          <a:pt x="311602" y="410656"/>
                        </a:cubicBezTo>
                        <a:cubicBezTo>
                          <a:pt x="312382" y="408811"/>
                          <a:pt x="312859" y="405628"/>
                          <a:pt x="311428" y="403969"/>
                        </a:cubicBezTo>
                        <a:cubicBezTo>
                          <a:pt x="312519" y="400308"/>
                          <a:pt x="295852" y="400259"/>
                          <a:pt x="293008" y="399457"/>
                        </a:cubicBezTo>
                        <a:cubicBezTo>
                          <a:pt x="269300" y="396622"/>
                          <a:pt x="245624" y="393055"/>
                          <a:pt x="221827" y="391177"/>
                        </a:cubicBezTo>
                        <a:cubicBezTo>
                          <a:pt x="219406" y="383536"/>
                          <a:pt x="216725" y="376103"/>
                          <a:pt x="213798" y="368911"/>
                        </a:cubicBezTo>
                        <a:cubicBezTo>
                          <a:pt x="244342" y="374927"/>
                          <a:pt x="275397" y="378113"/>
                          <a:pt x="305920" y="384292"/>
                        </a:cubicBezTo>
                        <a:cubicBezTo>
                          <a:pt x="307399" y="384564"/>
                          <a:pt x="307842" y="383333"/>
                          <a:pt x="308170" y="382319"/>
                        </a:cubicBezTo>
                        <a:cubicBezTo>
                          <a:pt x="311328" y="374327"/>
                          <a:pt x="310209" y="364953"/>
                          <a:pt x="310209" y="356544"/>
                        </a:cubicBezTo>
                        <a:cubicBezTo>
                          <a:pt x="310209" y="348698"/>
                          <a:pt x="310138" y="340854"/>
                          <a:pt x="310192" y="333007"/>
                        </a:cubicBezTo>
                        <a:cubicBezTo>
                          <a:pt x="310549" y="310733"/>
                          <a:pt x="310820" y="288455"/>
                          <a:pt x="310306" y="266192"/>
                        </a:cubicBezTo>
                        <a:cubicBezTo>
                          <a:pt x="314324" y="266601"/>
                          <a:pt x="318313" y="266663"/>
                          <a:pt x="322339" y="266626"/>
                        </a:cubicBezTo>
                        <a:cubicBezTo>
                          <a:pt x="321645" y="271572"/>
                          <a:pt x="321582" y="277031"/>
                          <a:pt x="321830" y="281842"/>
                        </a:cubicBezTo>
                        <a:cubicBezTo>
                          <a:pt x="322933" y="325050"/>
                          <a:pt x="321593" y="368771"/>
                          <a:pt x="324826" y="411724"/>
                        </a:cubicBezTo>
                        <a:cubicBezTo>
                          <a:pt x="324329" y="412777"/>
                          <a:pt x="324963" y="414439"/>
                          <a:pt x="326390" y="414388"/>
                        </a:cubicBezTo>
                        <a:cubicBezTo>
                          <a:pt x="337209" y="414379"/>
                          <a:pt x="348488" y="418437"/>
                          <a:pt x="357485" y="424456"/>
                        </a:cubicBezTo>
                        <a:cubicBezTo>
                          <a:pt x="366054" y="432142"/>
                          <a:pt x="371362" y="443261"/>
                          <a:pt x="374243" y="454203"/>
                        </a:cubicBezTo>
                        <a:cubicBezTo>
                          <a:pt x="390087" y="527962"/>
                          <a:pt x="404230" y="602327"/>
                          <a:pt x="416816" y="676586"/>
                        </a:cubicBezTo>
                        <a:cubicBezTo>
                          <a:pt x="414041" y="676663"/>
                          <a:pt x="411286" y="677014"/>
                          <a:pt x="408573" y="677603"/>
                        </a:cubicBezTo>
                        <a:close/>
                        <a:moveTo>
                          <a:pt x="370097" y="514613"/>
                        </a:moveTo>
                        <a:cubicBezTo>
                          <a:pt x="367713" y="505131"/>
                          <a:pt x="363481" y="495500"/>
                          <a:pt x="360289" y="486611"/>
                        </a:cubicBezTo>
                        <a:cubicBezTo>
                          <a:pt x="355104" y="471686"/>
                          <a:pt x="353122" y="455876"/>
                          <a:pt x="350332" y="440283"/>
                        </a:cubicBezTo>
                        <a:cubicBezTo>
                          <a:pt x="355152" y="446131"/>
                          <a:pt x="358653" y="453038"/>
                          <a:pt x="361508" y="460025"/>
                        </a:cubicBezTo>
                        <a:cubicBezTo>
                          <a:pt x="369580" y="491893"/>
                          <a:pt x="374971" y="524442"/>
                          <a:pt x="381541" y="556656"/>
                        </a:cubicBezTo>
                        <a:cubicBezTo>
                          <a:pt x="372898" y="551679"/>
                          <a:pt x="368076" y="541751"/>
                          <a:pt x="368869" y="531891"/>
                        </a:cubicBezTo>
                        <a:cubicBezTo>
                          <a:pt x="369029" y="526574"/>
                          <a:pt x="369749" y="521169"/>
                          <a:pt x="370583" y="515921"/>
                        </a:cubicBezTo>
                        <a:cubicBezTo>
                          <a:pt x="370680" y="515324"/>
                          <a:pt x="370451" y="514870"/>
                          <a:pt x="370097" y="514613"/>
                        </a:cubicBezTo>
                        <a:close/>
                        <a:moveTo>
                          <a:pt x="354139" y="483878"/>
                        </a:moveTo>
                        <a:cubicBezTo>
                          <a:pt x="357477" y="493878"/>
                          <a:pt x="362331" y="506313"/>
                          <a:pt x="368273" y="515025"/>
                        </a:cubicBezTo>
                        <a:cubicBezTo>
                          <a:pt x="363681" y="525147"/>
                          <a:pt x="360729" y="536919"/>
                          <a:pt x="365688" y="547484"/>
                        </a:cubicBezTo>
                        <a:cubicBezTo>
                          <a:pt x="369066" y="554697"/>
                          <a:pt x="374974" y="561878"/>
                          <a:pt x="382980" y="564111"/>
                        </a:cubicBezTo>
                        <a:cubicBezTo>
                          <a:pt x="383743" y="568074"/>
                          <a:pt x="384505" y="572037"/>
                          <a:pt x="385265" y="576003"/>
                        </a:cubicBezTo>
                        <a:cubicBezTo>
                          <a:pt x="371571" y="573988"/>
                          <a:pt x="358008" y="571192"/>
                          <a:pt x="344485" y="568194"/>
                        </a:cubicBezTo>
                        <a:cubicBezTo>
                          <a:pt x="340553" y="567554"/>
                          <a:pt x="336675" y="565818"/>
                          <a:pt x="332649" y="566047"/>
                        </a:cubicBezTo>
                        <a:cubicBezTo>
                          <a:pt x="328609" y="520216"/>
                          <a:pt x="329388" y="474247"/>
                          <a:pt x="328620" y="428296"/>
                        </a:cubicBezTo>
                        <a:cubicBezTo>
                          <a:pt x="334451" y="428273"/>
                          <a:pt x="339956" y="430700"/>
                          <a:pt x="344405" y="434467"/>
                        </a:cubicBezTo>
                        <a:cubicBezTo>
                          <a:pt x="347109" y="450942"/>
                          <a:pt x="349561" y="467766"/>
                          <a:pt x="354139" y="483878"/>
                        </a:cubicBezTo>
                        <a:close/>
                        <a:moveTo>
                          <a:pt x="286912" y="402801"/>
                        </a:moveTo>
                        <a:cubicBezTo>
                          <a:pt x="293974" y="403820"/>
                          <a:pt x="301083" y="405365"/>
                          <a:pt x="308216" y="405927"/>
                        </a:cubicBezTo>
                        <a:cubicBezTo>
                          <a:pt x="308290" y="406464"/>
                          <a:pt x="308639" y="409322"/>
                          <a:pt x="308604" y="409619"/>
                        </a:cubicBezTo>
                        <a:cubicBezTo>
                          <a:pt x="302303" y="408994"/>
                          <a:pt x="295338" y="406790"/>
                          <a:pt x="288945" y="408400"/>
                        </a:cubicBezTo>
                        <a:cubicBezTo>
                          <a:pt x="288237" y="406547"/>
                          <a:pt x="287826" y="404574"/>
                          <a:pt x="286912" y="402801"/>
                        </a:cubicBezTo>
                        <a:close/>
                        <a:moveTo>
                          <a:pt x="440975" y="667686"/>
                        </a:moveTo>
                        <a:cubicBezTo>
                          <a:pt x="437560" y="668437"/>
                          <a:pt x="434154" y="669225"/>
                          <a:pt x="430728" y="669919"/>
                        </a:cubicBezTo>
                        <a:cubicBezTo>
                          <a:pt x="428358" y="670684"/>
                          <a:pt x="420871" y="670653"/>
                          <a:pt x="419820" y="672574"/>
                        </a:cubicBezTo>
                        <a:cubicBezTo>
                          <a:pt x="419458" y="671287"/>
                          <a:pt x="419312" y="669959"/>
                          <a:pt x="419169" y="668608"/>
                        </a:cubicBezTo>
                        <a:cubicBezTo>
                          <a:pt x="420200" y="667409"/>
                          <a:pt x="419583" y="664511"/>
                          <a:pt x="419483" y="663606"/>
                        </a:cubicBezTo>
                        <a:cubicBezTo>
                          <a:pt x="418684" y="657261"/>
                          <a:pt x="417393" y="650988"/>
                          <a:pt x="416308" y="644686"/>
                        </a:cubicBezTo>
                        <a:cubicBezTo>
                          <a:pt x="427364" y="644298"/>
                          <a:pt x="438574" y="642801"/>
                          <a:pt x="449450" y="640634"/>
                        </a:cubicBezTo>
                        <a:cubicBezTo>
                          <a:pt x="443263" y="644172"/>
                          <a:pt x="444159" y="651813"/>
                          <a:pt x="445929" y="657655"/>
                        </a:cubicBezTo>
                        <a:cubicBezTo>
                          <a:pt x="446586" y="660576"/>
                          <a:pt x="447194" y="663543"/>
                          <a:pt x="448388" y="666295"/>
                        </a:cubicBezTo>
                        <a:cubicBezTo>
                          <a:pt x="445924" y="666784"/>
                          <a:pt x="443417" y="667149"/>
                          <a:pt x="440975" y="667686"/>
                        </a:cubicBezTo>
                        <a:close/>
                        <a:moveTo>
                          <a:pt x="450923" y="665730"/>
                        </a:moveTo>
                        <a:cubicBezTo>
                          <a:pt x="450664" y="665796"/>
                          <a:pt x="450401" y="665856"/>
                          <a:pt x="450138" y="665916"/>
                        </a:cubicBezTo>
                        <a:cubicBezTo>
                          <a:pt x="449773" y="663297"/>
                          <a:pt x="449142" y="660722"/>
                          <a:pt x="448633" y="658123"/>
                        </a:cubicBezTo>
                        <a:cubicBezTo>
                          <a:pt x="451298" y="659077"/>
                          <a:pt x="454989" y="658081"/>
                          <a:pt x="457891" y="657350"/>
                        </a:cubicBezTo>
                        <a:cubicBezTo>
                          <a:pt x="458125" y="659177"/>
                          <a:pt x="458362" y="661059"/>
                          <a:pt x="458779" y="662849"/>
                        </a:cubicBezTo>
                        <a:cubicBezTo>
                          <a:pt x="456129" y="663628"/>
                          <a:pt x="453619" y="665048"/>
                          <a:pt x="450923" y="665730"/>
                        </a:cubicBezTo>
                        <a:close/>
                        <a:moveTo>
                          <a:pt x="485288" y="657387"/>
                        </a:moveTo>
                        <a:cubicBezTo>
                          <a:pt x="477735" y="659525"/>
                          <a:pt x="469846" y="662075"/>
                          <a:pt x="462022" y="659797"/>
                        </a:cubicBezTo>
                        <a:cubicBezTo>
                          <a:pt x="461722" y="658720"/>
                          <a:pt x="461271" y="657681"/>
                          <a:pt x="460709" y="656753"/>
                        </a:cubicBezTo>
                        <a:cubicBezTo>
                          <a:pt x="464778" y="656167"/>
                          <a:pt x="469637" y="656853"/>
                          <a:pt x="473201" y="654808"/>
                        </a:cubicBezTo>
                        <a:cubicBezTo>
                          <a:pt x="477618" y="655337"/>
                          <a:pt x="479020" y="649900"/>
                          <a:pt x="478361" y="646045"/>
                        </a:cubicBezTo>
                        <a:cubicBezTo>
                          <a:pt x="487855" y="641939"/>
                          <a:pt x="499005" y="641528"/>
                          <a:pt x="507756" y="635829"/>
                        </a:cubicBezTo>
                        <a:cubicBezTo>
                          <a:pt x="517073" y="635914"/>
                          <a:pt x="526390" y="633664"/>
                          <a:pt x="535696" y="633019"/>
                        </a:cubicBezTo>
                        <a:cubicBezTo>
                          <a:pt x="545039" y="631820"/>
                          <a:pt x="554584" y="631914"/>
                          <a:pt x="563824" y="630129"/>
                        </a:cubicBezTo>
                        <a:cubicBezTo>
                          <a:pt x="563264" y="630275"/>
                          <a:pt x="564121" y="630144"/>
                          <a:pt x="564272" y="630141"/>
                        </a:cubicBezTo>
                        <a:cubicBezTo>
                          <a:pt x="564275" y="630141"/>
                          <a:pt x="564275" y="630144"/>
                          <a:pt x="564278" y="630144"/>
                        </a:cubicBezTo>
                        <a:cubicBezTo>
                          <a:pt x="565397" y="631020"/>
                          <a:pt x="567981" y="629995"/>
                          <a:pt x="569538" y="630626"/>
                        </a:cubicBezTo>
                        <a:cubicBezTo>
                          <a:pt x="543137" y="644012"/>
                          <a:pt x="513533" y="649175"/>
                          <a:pt x="485288" y="657387"/>
                        </a:cubicBezTo>
                        <a:close/>
                        <a:moveTo>
                          <a:pt x="573752" y="667380"/>
                        </a:moveTo>
                        <a:cubicBezTo>
                          <a:pt x="552497" y="674413"/>
                          <a:pt x="529714" y="673988"/>
                          <a:pt x="507713" y="671612"/>
                        </a:cubicBezTo>
                        <a:cubicBezTo>
                          <a:pt x="498711" y="670082"/>
                          <a:pt x="509872" y="661247"/>
                          <a:pt x="507091" y="656613"/>
                        </a:cubicBezTo>
                        <a:cubicBezTo>
                          <a:pt x="515254" y="654428"/>
                          <a:pt x="580719" y="638370"/>
                          <a:pt x="576604" y="629661"/>
                        </a:cubicBezTo>
                        <a:cubicBezTo>
                          <a:pt x="573915" y="626109"/>
                          <a:pt x="569335" y="623845"/>
                          <a:pt x="564878" y="625224"/>
                        </a:cubicBezTo>
                        <a:cubicBezTo>
                          <a:pt x="560523" y="624841"/>
                          <a:pt x="556035" y="625033"/>
                          <a:pt x="551640" y="625512"/>
                        </a:cubicBezTo>
                        <a:cubicBezTo>
                          <a:pt x="531927" y="627040"/>
                          <a:pt x="512214" y="629690"/>
                          <a:pt x="493405" y="635897"/>
                        </a:cubicBezTo>
                        <a:cubicBezTo>
                          <a:pt x="493719" y="633008"/>
                          <a:pt x="492823" y="630175"/>
                          <a:pt x="490921" y="627991"/>
                        </a:cubicBezTo>
                        <a:cubicBezTo>
                          <a:pt x="490998" y="622257"/>
                          <a:pt x="487638" y="616264"/>
                          <a:pt x="483312" y="612769"/>
                        </a:cubicBezTo>
                        <a:cubicBezTo>
                          <a:pt x="478069" y="608275"/>
                          <a:pt x="470514" y="608203"/>
                          <a:pt x="465229" y="603852"/>
                        </a:cubicBezTo>
                        <a:cubicBezTo>
                          <a:pt x="459909" y="598689"/>
                          <a:pt x="455989" y="592213"/>
                          <a:pt x="451666" y="586234"/>
                        </a:cubicBezTo>
                        <a:cubicBezTo>
                          <a:pt x="447480" y="580515"/>
                          <a:pt x="444453" y="573919"/>
                          <a:pt x="439785" y="568548"/>
                        </a:cubicBezTo>
                        <a:cubicBezTo>
                          <a:pt x="440310" y="563683"/>
                          <a:pt x="439893" y="559148"/>
                          <a:pt x="438546" y="554585"/>
                        </a:cubicBezTo>
                        <a:cubicBezTo>
                          <a:pt x="444208" y="549766"/>
                          <a:pt x="449784" y="543275"/>
                          <a:pt x="448616" y="535352"/>
                        </a:cubicBezTo>
                        <a:cubicBezTo>
                          <a:pt x="447868" y="530232"/>
                          <a:pt x="444133" y="526263"/>
                          <a:pt x="442095" y="521643"/>
                        </a:cubicBezTo>
                        <a:cubicBezTo>
                          <a:pt x="438003" y="512375"/>
                          <a:pt x="437926" y="501847"/>
                          <a:pt x="438406" y="491910"/>
                        </a:cubicBezTo>
                        <a:cubicBezTo>
                          <a:pt x="441081" y="454331"/>
                          <a:pt x="442155" y="416629"/>
                          <a:pt x="440013" y="378987"/>
                        </a:cubicBezTo>
                        <a:cubicBezTo>
                          <a:pt x="453830" y="375798"/>
                          <a:pt x="468038" y="373905"/>
                          <a:pt x="482232" y="374393"/>
                        </a:cubicBezTo>
                        <a:cubicBezTo>
                          <a:pt x="485119" y="374481"/>
                          <a:pt x="488951" y="374827"/>
                          <a:pt x="491901" y="373676"/>
                        </a:cubicBezTo>
                        <a:cubicBezTo>
                          <a:pt x="499053" y="377151"/>
                          <a:pt x="506469" y="380112"/>
                          <a:pt x="514167" y="382108"/>
                        </a:cubicBezTo>
                        <a:cubicBezTo>
                          <a:pt x="518498" y="423148"/>
                          <a:pt x="518347" y="464653"/>
                          <a:pt x="513130" y="505599"/>
                        </a:cubicBezTo>
                        <a:cubicBezTo>
                          <a:pt x="511762" y="515873"/>
                          <a:pt x="509669" y="526563"/>
                          <a:pt x="512759" y="536728"/>
                        </a:cubicBezTo>
                        <a:cubicBezTo>
                          <a:pt x="513721" y="539952"/>
                          <a:pt x="515086" y="543036"/>
                          <a:pt x="516162" y="546219"/>
                        </a:cubicBezTo>
                        <a:cubicBezTo>
                          <a:pt x="518618" y="553472"/>
                          <a:pt x="518775" y="561050"/>
                          <a:pt x="518567" y="568631"/>
                        </a:cubicBezTo>
                        <a:cubicBezTo>
                          <a:pt x="518787" y="574359"/>
                          <a:pt x="516565" y="582674"/>
                          <a:pt x="522556" y="586060"/>
                        </a:cubicBezTo>
                        <a:cubicBezTo>
                          <a:pt x="521713" y="591120"/>
                          <a:pt x="520894" y="596211"/>
                          <a:pt x="519412" y="601125"/>
                        </a:cubicBezTo>
                        <a:cubicBezTo>
                          <a:pt x="514703" y="594657"/>
                          <a:pt x="506788" y="592042"/>
                          <a:pt x="502394" y="600280"/>
                        </a:cubicBezTo>
                        <a:cubicBezTo>
                          <a:pt x="497411" y="611264"/>
                          <a:pt x="510041" y="614479"/>
                          <a:pt x="507397" y="626435"/>
                        </a:cubicBezTo>
                        <a:cubicBezTo>
                          <a:pt x="507197" y="629113"/>
                          <a:pt x="511174" y="630058"/>
                          <a:pt x="512399" y="627788"/>
                        </a:cubicBezTo>
                        <a:cubicBezTo>
                          <a:pt x="514315" y="624239"/>
                          <a:pt x="514344" y="619990"/>
                          <a:pt x="513259" y="616161"/>
                        </a:cubicBezTo>
                        <a:cubicBezTo>
                          <a:pt x="512590" y="612232"/>
                          <a:pt x="508933" y="609754"/>
                          <a:pt x="507999" y="606042"/>
                        </a:cubicBezTo>
                        <a:cubicBezTo>
                          <a:pt x="507773" y="604660"/>
                          <a:pt x="508584" y="601733"/>
                          <a:pt x="510252" y="601933"/>
                        </a:cubicBezTo>
                        <a:cubicBezTo>
                          <a:pt x="513872" y="604426"/>
                          <a:pt x="516134" y="608543"/>
                          <a:pt x="519732" y="611141"/>
                        </a:cubicBezTo>
                        <a:cubicBezTo>
                          <a:pt x="535142" y="622443"/>
                          <a:pt x="550478" y="599506"/>
                          <a:pt x="563147" y="592607"/>
                        </a:cubicBezTo>
                        <a:cubicBezTo>
                          <a:pt x="566565" y="590340"/>
                          <a:pt x="569872" y="587839"/>
                          <a:pt x="573389" y="585732"/>
                        </a:cubicBezTo>
                        <a:cubicBezTo>
                          <a:pt x="576859" y="583650"/>
                          <a:pt x="580051" y="583165"/>
                          <a:pt x="584040" y="583079"/>
                        </a:cubicBezTo>
                        <a:cubicBezTo>
                          <a:pt x="587620" y="583005"/>
                          <a:pt x="588851" y="577437"/>
                          <a:pt x="585436" y="576383"/>
                        </a:cubicBezTo>
                        <a:cubicBezTo>
                          <a:pt x="586715" y="574045"/>
                          <a:pt x="587589" y="571612"/>
                          <a:pt x="589388" y="569582"/>
                        </a:cubicBezTo>
                        <a:cubicBezTo>
                          <a:pt x="593711" y="576723"/>
                          <a:pt x="594913" y="585415"/>
                          <a:pt x="600495" y="591879"/>
                        </a:cubicBezTo>
                        <a:cubicBezTo>
                          <a:pt x="595787" y="592011"/>
                          <a:pt x="591492" y="594629"/>
                          <a:pt x="589197" y="598663"/>
                        </a:cubicBezTo>
                        <a:cubicBezTo>
                          <a:pt x="588152" y="600508"/>
                          <a:pt x="590798" y="602767"/>
                          <a:pt x="592240" y="601014"/>
                        </a:cubicBezTo>
                        <a:cubicBezTo>
                          <a:pt x="596127" y="595962"/>
                          <a:pt x="599453" y="597830"/>
                          <a:pt x="603847" y="595777"/>
                        </a:cubicBezTo>
                        <a:cubicBezTo>
                          <a:pt x="605018" y="597013"/>
                          <a:pt x="606240" y="598195"/>
                          <a:pt x="607522" y="599323"/>
                        </a:cubicBezTo>
                        <a:cubicBezTo>
                          <a:pt x="604661" y="600736"/>
                          <a:pt x="602177" y="603138"/>
                          <a:pt x="601006" y="605816"/>
                        </a:cubicBezTo>
                        <a:cubicBezTo>
                          <a:pt x="600292" y="607452"/>
                          <a:pt x="602137" y="609160"/>
                          <a:pt x="603582" y="607803"/>
                        </a:cubicBezTo>
                        <a:cubicBezTo>
                          <a:pt x="605932" y="605548"/>
                          <a:pt x="608704" y="603492"/>
                          <a:pt x="611937" y="602864"/>
                        </a:cubicBezTo>
                        <a:cubicBezTo>
                          <a:pt x="614024" y="604388"/>
                          <a:pt x="616200" y="605782"/>
                          <a:pt x="618444" y="607058"/>
                        </a:cubicBezTo>
                        <a:cubicBezTo>
                          <a:pt x="615731" y="608472"/>
                          <a:pt x="613236" y="610153"/>
                          <a:pt x="610880" y="612092"/>
                        </a:cubicBezTo>
                        <a:cubicBezTo>
                          <a:pt x="609093" y="613548"/>
                          <a:pt x="611471" y="616672"/>
                          <a:pt x="613364" y="615313"/>
                        </a:cubicBezTo>
                        <a:cubicBezTo>
                          <a:pt x="616437" y="612877"/>
                          <a:pt x="620163" y="611561"/>
                          <a:pt x="623552" y="609714"/>
                        </a:cubicBezTo>
                        <a:cubicBezTo>
                          <a:pt x="654713" y="624961"/>
                          <a:pt x="663042" y="609811"/>
                          <a:pt x="684348" y="617003"/>
                        </a:cubicBezTo>
                        <a:cubicBezTo>
                          <a:pt x="655281" y="627839"/>
                          <a:pt x="625662" y="643681"/>
                          <a:pt x="594707" y="647213"/>
                        </a:cubicBezTo>
                        <a:cubicBezTo>
                          <a:pt x="571239" y="645900"/>
                          <a:pt x="547023" y="645120"/>
                          <a:pt x="524343" y="652327"/>
                        </a:cubicBezTo>
                        <a:cubicBezTo>
                          <a:pt x="523424" y="652627"/>
                          <a:pt x="523512" y="654251"/>
                          <a:pt x="524586" y="654120"/>
                        </a:cubicBezTo>
                        <a:cubicBezTo>
                          <a:pt x="546937" y="650608"/>
                          <a:pt x="569429" y="648903"/>
                          <a:pt x="592018" y="650836"/>
                        </a:cubicBezTo>
                        <a:cubicBezTo>
                          <a:pt x="603256" y="651362"/>
                          <a:pt x="613561" y="647987"/>
                          <a:pt x="624046" y="644358"/>
                        </a:cubicBezTo>
                        <a:cubicBezTo>
                          <a:pt x="645715" y="636868"/>
                          <a:pt x="667105" y="628576"/>
                          <a:pt x="688189" y="619579"/>
                        </a:cubicBezTo>
                        <a:cubicBezTo>
                          <a:pt x="688725" y="620141"/>
                          <a:pt x="689125" y="620744"/>
                          <a:pt x="689479" y="621372"/>
                        </a:cubicBezTo>
                        <a:cubicBezTo>
                          <a:pt x="678478" y="626666"/>
                          <a:pt x="668667" y="634070"/>
                          <a:pt x="657993" y="639975"/>
                        </a:cubicBezTo>
                        <a:cubicBezTo>
                          <a:pt x="631410" y="652852"/>
                          <a:pt x="601714" y="658100"/>
                          <a:pt x="573752" y="667380"/>
                        </a:cubicBezTo>
                        <a:close/>
                        <a:moveTo>
                          <a:pt x="732095" y="645580"/>
                        </a:moveTo>
                        <a:cubicBezTo>
                          <a:pt x="733671" y="645631"/>
                          <a:pt x="735242" y="645742"/>
                          <a:pt x="736807" y="645791"/>
                        </a:cubicBezTo>
                        <a:cubicBezTo>
                          <a:pt x="687752" y="660485"/>
                          <a:pt x="637195" y="669279"/>
                          <a:pt x="586244" y="673708"/>
                        </a:cubicBezTo>
                        <a:cubicBezTo>
                          <a:pt x="586507" y="672880"/>
                          <a:pt x="586767" y="672037"/>
                          <a:pt x="586892" y="671141"/>
                        </a:cubicBezTo>
                        <a:cubicBezTo>
                          <a:pt x="605843" y="665453"/>
                          <a:pt x="624888" y="660039"/>
                          <a:pt x="643762" y="654112"/>
                        </a:cubicBezTo>
                        <a:cubicBezTo>
                          <a:pt x="643765" y="654660"/>
                          <a:pt x="644219" y="655225"/>
                          <a:pt x="644916" y="655060"/>
                        </a:cubicBezTo>
                        <a:cubicBezTo>
                          <a:pt x="648217" y="654271"/>
                          <a:pt x="651580" y="654189"/>
                          <a:pt x="654935" y="653746"/>
                        </a:cubicBezTo>
                        <a:cubicBezTo>
                          <a:pt x="664481" y="652510"/>
                          <a:pt x="674120" y="652341"/>
                          <a:pt x="683711" y="651673"/>
                        </a:cubicBezTo>
                        <a:cubicBezTo>
                          <a:pt x="700061" y="651211"/>
                          <a:pt x="715680" y="644623"/>
                          <a:pt x="732095" y="645580"/>
                        </a:cubicBezTo>
                        <a:close/>
                        <a:moveTo>
                          <a:pt x="737920" y="636874"/>
                        </a:moveTo>
                        <a:cubicBezTo>
                          <a:pt x="735208" y="636694"/>
                          <a:pt x="732378" y="637254"/>
                          <a:pt x="729737" y="636885"/>
                        </a:cubicBezTo>
                        <a:cubicBezTo>
                          <a:pt x="727295" y="636366"/>
                          <a:pt x="726173" y="639966"/>
                          <a:pt x="726305" y="641859"/>
                        </a:cubicBezTo>
                        <a:cubicBezTo>
                          <a:pt x="712490" y="641334"/>
                          <a:pt x="699276" y="646345"/>
                          <a:pt x="685585" y="647424"/>
                        </a:cubicBezTo>
                        <a:cubicBezTo>
                          <a:pt x="674266" y="648712"/>
                          <a:pt x="662736" y="648758"/>
                          <a:pt x="651589" y="651242"/>
                        </a:cubicBezTo>
                        <a:cubicBezTo>
                          <a:pt x="668195" y="645825"/>
                          <a:pt x="683694" y="628122"/>
                          <a:pt x="700361" y="626752"/>
                        </a:cubicBezTo>
                        <a:cubicBezTo>
                          <a:pt x="706671" y="626526"/>
                          <a:pt x="712939" y="626018"/>
                          <a:pt x="719249" y="625715"/>
                        </a:cubicBezTo>
                        <a:cubicBezTo>
                          <a:pt x="716519" y="627982"/>
                          <a:pt x="715149" y="644089"/>
                          <a:pt x="721345" y="640826"/>
                        </a:cubicBezTo>
                        <a:cubicBezTo>
                          <a:pt x="721896" y="640440"/>
                          <a:pt x="721879" y="639869"/>
                          <a:pt x="721602" y="639344"/>
                        </a:cubicBezTo>
                        <a:cubicBezTo>
                          <a:pt x="719520" y="634495"/>
                          <a:pt x="720406" y="628016"/>
                          <a:pt x="724637" y="624590"/>
                        </a:cubicBezTo>
                        <a:cubicBezTo>
                          <a:pt x="724866" y="624459"/>
                          <a:pt x="725111" y="624336"/>
                          <a:pt x="725280" y="624127"/>
                        </a:cubicBezTo>
                        <a:cubicBezTo>
                          <a:pt x="726053" y="624582"/>
                          <a:pt x="726733" y="625235"/>
                          <a:pt x="726973" y="626121"/>
                        </a:cubicBezTo>
                        <a:cubicBezTo>
                          <a:pt x="726770" y="626772"/>
                          <a:pt x="727170" y="627677"/>
                          <a:pt x="727998" y="627645"/>
                        </a:cubicBezTo>
                        <a:cubicBezTo>
                          <a:pt x="732472" y="627480"/>
                          <a:pt x="736687" y="627565"/>
                          <a:pt x="741218" y="627457"/>
                        </a:cubicBezTo>
                        <a:cubicBezTo>
                          <a:pt x="739936" y="630352"/>
                          <a:pt x="739865" y="633856"/>
                          <a:pt x="741284" y="636802"/>
                        </a:cubicBezTo>
                        <a:cubicBezTo>
                          <a:pt x="740105" y="636791"/>
                          <a:pt x="738922" y="636888"/>
                          <a:pt x="737920" y="636874"/>
                        </a:cubicBezTo>
                        <a:close/>
                        <a:moveTo>
                          <a:pt x="745156" y="636854"/>
                        </a:moveTo>
                        <a:cubicBezTo>
                          <a:pt x="742095" y="635772"/>
                          <a:pt x="742663" y="630212"/>
                          <a:pt x="743868" y="627902"/>
                        </a:cubicBezTo>
                        <a:cubicBezTo>
                          <a:pt x="744736" y="627740"/>
                          <a:pt x="745570" y="628085"/>
                          <a:pt x="746421" y="628262"/>
                        </a:cubicBezTo>
                        <a:cubicBezTo>
                          <a:pt x="747123" y="630369"/>
                          <a:pt x="748639" y="636548"/>
                          <a:pt x="745156" y="636854"/>
                        </a:cubicBezTo>
                        <a:close/>
                      </a:path>
                    </a:pathLst>
                  </a:custGeom>
                  <a:solidFill>
                    <a:srgbClr val="000000"/>
                  </a:solidFill>
                  <a:ln w="2826" cap="flat">
                    <a:noFill/>
                    <a:prstDash val="solid"/>
                    <a:miter/>
                  </a:ln>
                </p:spPr>
                <p:txBody>
                  <a:bodyPr rtlCol="0" anchor="ctr"/>
                  <a:lstStyle/>
                  <a:p>
                    <a:endParaRPr lang="fr-CA"/>
                  </a:p>
                </p:txBody>
              </p:sp>
            </p:grpSp>
          </p:grpSp>
          <p:grpSp>
            <p:nvGrpSpPr>
              <p:cNvPr id="1522" name="Graphique 35" descr="Garçon dans un fauteuil roulant">
                <a:extLst>
                  <a:ext uri="{FF2B5EF4-FFF2-40B4-BE49-F238E27FC236}">
                    <a16:creationId xmlns:a16="http://schemas.microsoft.com/office/drawing/2014/main" id="{7F596CBC-FF90-23D5-1048-6218DB9F352A}"/>
                  </a:ext>
                </a:extLst>
              </p:cNvPr>
              <p:cNvGrpSpPr/>
              <p:nvPr/>
            </p:nvGrpSpPr>
            <p:grpSpPr>
              <a:xfrm>
                <a:off x="9352242" y="3832116"/>
                <a:ext cx="154059" cy="189583"/>
                <a:chOff x="9352242" y="3832116"/>
                <a:chExt cx="154059" cy="189583"/>
              </a:xfrm>
            </p:grpSpPr>
            <p:sp>
              <p:nvSpPr>
                <p:cNvPr id="1532" name="Forme libre : forme 1531">
                  <a:extLst>
                    <a:ext uri="{FF2B5EF4-FFF2-40B4-BE49-F238E27FC236}">
                      <a16:creationId xmlns:a16="http://schemas.microsoft.com/office/drawing/2014/main" id="{B22B50A2-10CA-440E-61B7-4D3F9B86824B}"/>
                    </a:ext>
                  </a:extLst>
                </p:cNvPr>
                <p:cNvSpPr/>
                <p:nvPr/>
              </p:nvSpPr>
              <p:spPr>
                <a:xfrm>
                  <a:off x="9353792" y="3844553"/>
                  <a:ext cx="148476" cy="174319"/>
                </a:xfrm>
                <a:custGeom>
                  <a:avLst/>
                  <a:gdLst>
                    <a:gd name="connsiteX0" fmla="*/ 77552 w 148476"/>
                    <a:gd name="connsiteY0" fmla="*/ 2095 h 174319"/>
                    <a:gd name="connsiteX1" fmla="*/ 129491 w 148476"/>
                    <a:gd name="connsiteY1" fmla="*/ 19427 h 174319"/>
                    <a:gd name="connsiteX2" fmla="*/ 132803 w 148476"/>
                    <a:gd name="connsiteY2" fmla="*/ 32076 h 174319"/>
                    <a:gd name="connsiteX3" fmla="*/ 149193 w 148476"/>
                    <a:gd name="connsiteY3" fmla="*/ 139009 h 174319"/>
                    <a:gd name="connsiteX4" fmla="*/ 94227 w 148476"/>
                    <a:gd name="connsiteY4" fmla="*/ 176414 h 174319"/>
                    <a:gd name="connsiteX5" fmla="*/ 33666 w 148476"/>
                    <a:gd name="connsiteY5" fmla="*/ 153286 h 174319"/>
                    <a:gd name="connsiteX6" fmla="*/ 17476 w 148476"/>
                    <a:gd name="connsiteY6" fmla="*/ 125960 h 174319"/>
                    <a:gd name="connsiteX7" fmla="*/ 10023 w 148476"/>
                    <a:gd name="connsiteY7" fmla="*/ 126960 h 174319"/>
                    <a:gd name="connsiteX8" fmla="*/ 1228 w 148476"/>
                    <a:gd name="connsiteY8" fmla="*/ 110227 h 174319"/>
                    <a:gd name="connsiteX9" fmla="*/ 12222 w 148476"/>
                    <a:gd name="connsiteY9" fmla="*/ 91439 h 174319"/>
                    <a:gd name="connsiteX10" fmla="*/ 18218 w 148476"/>
                    <a:gd name="connsiteY10" fmla="*/ 22882 h 174319"/>
                    <a:gd name="connsiteX11" fmla="*/ 77552 w 148476"/>
                    <a:gd name="connsiteY11" fmla="*/ 2095 h 1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476" h="174319">
                      <a:moveTo>
                        <a:pt x="77552" y="2095"/>
                      </a:moveTo>
                      <a:cubicBezTo>
                        <a:pt x="96369" y="2095"/>
                        <a:pt x="119840" y="7891"/>
                        <a:pt x="129491" y="19427"/>
                      </a:cubicBezTo>
                      <a:cubicBezTo>
                        <a:pt x="131832" y="22197"/>
                        <a:pt x="132289" y="29164"/>
                        <a:pt x="132803" y="32076"/>
                      </a:cubicBezTo>
                      <a:cubicBezTo>
                        <a:pt x="135830" y="49751"/>
                        <a:pt x="152848" y="117251"/>
                        <a:pt x="149193" y="139009"/>
                      </a:cubicBezTo>
                      <a:cubicBezTo>
                        <a:pt x="145538" y="160738"/>
                        <a:pt x="125807" y="176414"/>
                        <a:pt x="94227" y="176414"/>
                      </a:cubicBezTo>
                      <a:cubicBezTo>
                        <a:pt x="62647" y="176414"/>
                        <a:pt x="39062" y="159196"/>
                        <a:pt x="33666" y="153286"/>
                      </a:cubicBezTo>
                      <a:cubicBezTo>
                        <a:pt x="28240" y="147347"/>
                        <a:pt x="17476" y="125960"/>
                        <a:pt x="17476" y="125960"/>
                      </a:cubicBezTo>
                      <a:cubicBezTo>
                        <a:pt x="17476" y="125960"/>
                        <a:pt x="13335" y="128359"/>
                        <a:pt x="10023" y="126960"/>
                      </a:cubicBezTo>
                      <a:cubicBezTo>
                        <a:pt x="5455" y="125018"/>
                        <a:pt x="1286" y="118251"/>
                        <a:pt x="1228" y="110227"/>
                      </a:cubicBezTo>
                      <a:cubicBezTo>
                        <a:pt x="1143" y="96436"/>
                        <a:pt x="12222" y="91439"/>
                        <a:pt x="12222" y="91439"/>
                      </a:cubicBezTo>
                      <a:cubicBezTo>
                        <a:pt x="12222" y="91439"/>
                        <a:pt x="8281" y="37044"/>
                        <a:pt x="18218" y="22882"/>
                      </a:cubicBezTo>
                      <a:cubicBezTo>
                        <a:pt x="28155" y="8720"/>
                        <a:pt x="54224" y="2095"/>
                        <a:pt x="77552" y="2095"/>
                      </a:cubicBezTo>
                      <a:close/>
                    </a:path>
                  </a:pathLst>
                </a:custGeom>
                <a:solidFill>
                  <a:srgbClr val="FFFFFF"/>
                </a:solidFill>
                <a:ln w="2826" cap="flat">
                  <a:noFill/>
                  <a:prstDash val="solid"/>
                  <a:miter/>
                </a:ln>
              </p:spPr>
              <p:txBody>
                <a:bodyPr rtlCol="0" anchor="ctr"/>
                <a:lstStyle/>
                <a:p>
                  <a:endParaRPr lang="fr-CA"/>
                </a:p>
              </p:txBody>
            </p:sp>
            <p:sp>
              <p:nvSpPr>
                <p:cNvPr id="1533" name="Forme libre : forme 1532">
                  <a:extLst>
                    <a:ext uri="{FF2B5EF4-FFF2-40B4-BE49-F238E27FC236}">
                      <a16:creationId xmlns:a16="http://schemas.microsoft.com/office/drawing/2014/main" id="{D24AED18-9F04-6DA4-7B4B-D3970C53B294}"/>
                    </a:ext>
                  </a:extLst>
                </p:cNvPr>
                <p:cNvSpPr/>
                <p:nvPr/>
              </p:nvSpPr>
              <p:spPr>
                <a:xfrm>
                  <a:off x="9352242" y="3832116"/>
                  <a:ext cx="154059" cy="189583"/>
                </a:xfrm>
                <a:custGeom>
                  <a:avLst/>
                  <a:gdLst>
                    <a:gd name="connsiteX0" fmla="*/ 97119 w 154059"/>
                    <a:gd name="connsiteY0" fmla="*/ 191678 h 189583"/>
                    <a:gd name="connsiteX1" fmla="*/ 82671 w 154059"/>
                    <a:gd name="connsiteY1" fmla="*/ 190108 h 189583"/>
                    <a:gd name="connsiteX2" fmla="*/ 80415 w 154059"/>
                    <a:gd name="connsiteY2" fmla="*/ 182456 h 189583"/>
                    <a:gd name="connsiteX3" fmla="*/ 142690 w 154059"/>
                    <a:gd name="connsiteY3" fmla="*/ 162525 h 189583"/>
                    <a:gd name="connsiteX4" fmla="*/ 145117 w 154059"/>
                    <a:gd name="connsiteY4" fmla="*/ 124749 h 189583"/>
                    <a:gd name="connsiteX5" fmla="*/ 137208 w 154059"/>
                    <a:gd name="connsiteY5" fmla="*/ 72782 h 189583"/>
                    <a:gd name="connsiteX6" fmla="*/ 137208 w 154059"/>
                    <a:gd name="connsiteY6" fmla="*/ 72782 h 189583"/>
                    <a:gd name="connsiteX7" fmla="*/ 134095 w 154059"/>
                    <a:gd name="connsiteY7" fmla="*/ 48026 h 189583"/>
                    <a:gd name="connsiteX8" fmla="*/ 133867 w 154059"/>
                    <a:gd name="connsiteY8" fmla="*/ 41630 h 189583"/>
                    <a:gd name="connsiteX9" fmla="*/ 136608 w 154059"/>
                    <a:gd name="connsiteY9" fmla="*/ 49625 h 189583"/>
                    <a:gd name="connsiteX10" fmla="*/ 145659 w 154059"/>
                    <a:gd name="connsiteY10" fmla="*/ 88344 h 189583"/>
                    <a:gd name="connsiteX11" fmla="*/ 154026 w 154059"/>
                    <a:gd name="connsiteY11" fmla="*/ 133601 h 189583"/>
                    <a:gd name="connsiteX12" fmla="*/ 151027 w 154059"/>
                    <a:gd name="connsiteY12" fmla="*/ 164667 h 189583"/>
                    <a:gd name="connsiteX13" fmla="*/ 97119 w 154059"/>
                    <a:gd name="connsiteY13" fmla="*/ 191678 h 189583"/>
                    <a:gd name="connsiteX14" fmla="*/ 44666 w 154059"/>
                    <a:gd name="connsiteY14" fmla="*/ 173490 h 189583"/>
                    <a:gd name="connsiteX15" fmla="*/ 19396 w 154059"/>
                    <a:gd name="connsiteY15" fmla="*/ 139968 h 189583"/>
                    <a:gd name="connsiteX16" fmla="*/ 12686 w 154059"/>
                    <a:gd name="connsiteY16" fmla="*/ 142652 h 189583"/>
                    <a:gd name="connsiteX17" fmla="*/ 8060 w 154059"/>
                    <a:gd name="connsiteY17" fmla="*/ 106304 h 189583"/>
                    <a:gd name="connsiteX18" fmla="*/ 7718 w 154059"/>
                    <a:gd name="connsiteY18" fmla="*/ 60760 h 189583"/>
                    <a:gd name="connsiteX19" fmla="*/ 10887 w 154059"/>
                    <a:gd name="connsiteY19" fmla="*/ 36947 h 189583"/>
                    <a:gd name="connsiteX20" fmla="*/ 33330 w 154059"/>
                    <a:gd name="connsiteY20" fmla="*/ 2997 h 189583"/>
                    <a:gd name="connsiteX21" fmla="*/ 43866 w 154059"/>
                    <a:gd name="connsiteY21" fmla="*/ 2112 h 189583"/>
                    <a:gd name="connsiteX22" fmla="*/ 109282 w 154059"/>
                    <a:gd name="connsiteY22" fmla="*/ 3568 h 189583"/>
                    <a:gd name="connsiteX23" fmla="*/ 126871 w 154059"/>
                    <a:gd name="connsiteY23" fmla="*/ 3825 h 189583"/>
                    <a:gd name="connsiteX24" fmla="*/ 138835 w 154059"/>
                    <a:gd name="connsiteY24" fmla="*/ 7851 h 189583"/>
                    <a:gd name="connsiteX25" fmla="*/ 142062 w 154059"/>
                    <a:gd name="connsiteY25" fmla="*/ 8136 h 189583"/>
                    <a:gd name="connsiteX26" fmla="*/ 144546 w 154059"/>
                    <a:gd name="connsiteY26" fmla="*/ 12305 h 189583"/>
                    <a:gd name="connsiteX27" fmla="*/ 141862 w 154059"/>
                    <a:gd name="connsiteY27" fmla="*/ 23984 h 189583"/>
                    <a:gd name="connsiteX28" fmla="*/ 138921 w 154059"/>
                    <a:gd name="connsiteY28" fmla="*/ 38889 h 189583"/>
                    <a:gd name="connsiteX29" fmla="*/ 132011 w 154059"/>
                    <a:gd name="connsiteY29" fmla="*/ 37318 h 189583"/>
                    <a:gd name="connsiteX30" fmla="*/ 38099 w 154059"/>
                    <a:gd name="connsiteY30" fmla="*/ 46627 h 189583"/>
                    <a:gd name="connsiteX31" fmla="*/ 36014 w 154059"/>
                    <a:gd name="connsiteY31" fmla="*/ 53137 h 189583"/>
                    <a:gd name="connsiteX32" fmla="*/ 37413 w 154059"/>
                    <a:gd name="connsiteY32" fmla="*/ 56792 h 189583"/>
                    <a:gd name="connsiteX33" fmla="*/ 40526 w 154059"/>
                    <a:gd name="connsiteY33" fmla="*/ 65415 h 189583"/>
                    <a:gd name="connsiteX34" fmla="*/ 35015 w 154059"/>
                    <a:gd name="connsiteY34" fmla="*/ 73296 h 189583"/>
                    <a:gd name="connsiteX35" fmla="*/ 27419 w 154059"/>
                    <a:gd name="connsiteY35" fmla="*/ 89457 h 189583"/>
                    <a:gd name="connsiteX36" fmla="*/ 27933 w 154059"/>
                    <a:gd name="connsiteY36" fmla="*/ 105361 h 189583"/>
                    <a:gd name="connsiteX37" fmla="*/ 23622 w 154059"/>
                    <a:gd name="connsiteY37" fmla="*/ 109416 h 189583"/>
                    <a:gd name="connsiteX38" fmla="*/ 22851 w 154059"/>
                    <a:gd name="connsiteY38" fmla="*/ 109131 h 189583"/>
                    <a:gd name="connsiteX39" fmla="*/ 12486 w 154059"/>
                    <a:gd name="connsiteY39" fmla="*/ 108759 h 189583"/>
                    <a:gd name="connsiteX40" fmla="*/ 13200 w 154059"/>
                    <a:gd name="connsiteY40" fmla="*/ 135542 h 189583"/>
                    <a:gd name="connsiteX41" fmla="*/ 19910 w 154059"/>
                    <a:gd name="connsiteY41" fmla="*/ 138683 h 189583"/>
                    <a:gd name="connsiteX42" fmla="*/ 46864 w 154059"/>
                    <a:gd name="connsiteY42" fmla="*/ 167522 h 189583"/>
                    <a:gd name="connsiteX43" fmla="*/ 44666 w 154059"/>
                    <a:gd name="connsiteY43" fmla="*/ 173490 h 189583"/>
                    <a:gd name="connsiteX44" fmla="*/ 21966 w 154059"/>
                    <a:gd name="connsiteY44" fmla="*/ 128804 h 189583"/>
                    <a:gd name="connsiteX45" fmla="*/ 19025 w 154059"/>
                    <a:gd name="connsiteY45" fmla="*/ 126434 h 189583"/>
                    <a:gd name="connsiteX46" fmla="*/ 11515 w 154059"/>
                    <a:gd name="connsiteY46" fmla="*/ 119695 h 189583"/>
                    <a:gd name="connsiteX47" fmla="*/ 11344 w 154059"/>
                    <a:gd name="connsiteY47" fmla="*/ 119096 h 189583"/>
                    <a:gd name="connsiteX48" fmla="*/ 21109 w 154059"/>
                    <a:gd name="connsiteY48" fmla="*/ 119609 h 189583"/>
                    <a:gd name="connsiteX49" fmla="*/ 21966 w 154059"/>
                    <a:gd name="connsiteY49" fmla="*/ 128804 h 18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4059" h="189583">
                      <a:moveTo>
                        <a:pt x="97119" y="191678"/>
                      </a:moveTo>
                      <a:cubicBezTo>
                        <a:pt x="92265" y="191678"/>
                        <a:pt x="87439" y="191136"/>
                        <a:pt x="82671" y="190108"/>
                      </a:cubicBezTo>
                      <a:cubicBezTo>
                        <a:pt x="76389" y="189594"/>
                        <a:pt x="70078" y="182085"/>
                        <a:pt x="80415" y="182456"/>
                      </a:cubicBezTo>
                      <a:cubicBezTo>
                        <a:pt x="102372" y="187453"/>
                        <a:pt x="126843" y="183741"/>
                        <a:pt x="142690" y="162525"/>
                      </a:cubicBezTo>
                      <a:cubicBezTo>
                        <a:pt x="150143" y="151161"/>
                        <a:pt x="147116" y="137541"/>
                        <a:pt x="145117" y="124749"/>
                      </a:cubicBezTo>
                      <a:cubicBezTo>
                        <a:pt x="141862" y="103991"/>
                        <a:pt x="139920" y="90628"/>
                        <a:pt x="137208" y="72782"/>
                      </a:cubicBezTo>
                      <a:lnTo>
                        <a:pt x="137208" y="72782"/>
                      </a:lnTo>
                      <a:cubicBezTo>
                        <a:pt x="135951" y="64358"/>
                        <a:pt x="134666" y="56763"/>
                        <a:pt x="134095" y="48026"/>
                      </a:cubicBezTo>
                      <a:cubicBezTo>
                        <a:pt x="133953" y="45970"/>
                        <a:pt x="133382" y="41658"/>
                        <a:pt x="133867" y="41630"/>
                      </a:cubicBezTo>
                      <a:cubicBezTo>
                        <a:pt x="134381" y="41601"/>
                        <a:pt x="135780" y="46998"/>
                        <a:pt x="136608" y="49625"/>
                      </a:cubicBezTo>
                      <a:cubicBezTo>
                        <a:pt x="140634" y="62217"/>
                        <a:pt x="142576" y="73952"/>
                        <a:pt x="145659" y="88344"/>
                      </a:cubicBezTo>
                      <a:cubicBezTo>
                        <a:pt x="148515" y="103306"/>
                        <a:pt x="151542" y="118410"/>
                        <a:pt x="154026" y="133601"/>
                      </a:cubicBezTo>
                      <a:cubicBezTo>
                        <a:pt x="155767" y="143937"/>
                        <a:pt x="156453" y="155273"/>
                        <a:pt x="151027" y="164667"/>
                      </a:cubicBezTo>
                      <a:cubicBezTo>
                        <a:pt x="140149" y="182941"/>
                        <a:pt x="117620" y="191393"/>
                        <a:pt x="97119" y="191678"/>
                      </a:cubicBezTo>
                      <a:close/>
                      <a:moveTo>
                        <a:pt x="44666" y="173490"/>
                      </a:moveTo>
                      <a:cubicBezTo>
                        <a:pt x="31503" y="169407"/>
                        <a:pt x="21794" y="153017"/>
                        <a:pt x="19396" y="139968"/>
                      </a:cubicBezTo>
                      <a:cubicBezTo>
                        <a:pt x="18368" y="142595"/>
                        <a:pt x="15199" y="143195"/>
                        <a:pt x="12686" y="142652"/>
                      </a:cubicBezTo>
                      <a:cubicBezTo>
                        <a:pt x="-1220" y="140311"/>
                        <a:pt x="-2105" y="112956"/>
                        <a:pt x="8060" y="106304"/>
                      </a:cubicBezTo>
                      <a:cubicBezTo>
                        <a:pt x="1921" y="91856"/>
                        <a:pt x="5947" y="75722"/>
                        <a:pt x="7718" y="60760"/>
                      </a:cubicBezTo>
                      <a:cubicBezTo>
                        <a:pt x="7718" y="60760"/>
                        <a:pt x="10887" y="36947"/>
                        <a:pt x="10887" y="36947"/>
                      </a:cubicBezTo>
                      <a:cubicBezTo>
                        <a:pt x="12172" y="23127"/>
                        <a:pt x="17511" y="5653"/>
                        <a:pt x="33330" y="2997"/>
                      </a:cubicBezTo>
                      <a:cubicBezTo>
                        <a:pt x="36785" y="2254"/>
                        <a:pt x="40326" y="2026"/>
                        <a:pt x="43866" y="2112"/>
                      </a:cubicBezTo>
                      <a:cubicBezTo>
                        <a:pt x="53489" y="2283"/>
                        <a:pt x="93835" y="3225"/>
                        <a:pt x="109282" y="3568"/>
                      </a:cubicBezTo>
                      <a:cubicBezTo>
                        <a:pt x="113765" y="3653"/>
                        <a:pt x="122303" y="3739"/>
                        <a:pt x="126871" y="3825"/>
                      </a:cubicBezTo>
                      <a:cubicBezTo>
                        <a:pt x="130612" y="4282"/>
                        <a:pt x="138721" y="2311"/>
                        <a:pt x="138835" y="7851"/>
                      </a:cubicBezTo>
                      <a:lnTo>
                        <a:pt x="142062" y="8136"/>
                      </a:lnTo>
                      <a:cubicBezTo>
                        <a:pt x="144089" y="8165"/>
                        <a:pt x="145488" y="10478"/>
                        <a:pt x="144546" y="12305"/>
                      </a:cubicBezTo>
                      <a:cubicBezTo>
                        <a:pt x="143432" y="14618"/>
                        <a:pt x="142576" y="19729"/>
                        <a:pt x="141862" y="23984"/>
                      </a:cubicBezTo>
                      <a:cubicBezTo>
                        <a:pt x="140577" y="29124"/>
                        <a:pt x="140463" y="34663"/>
                        <a:pt x="138921" y="38889"/>
                      </a:cubicBezTo>
                      <a:cubicBezTo>
                        <a:pt x="137208" y="41944"/>
                        <a:pt x="131554" y="41373"/>
                        <a:pt x="132011" y="37318"/>
                      </a:cubicBezTo>
                      <a:cubicBezTo>
                        <a:pt x="100459" y="36291"/>
                        <a:pt x="68023" y="36947"/>
                        <a:pt x="38099" y="46627"/>
                      </a:cubicBezTo>
                      <a:cubicBezTo>
                        <a:pt x="35700" y="48083"/>
                        <a:pt x="35757" y="50738"/>
                        <a:pt x="36014" y="53137"/>
                      </a:cubicBezTo>
                      <a:cubicBezTo>
                        <a:pt x="36185" y="55450"/>
                        <a:pt x="37070" y="55050"/>
                        <a:pt x="37413" y="56792"/>
                      </a:cubicBezTo>
                      <a:cubicBezTo>
                        <a:pt x="38184" y="59733"/>
                        <a:pt x="39127" y="62674"/>
                        <a:pt x="40526" y="65415"/>
                      </a:cubicBezTo>
                      <a:cubicBezTo>
                        <a:pt x="43324" y="69355"/>
                        <a:pt x="38841" y="73067"/>
                        <a:pt x="35015" y="73296"/>
                      </a:cubicBezTo>
                      <a:cubicBezTo>
                        <a:pt x="27305" y="73895"/>
                        <a:pt x="27848" y="83518"/>
                        <a:pt x="27419" y="89457"/>
                      </a:cubicBezTo>
                      <a:cubicBezTo>
                        <a:pt x="27048" y="94768"/>
                        <a:pt x="27477" y="100079"/>
                        <a:pt x="27933" y="105361"/>
                      </a:cubicBezTo>
                      <a:cubicBezTo>
                        <a:pt x="28305" y="108502"/>
                        <a:pt x="25906" y="111557"/>
                        <a:pt x="23622" y="109416"/>
                      </a:cubicBezTo>
                      <a:cubicBezTo>
                        <a:pt x="23308" y="109131"/>
                        <a:pt x="23136" y="109473"/>
                        <a:pt x="22851" y="109131"/>
                      </a:cubicBezTo>
                      <a:cubicBezTo>
                        <a:pt x="20224" y="106104"/>
                        <a:pt x="15570" y="106503"/>
                        <a:pt x="12486" y="108759"/>
                      </a:cubicBezTo>
                      <a:cubicBezTo>
                        <a:pt x="5462" y="113156"/>
                        <a:pt x="6319" y="132316"/>
                        <a:pt x="13200" y="135542"/>
                      </a:cubicBezTo>
                      <a:cubicBezTo>
                        <a:pt x="15142" y="136342"/>
                        <a:pt x="20795" y="135257"/>
                        <a:pt x="19910" y="138683"/>
                      </a:cubicBezTo>
                      <a:cubicBezTo>
                        <a:pt x="25335" y="148705"/>
                        <a:pt x="35072" y="162639"/>
                        <a:pt x="46864" y="167522"/>
                      </a:cubicBezTo>
                      <a:cubicBezTo>
                        <a:pt x="50691" y="168636"/>
                        <a:pt x="48007" y="173947"/>
                        <a:pt x="44666" y="173490"/>
                      </a:cubicBezTo>
                      <a:close/>
                      <a:moveTo>
                        <a:pt x="21966" y="128804"/>
                      </a:moveTo>
                      <a:cubicBezTo>
                        <a:pt x="20567" y="128861"/>
                        <a:pt x="19282" y="127804"/>
                        <a:pt x="19025" y="126434"/>
                      </a:cubicBezTo>
                      <a:cubicBezTo>
                        <a:pt x="18225" y="123122"/>
                        <a:pt x="14941" y="120152"/>
                        <a:pt x="11515" y="119695"/>
                      </a:cubicBezTo>
                      <a:cubicBezTo>
                        <a:pt x="11230" y="119667"/>
                        <a:pt x="11030" y="119210"/>
                        <a:pt x="11344" y="119096"/>
                      </a:cubicBezTo>
                      <a:cubicBezTo>
                        <a:pt x="14485" y="117525"/>
                        <a:pt x="18168" y="117725"/>
                        <a:pt x="21109" y="119609"/>
                      </a:cubicBezTo>
                      <a:cubicBezTo>
                        <a:pt x="24935" y="121780"/>
                        <a:pt x="28448" y="128061"/>
                        <a:pt x="21966" y="128804"/>
                      </a:cubicBezTo>
                      <a:close/>
                    </a:path>
                  </a:pathLst>
                </a:custGeom>
                <a:solidFill>
                  <a:srgbClr val="000000"/>
                </a:solidFill>
                <a:ln w="2826" cap="flat">
                  <a:noFill/>
                  <a:prstDash val="solid"/>
                  <a:miter/>
                </a:ln>
              </p:spPr>
              <p:txBody>
                <a:bodyPr rtlCol="0" anchor="ctr"/>
                <a:lstStyle/>
                <a:p>
                  <a:endParaRPr lang="fr-CA"/>
                </a:p>
              </p:txBody>
            </p:sp>
          </p:grpSp>
          <p:grpSp>
            <p:nvGrpSpPr>
              <p:cNvPr id="1523" name="Graphique 35" descr="Garçon dans un fauteuil roulant">
                <a:extLst>
                  <a:ext uri="{FF2B5EF4-FFF2-40B4-BE49-F238E27FC236}">
                    <a16:creationId xmlns:a16="http://schemas.microsoft.com/office/drawing/2014/main" id="{F94FB414-A279-9EDC-BDD5-317867EC7326}"/>
                  </a:ext>
                </a:extLst>
              </p:cNvPr>
              <p:cNvGrpSpPr/>
              <p:nvPr/>
            </p:nvGrpSpPr>
            <p:grpSpPr>
              <a:xfrm>
                <a:off x="9408469" y="3907926"/>
                <a:ext cx="79331" cy="83686"/>
                <a:chOff x="9408469" y="3907926"/>
                <a:chExt cx="79331" cy="83686"/>
              </a:xfrm>
            </p:grpSpPr>
            <p:sp>
              <p:nvSpPr>
                <p:cNvPr id="1524" name="Forme libre : forme 1523">
                  <a:extLst>
                    <a:ext uri="{FF2B5EF4-FFF2-40B4-BE49-F238E27FC236}">
                      <a16:creationId xmlns:a16="http://schemas.microsoft.com/office/drawing/2014/main" id="{B96D44ED-E99E-CA13-3787-078E7B3D76CC}"/>
                    </a:ext>
                  </a:extLst>
                </p:cNvPr>
                <p:cNvSpPr/>
                <p:nvPr/>
              </p:nvSpPr>
              <p:spPr>
                <a:xfrm>
                  <a:off x="9413190" y="3960732"/>
                  <a:ext cx="64888" cy="27596"/>
                </a:xfrm>
                <a:custGeom>
                  <a:avLst/>
                  <a:gdLst>
                    <a:gd name="connsiteX0" fmla="*/ 8773 w 64888"/>
                    <a:gd name="connsiteY0" fmla="*/ 2387 h 27596"/>
                    <a:gd name="connsiteX1" fmla="*/ 43265 w 64888"/>
                    <a:gd name="connsiteY1" fmla="*/ 3186 h 27596"/>
                    <a:gd name="connsiteX2" fmla="*/ 62910 w 64888"/>
                    <a:gd name="connsiteY2" fmla="*/ 3415 h 27596"/>
                    <a:gd name="connsiteX3" fmla="*/ 56000 w 64888"/>
                    <a:gd name="connsiteY3" fmla="*/ 25658 h 27596"/>
                    <a:gd name="connsiteX4" fmla="*/ 6032 w 64888"/>
                    <a:gd name="connsiteY4" fmla="*/ 25258 h 27596"/>
                    <a:gd name="connsiteX5" fmla="*/ 8773 w 64888"/>
                    <a:gd name="connsiteY5" fmla="*/ 2387 h 2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88" h="27596">
                      <a:moveTo>
                        <a:pt x="8773" y="2387"/>
                      </a:moveTo>
                      <a:cubicBezTo>
                        <a:pt x="13199" y="-297"/>
                        <a:pt x="30245" y="2472"/>
                        <a:pt x="43265" y="3186"/>
                      </a:cubicBezTo>
                      <a:cubicBezTo>
                        <a:pt x="53716" y="1816"/>
                        <a:pt x="60540" y="1816"/>
                        <a:pt x="62910" y="3415"/>
                      </a:cubicBezTo>
                      <a:cubicBezTo>
                        <a:pt x="68250" y="7012"/>
                        <a:pt x="68992" y="18491"/>
                        <a:pt x="56000" y="25658"/>
                      </a:cubicBezTo>
                      <a:cubicBezTo>
                        <a:pt x="49890" y="28770"/>
                        <a:pt x="11828" y="31054"/>
                        <a:pt x="6032" y="25258"/>
                      </a:cubicBezTo>
                      <a:cubicBezTo>
                        <a:pt x="-1021" y="18205"/>
                        <a:pt x="806" y="7184"/>
                        <a:pt x="8773" y="2387"/>
                      </a:cubicBezTo>
                      <a:close/>
                    </a:path>
                  </a:pathLst>
                </a:custGeom>
                <a:solidFill>
                  <a:srgbClr val="FFFFFF"/>
                </a:solidFill>
                <a:ln w="2826" cap="flat">
                  <a:noFill/>
                  <a:prstDash val="solid"/>
                  <a:miter/>
                </a:ln>
              </p:spPr>
              <p:txBody>
                <a:bodyPr rtlCol="0" anchor="ctr"/>
                <a:lstStyle/>
                <a:p>
                  <a:endParaRPr lang="fr-CA"/>
                </a:p>
              </p:txBody>
            </p:sp>
            <p:grpSp>
              <p:nvGrpSpPr>
                <p:cNvPr id="1525" name="Graphique 35" descr="Garçon dans un fauteuil roulant">
                  <a:extLst>
                    <a:ext uri="{FF2B5EF4-FFF2-40B4-BE49-F238E27FC236}">
                      <a16:creationId xmlns:a16="http://schemas.microsoft.com/office/drawing/2014/main" id="{88F2B92A-D346-BA71-2B01-A13B121D08BA}"/>
                    </a:ext>
                  </a:extLst>
                </p:cNvPr>
                <p:cNvGrpSpPr/>
                <p:nvPr/>
              </p:nvGrpSpPr>
              <p:grpSpPr>
                <a:xfrm>
                  <a:off x="9408469" y="3907926"/>
                  <a:ext cx="79331" cy="83686"/>
                  <a:chOff x="9408469" y="3907926"/>
                  <a:chExt cx="79331" cy="83686"/>
                </a:xfrm>
                <a:solidFill>
                  <a:srgbClr val="000000"/>
                </a:solidFill>
              </p:grpSpPr>
              <p:sp>
                <p:nvSpPr>
                  <p:cNvPr id="1526" name="Forme libre : forme 1525">
                    <a:extLst>
                      <a:ext uri="{FF2B5EF4-FFF2-40B4-BE49-F238E27FC236}">
                        <a16:creationId xmlns:a16="http://schemas.microsoft.com/office/drawing/2014/main" id="{853E7C23-254E-2FA0-8BFE-574DB3A798AC}"/>
                      </a:ext>
                    </a:extLst>
                  </p:cNvPr>
                  <p:cNvSpPr/>
                  <p:nvPr/>
                </p:nvSpPr>
                <p:spPr>
                  <a:xfrm>
                    <a:off x="9410128" y="3957123"/>
                    <a:ext cx="71444" cy="34489"/>
                  </a:xfrm>
                  <a:custGeom>
                    <a:avLst/>
                    <a:gdLst>
                      <a:gd name="connsiteX0" fmla="*/ 69656 w 71444"/>
                      <a:gd name="connsiteY0" fmla="*/ 6709 h 34489"/>
                      <a:gd name="connsiteX1" fmla="*/ 61775 w 71444"/>
                      <a:gd name="connsiteY1" fmla="*/ 2911 h 34489"/>
                      <a:gd name="connsiteX2" fmla="*/ 52324 w 71444"/>
                      <a:gd name="connsiteY2" fmla="*/ 3368 h 34489"/>
                      <a:gd name="connsiteX3" fmla="*/ 51125 w 71444"/>
                      <a:gd name="connsiteY3" fmla="*/ 4967 h 34489"/>
                      <a:gd name="connsiteX4" fmla="*/ 9408 w 71444"/>
                      <a:gd name="connsiteY4" fmla="*/ 4025 h 34489"/>
                      <a:gd name="connsiteX5" fmla="*/ 13634 w 71444"/>
                      <a:gd name="connsiteY5" fmla="*/ 34092 h 34489"/>
                      <a:gd name="connsiteX6" fmla="*/ 38533 w 71444"/>
                      <a:gd name="connsiteY6" fmla="*/ 35719 h 34489"/>
                      <a:gd name="connsiteX7" fmla="*/ 72255 w 71444"/>
                      <a:gd name="connsiteY7" fmla="*/ 20186 h 34489"/>
                      <a:gd name="connsiteX8" fmla="*/ 69656 w 71444"/>
                      <a:gd name="connsiteY8" fmla="*/ 6709 h 34489"/>
                      <a:gd name="connsiteX9" fmla="*/ 22486 w 71444"/>
                      <a:gd name="connsiteY9" fmla="*/ 7023 h 34489"/>
                      <a:gd name="connsiteX10" fmla="*/ 22486 w 71444"/>
                      <a:gd name="connsiteY10" fmla="*/ 7023 h 34489"/>
                      <a:gd name="connsiteX11" fmla="*/ 31337 w 71444"/>
                      <a:gd name="connsiteY11" fmla="*/ 7708 h 34489"/>
                      <a:gd name="connsiteX12" fmla="*/ 33079 w 71444"/>
                      <a:gd name="connsiteY12" fmla="*/ 7908 h 34489"/>
                      <a:gd name="connsiteX13" fmla="*/ 32851 w 71444"/>
                      <a:gd name="connsiteY13" fmla="*/ 12391 h 34489"/>
                      <a:gd name="connsiteX14" fmla="*/ 32822 w 71444"/>
                      <a:gd name="connsiteY14" fmla="*/ 17302 h 34489"/>
                      <a:gd name="connsiteX15" fmla="*/ 19773 w 71444"/>
                      <a:gd name="connsiteY15" fmla="*/ 17845 h 34489"/>
                      <a:gd name="connsiteX16" fmla="*/ 19145 w 71444"/>
                      <a:gd name="connsiteY16" fmla="*/ 12562 h 34489"/>
                      <a:gd name="connsiteX17" fmla="*/ 18460 w 71444"/>
                      <a:gd name="connsiteY17" fmla="*/ 7280 h 34489"/>
                      <a:gd name="connsiteX18" fmla="*/ 22486 w 71444"/>
                      <a:gd name="connsiteY18" fmla="*/ 7023 h 34489"/>
                      <a:gd name="connsiteX19" fmla="*/ 16775 w 71444"/>
                      <a:gd name="connsiteY19" fmla="*/ 7594 h 34489"/>
                      <a:gd name="connsiteX20" fmla="*/ 15833 w 71444"/>
                      <a:gd name="connsiteY20" fmla="*/ 18016 h 34489"/>
                      <a:gd name="connsiteX21" fmla="*/ 7752 w 71444"/>
                      <a:gd name="connsiteY21" fmla="*/ 18530 h 34489"/>
                      <a:gd name="connsiteX22" fmla="*/ 16775 w 71444"/>
                      <a:gd name="connsiteY22" fmla="*/ 7594 h 34489"/>
                      <a:gd name="connsiteX23" fmla="*/ 7838 w 71444"/>
                      <a:gd name="connsiteY23" fmla="*/ 19587 h 34489"/>
                      <a:gd name="connsiteX24" fmla="*/ 15804 w 71444"/>
                      <a:gd name="connsiteY24" fmla="*/ 19929 h 34489"/>
                      <a:gd name="connsiteX25" fmla="*/ 16261 w 71444"/>
                      <a:gd name="connsiteY25" fmla="*/ 27011 h 34489"/>
                      <a:gd name="connsiteX26" fmla="*/ 17318 w 71444"/>
                      <a:gd name="connsiteY26" fmla="*/ 28610 h 34489"/>
                      <a:gd name="connsiteX27" fmla="*/ 17575 w 71444"/>
                      <a:gd name="connsiteY27" fmla="*/ 28724 h 34489"/>
                      <a:gd name="connsiteX28" fmla="*/ 16861 w 71444"/>
                      <a:gd name="connsiteY28" fmla="*/ 28581 h 34489"/>
                      <a:gd name="connsiteX29" fmla="*/ 7838 w 71444"/>
                      <a:gd name="connsiteY29" fmla="*/ 19587 h 34489"/>
                      <a:gd name="connsiteX30" fmla="*/ 18803 w 71444"/>
                      <a:gd name="connsiteY30" fmla="*/ 28924 h 34489"/>
                      <a:gd name="connsiteX31" fmla="*/ 18803 w 71444"/>
                      <a:gd name="connsiteY31" fmla="*/ 28838 h 34489"/>
                      <a:gd name="connsiteX32" fmla="*/ 21201 w 71444"/>
                      <a:gd name="connsiteY32" fmla="*/ 25669 h 34489"/>
                      <a:gd name="connsiteX33" fmla="*/ 20487 w 71444"/>
                      <a:gd name="connsiteY33" fmla="*/ 21785 h 34489"/>
                      <a:gd name="connsiteX34" fmla="*/ 20487 w 71444"/>
                      <a:gd name="connsiteY34" fmla="*/ 21785 h 34489"/>
                      <a:gd name="connsiteX35" fmla="*/ 20145 w 71444"/>
                      <a:gd name="connsiteY35" fmla="*/ 19986 h 34489"/>
                      <a:gd name="connsiteX36" fmla="*/ 32851 w 71444"/>
                      <a:gd name="connsiteY36" fmla="*/ 19929 h 34489"/>
                      <a:gd name="connsiteX37" fmla="*/ 33022 w 71444"/>
                      <a:gd name="connsiteY37" fmla="*/ 26125 h 34489"/>
                      <a:gd name="connsiteX38" fmla="*/ 33193 w 71444"/>
                      <a:gd name="connsiteY38" fmla="*/ 29409 h 34489"/>
                      <a:gd name="connsiteX39" fmla="*/ 18803 w 71444"/>
                      <a:gd name="connsiteY39" fmla="*/ 28924 h 34489"/>
                      <a:gd name="connsiteX40" fmla="*/ 52096 w 71444"/>
                      <a:gd name="connsiteY40" fmla="*/ 20386 h 34489"/>
                      <a:gd name="connsiteX41" fmla="*/ 52096 w 71444"/>
                      <a:gd name="connsiteY41" fmla="*/ 20386 h 34489"/>
                      <a:gd name="connsiteX42" fmla="*/ 51867 w 71444"/>
                      <a:gd name="connsiteY42" fmla="*/ 24041 h 34489"/>
                      <a:gd name="connsiteX43" fmla="*/ 51582 w 71444"/>
                      <a:gd name="connsiteY43" fmla="*/ 27524 h 34489"/>
                      <a:gd name="connsiteX44" fmla="*/ 51011 w 71444"/>
                      <a:gd name="connsiteY44" fmla="*/ 28695 h 34489"/>
                      <a:gd name="connsiteX45" fmla="*/ 38733 w 71444"/>
                      <a:gd name="connsiteY45" fmla="*/ 29466 h 34489"/>
                      <a:gd name="connsiteX46" fmla="*/ 38733 w 71444"/>
                      <a:gd name="connsiteY46" fmla="*/ 29466 h 34489"/>
                      <a:gd name="connsiteX47" fmla="*/ 37905 w 71444"/>
                      <a:gd name="connsiteY47" fmla="*/ 28610 h 34489"/>
                      <a:gd name="connsiteX48" fmla="*/ 37933 w 71444"/>
                      <a:gd name="connsiteY48" fmla="*/ 28438 h 34489"/>
                      <a:gd name="connsiteX49" fmla="*/ 37790 w 71444"/>
                      <a:gd name="connsiteY49" fmla="*/ 27353 h 34489"/>
                      <a:gd name="connsiteX50" fmla="*/ 36734 w 71444"/>
                      <a:gd name="connsiteY50" fmla="*/ 19872 h 34489"/>
                      <a:gd name="connsiteX51" fmla="*/ 52153 w 71444"/>
                      <a:gd name="connsiteY51" fmla="*/ 19444 h 34489"/>
                      <a:gd name="connsiteX52" fmla="*/ 52096 w 71444"/>
                      <a:gd name="connsiteY52" fmla="*/ 20386 h 34489"/>
                      <a:gd name="connsiteX53" fmla="*/ 52381 w 71444"/>
                      <a:gd name="connsiteY53" fmla="*/ 16360 h 34489"/>
                      <a:gd name="connsiteX54" fmla="*/ 36420 w 71444"/>
                      <a:gd name="connsiteY54" fmla="*/ 17160 h 34489"/>
                      <a:gd name="connsiteX55" fmla="*/ 35649 w 71444"/>
                      <a:gd name="connsiteY55" fmla="*/ 9821 h 34489"/>
                      <a:gd name="connsiteX56" fmla="*/ 35649 w 71444"/>
                      <a:gd name="connsiteY56" fmla="*/ 9821 h 34489"/>
                      <a:gd name="connsiteX57" fmla="*/ 35506 w 71444"/>
                      <a:gd name="connsiteY57" fmla="*/ 8137 h 34489"/>
                      <a:gd name="connsiteX58" fmla="*/ 35506 w 71444"/>
                      <a:gd name="connsiteY58" fmla="*/ 8137 h 34489"/>
                      <a:gd name="connsiteX59" fmla="*/ 52381 w 71444"/>
                      <a:gd name="connsiteY59" fmla="*/ 7594 h 34489"/>
                      <a:gd name="connsiteX60" fmla="*/ 52924 w 71444"/>
                      <a:gd name="connsiteY60" fmla="*/ 7880 h 34489"/>
                      <a:gd name="connsiteX61" fmla="*/ 53095 w 71444"/>
                      <a:gd name="connsiteY61" fmla="*/ 7937 h 34489"/>
                      <a:gd name="connsiteX62" fmla="*/ 52381 w 71444"/>
                      <a:gd name="connsiteY62" fmla="*/ 16360 h 34489"/>
                      <a:gd name="connsiteX63" fmla="*/ 55522 w 71444"/>
                      <a:gd name="connsiteY63" fmla="*/ 27553 h 34489"/>
                      <a:gd name="connsiteX64" fmla="*/ 55180 w 71444"/>
                      <a:gd name="connsiteY64" fmla="*/ 24127 h 34489"/>
                      <a:gd name="connsiteX65" fmla="*/ 54922 w 71444"/>
                      <a:gd name="connsiteY65" fmla="*/ 20101 h 34489"/>
                      <a:gd name="connsiteX66" fmla="*/ 54922 w 71444"/>
                      <a:gd name="connsiteY66" fmla="*/ 20072 h 34489"/>
                      <a:gd name="connsiteX67" fmla="*/ 54866 w 71444"/>
                      <a:gd name="connsiteY67" fmla="*/ 19330 h 34489"/>
                      <a:gd name="connsiteX68" fmla="*/ 61461 w 71444"/>
                      <a:gd name="connsiteY68" fmla="*/ 19073 h 34489"/>
                      <a:gd name="connsiteX69" fmla="*/ 62261 w 71444"/>
                      <a:gd name="connsiteY69" fmla="*/ 19073 h 34489"/>
                      <a:gd name="connsiteX70" fmla="*/ 66030 w 71444"/>
                      <a:gd name="connsiteY70" fmla="*/ 18787 h 34489"/>
                      <a:gd name="connsiteX71" fmla="*/ 55522 w 71444"/>
                      <a:gd name="connsiteY71" fmla="*/ 27553 h 34489"/>
                      <a:gd name="connsiteX72" fmla="*/ 61604 w 71444"/>
                      <a:gd name="connsiteY72" fmla="*/ 15789 h 34489"/>
                      <a:gd name="connsiteX73" fmla="*/ 54637 w 71444"/>
                      <a:gd name="connsiteY73" fmla="*/ 16246 h 34489"/>
                      <a:gd name="connsiteX74" fmla="*/ 54152 w 71444"/>
                      <a:gd name="connsiteY74" fmla="*/ 8279 h 34489"/>
                      <a:gd name="connsiteX75" fmla="*/ 54152 w 71444"/>
                      <a:gd name="connsiteY75" fmla="*/ 8279 h 34489"/>
                      <a:gd name="connsiteX76" fmla="*/ 54152 w 71444"/>
                      <a:gd name="connsiteY76" fmla="*/ 8279 h 34489"/>
                      <a:gd name="connsiteX77" fmla="*/ 54152 w 71444"/>
                      <a:gd name="connsiteY77" fmla="*/ 8279 h 34489"/>
                      <a:gd name="connsiteX78" fmla="*/ 57921 w 71444"/>
                      <a:gd name="connsiteY78" fmla="*/ 8794 h 34489"/>
                      <a:gd name="connsiteX79" fmla="*/ 66772 w 71444"/>
                      <a:gd name="connsiteY79" fmla="*/ 15818 h 34489"/>
                      <a:gd name="connsiteX80" fmla="*/ 61604 w 71444"/>
                      <a:gd name="connsiteY80" fmla="*/ 15789 h 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1444" h="34489">
                        <a:moveTo>
                          <a:pt x="69656" y="6709"/>
                        </a:moveTo>
                        <a:cubicBezTo>
                          <a:pt x="67229" y="4310"/>
                          <a:pt x="64031" y="3340"/>
                          <a:pt x="61775" y="2911"/>
                        </a:cubicBezTo>
                        <a:cubicBezTo>
                          <a:pt x="58663" y="2426"/>
                          <a:pt x="55265" y="1855"/>
                          <a:pt x="52324" y="3368"/>
                        </a:cubicBezTo>
                        <a:cubicBezTo>
                          <a:pt x="51667" y="3625"/>
                          <a:pt x="51211" y="4254"/>
                          <a:pt x="51125" y="4967"/>
                        </a:cubicBezTo>
                        <a:cubicBezTo>
                          <a:pt x="37248" y="5681"/>
                          <a:pt x="22543" y="-3056"/>
                          <a:pt x="9408" y="4025"/>
                        </a:cubicBezTo>
                        <a:cubicBezTo>
                          <a:pt x="-2641" y="10764"/>
                          <a:pt x="-243" y="30751"/>
                          <a:pt x="13634" y="34092"/>
                        </a:cubicBezTo>
                        <a:cubicBezTo>
                          <a:pt x="21658" y="36433"/>
                          <a:pt x="30367" y="35462"/>
                          <a:pt x="38533" y="35719"/>
                        </a:cubicBezTo>
                        <a:cubicBezTo>
                          <a:pt x="51496" y="35891"/>
                          <a:pt x="67086" y="33692"/>
                          <a:pt x="72255" y="20186"/>
                        </a:cubicBezTo>
                        <a:cubicBezTo>
                          <a:pt x="73853" y="15675"/>
                          <a:pt x="73225" y="10135"/>
                          <a:pt x="69656" y="6709"/>
                        </a:cubicBezTo>
                        <a:close/>
                        <a:moveTo>
                          <a:pt x="22486" y="7023"/>
                        </a:moveTo>
                        <a:lnTo>
                          <a:pt x="22486" y="7023"/>
                        </a:lnTo>
                        <a:cubicBezTo>
                          <a:pt x="25455" y="7080"/>
                          <a:pt x="28397" y="7309"/>
                          <a:pt x="31337" y="7708"/>
                        </a:cubicBezTo>
                        <a:cubicBezTo>
                          <a:pt x="31566" y="7737"/>
                          <a:pt x="32822" y="7880"/>
                          <a:pt x="33079" y="7908"/>
                        </a:cubicBezTo>
                        <a:cubicBezTo>
                          <a:pt x="32879" y="9393"/>
                          <a:pt x="32822" y="10906"/>
                          <a:pt x="32851" y="12391"/>
                        </a:cubicBezTo>
                        <a:cubicBezTo>
                          <a:pt x="32879" y="14133"/>
                          <a:pt x="32822" y="15532"/>
                          <a:pt x="32822" y="17302"/>
                        </a:cubicBezTo>
                        <a:cubicBezTo>
                          <a:pt x="28482" y="17474"/>
                          <a:pt x="24142" y="17616"/>
                          <a:pt x="19773" y="17845"/>
                        </a:cubicBezTo>
                        <a:cubicBezTo>
                          <a:pt x="19431" y="15903"/>
                          <a:pt x="19259" y="14476"/>
                          <a:pt x="19145" y="12562"/>
                        </a:cubicBezTo>
                        <a:cubicBezTo>
                          <a:pt x="19088" y="10792"/>
                          <a:pt x="18859" y="9022"/>
                          <a:pt x="18460" y="7280"/>
                        </a:cubicBezTo>
                        <a:cubicBezTo>
                          <a:pt x="19802" y="7080"/>
                          <a:pt x="21087" y="7023"/>
                          <a:pt x="22486" y="7023"/>
                        </a:cubicBezTo>
                        <a:close/>
                        <a:moveTo>
                          <a:pt x="16775" y="7594"/>
                        </a:moveTo>
                        <a:cubicBezTo>
                          <a:pt x="15776" y="10992"/>
                          <a:pt x="15975" y="14590"/>
                          <a:pt x="15833" y="18016"/>
                        </a:cubicBezTo>
                        <a:cubicBezTo>
                          <a:pt x="13206" y="18102"/>
                          <a:pt x="10436" y="18216"/>
                          <a:pt x="7752" y="18530"/>
                        </a:cubicBezTo>
                        <a:cubicBezTo>
                          <a:pt x="7181" y="12934"/>
                          <a:pt x="12092" y="8337"/>
                          <a:pt x="16775" y="7594"/>
                        </a:cubicBezTo>
                        <a:close/>
                        <a:moveTo>
                          <a:pt x="7838" y="19587"/>
                        </a:moveTo>
                        <a:cubicBezTo>
                          <a:pt x="10579" y="19872"/>
                          <a:pt x="13406" y="19901"/>
                          <a:pt x="15804" y="19929"/>
                        </a:cubicBezTo>
                        <a:cubicBezTo>
                          <a:pt x="15804" y="22299"/>
                          <a:pt x="15947" y="24669"/>
                          <a:pt x="16261" y="27011"/>
                        </a:cubicBezTo>
                        <a:cubicBezTo>
                          <a:pt x="16318" y="27696"/>
                          <a:pt x="16718" y="28295"/>
                          <a:pt x="17318" y="28610"/>
                        </a:cubicBezTo>
                        <a:cubicBezTo>
                          <a:pt x="17403" y="28667"/>
                          <a:pt x="17603" y="28695"/>
                          <a:pt x="17575" y="28724"/>
                        </a:cubicBezTo>
                        <a:cubicBezTo>
                          <a:pt x="17546" y="28781"/>
                          <a:pt x="17089" y="28638"/>
                          <a:pt x="16861" y="28581"/>
                        </a:cubicBezTo>
                        <a:cubicBezTo>
                          <a:pt x="11521" y="27353"/>
                          <a:pt x="8494" y="24355"/>
                          <a:pt x="7838" y="19587"/>
                        </a:cubicBezTo>
                        <a:close/>
                        <a:moveTo>
                          <a:pt x="18803" y="28924"/>
                        </a:moveTo>
                        <a:cubicBezTo>
                          <a:pt x="18745" y="28924"/>
                          <a:pt x="18745" y="28838"/>
                          <a:pt x="18803" y="28838"/>
                        </a:cubicBezTo>
                        <a:cubicBezTo>
                          <a:pt x="20259" y="28581"/>
                          <a:pt x="21515" y="27182"/>
                          <a:pt x="21201" y="25669"/>
                        </a:cubicBezTo>
                        <a:cubicBezTo>
                          <a:pt x="20972" y="24355"/>
                          <a:pt x="20715" y="23070"/>
                          <a:pt x="20487" y="21785"/>
                        </a:cubicBezTo>
                        <a:lnTo>
                          <a:pt x="20487" y="21785"/>
                        </a:lnTo>
                        <a:cubicBezTo>
                          <a:pt x="20373" y="21186"/>
                          <a:pt x="20259" y="20586"/>
                          <a:pt x="20145" y="19986"/>
                        </a:cubicBezTo>
                        <a:cubicBezTo>
                          <a:pt x="24256" y="20072"/>
                          <a:pt x="28825" y="20015"/>
                          <a:pt x="32851" y="19929"/>
                        </a:cubicBezTo>
                        <a:cubicBezTo>
                          <a:pt x="32851" y="22014"/>
                          <a:pt x="33022" y="24041"/>
                          <a:pt x="33022" y="26125"/>
                        </a:cubicBezTo>
                        <a:cubicBezTo>
                          <a:pt x="32994" y="27210"/>
                          <a:pt x="33051" y="28324"/>
                          <a:pt x="33193" y="29409"/>
                        </a:cubicBezTo>
                        <a:cubicBezTo>
                          <a:pt x="28397" y="29438"/>
                          <a:pt x="23571" y="29609"/>
                          <a:pt x="18803" y="28924"/>
                        </a:cubicBezTo>
                        <a:close/>
                        <a:moveTo>
                          <a:pt x="52096" y="20386"/>
                        </a:moveTo>
                        <a:lnTo>
                          <a:pt x="52096" y="20386"/>
                        </a:lnTo>
                        <a:cubicBezTo>
                          <a:pt x="52010" y="21585"/>
                          <a:pt x="51925" y="22813"/>
                          <a:pt x="51867" y="24041"/>
                        </a:cubicBezTo>
                        <a:cubicBezTo>
                          <a:pt x="51867" y="25212"/>
                          <a:pt x="51753" y="26354"/>
                          <a:pt x="51582" y="27524"/>
                        </a:cubicBezTo>
                        <a:cubicBezTo>
                          <a:pt x="51239" y="27810"/>
                          <a:pt x="51039" y="28238"/>
                          <a:pt x="51011" y="28695"/>
                        </a:cubicBezTo>
                        <a:cubicBezTo>
                          <a:pt x="46928" y="29381"/>
                          <a:pt x="42844" y="29552"/>
                          <a:pt x="38733" y="29466"/>
                        </a:cubicBezTo>
                        <a:lnTo>
                          <a:pt x="38733" y="29466"/>
                        </a:lnTo>
                        <a:cubicBezTo>
                          <a:pt x="38561" y="29095"/>
                          <a:pt x="38276" y="28752"/>
                          <a:pt x="37905" y="28610"/>
                        </a:cubicBezTo>
                        <a:lnTo>
                          <a:pt x="37933" y="28438"/>
                        </a:lnTo>
                        <a:cubicBezTo>
                          <a:pt x="37933" y="28067"/>
                          <a:pt x="37876" y="27696"/>
                          <a:pt x="37790" y="27353"/>
                        </a:cubicBezTo>
                        <a:cubicBezTo>
                          <a:pt x="37305" y="24783"/>
                          <a:pt x="37048" y="22356"/>
                          <a:pt x="36734" y="19872"/>
                        </a:cubicBezTo>
                        <a:cubicBezTo>
                          <a:pt x="42017" y="19758"/>
                          <a:pt x="47213" y="19615"/>
                          <a:pt x="52153" y="19444"/>
                        </a:cubicBezTo>
                        <a:cubicBezTo>
                          <a:pt x="52153" y="19758"/>
                          <a:pt x="52124" y="20072"/>
                          <a:pt x="52096" y="20386"/>
                        </a:cubicBezTo>
                        <a:close/>
                        <a:moveTo>
                          <a:pt x="52381" y="16360"/>
                        </a:moveTo>
                        <a:cubicBezTo>
                          <a:pt x="46471" y="16674"/>
                          <a:pt x="41103" y="16931"/>
                          <a:pt x="36420" y="17160"/>
                        </a:cubicBezTo>
                        <a:cubicBezTo>
                          <a:pt x="36134" y="14675"/>
                          <a:pt x="35849" y="12134"/>
                          <a:pt x="35649" y="9821"/>
                        </a:cubicBezTo>
                        <a:lnTo>
                          <a:pt x="35649" y="9821"/>
                        </a:lnTo>
                        <a:cubicBezTo>
                          <a:pt x="35592" y="9279"/>
                          <a:pt x="35563" y="8708"/>
                          <a:pt x="35506" y="8137"/>
                        </a:cubicBezTo>
                        <a:lnTo>
                          <a:pt x="35506" y="8137"/>
                        </a:lnTo>
                        <a:cubicBezTo>
                          <a:pt x="41388" y="8622"/>
                          <a:pt x="46642" y="8365"/>
                          <a:pt x="52381" y="7594"/>
                        </a:cubicBezTo>
                        <a:cubicBezTo>
                          <a:pt x="52553" y="7708"/>
                          <a:pt x="52724" y="7794"/>
                          <a:pt x="52924" y="7880"/>
                        </a:cubicBezTo>
                        <a:lnTo>
                          <a:pt x="53095" y="7937"/>
                        </a:lnTo>
                        <a:cubicBezTo>
                          <a:pt x="52752" y="10792"/>
                          <a:pt x="52581" y="13619"/>
                          <a:pt x="52381" y="16360"/>
                        </a:cubicBezTo>
                        <a:close/>
                        <a:moveTo>
                          <a:pt x="55522" y="27553"/>
                        </a:moveTo>
                        <a:cubicBezTo>
                          <a:pt x="55322" y="26439"/>
                          <a:pt x="55208" y="25298"/>
                          <a:pt x="55180" y="24127"/>
                        </a:cubicBezTo>
                        <a:cubicBezTo>
                          <a:pt x="55123" y="22813"/>
                          <a:pt x="55008" y="21414"/>
                          <a:pt x="54922" y="20101"/>
                        </a:cubicBezTo>
                        <a:lnTo>
                          <a:pt x="54922" y="20072"/>
                        </a:lnTo>
                        <a:cubicBezTo>
                          <a:pt x="54894" y="19844"/>
                          <a:pt x="54866" y="19587"/>
                          <a:pt x="54866" y="19330"/>
                        </a:cubicBezTo>
                        <a:cubicBezTo>
                          <a:pt x="57035" y="19272"/>
                          <a:pt x="59263" y="19101"/>
                          <a:pt x="61461" y="19073"/>
                        </a:cubicBezTo>
                        <a:cubicBezTo>
                          <a:pt x="61661" y="19073"/>
                          <a:pt x="62061" y="19073"/>
                          <a:pt x="62261" y="19073"/>
                        </a:cubicBezTo>
                        <a:cubicBezTo>
                          <a:pt x="63517" y="19130"/>
                          <a:pt x="64774" y="19016"/>
                          <a:pt x="66030" y="18787"/>
                        </a:cubicBezTo>
                        <a:cubicBezTo>
                          <a:pt x="64031" y="23156"/>
                          <a:pt x="60376" y="25840"/>
                          <a:pt x="55522" y="27553"/>
                        </a:cubicBezTo>
                        <a:close/>
                        <a:moveTo>
                          <a:pt x="61604" y="15789"/>
                        </a:moveTo>
                        <a:cubicBezTo>
                          <a:pt x="59520" y="16046"/>
                          <a:pt x="56750" y="16103"/>
                          <a:pt x="54637" y="16246"/>
                        </a:cubicBezTo>
                        <a:cubicBezTo>
                          <a:pt x="54494" y="13590"/>
                          <a:pt x="54352" y="10964"/>
                          <a:pt x="54152" y="8279"/>
                        </a:cubicBezTo>
                        <a:cubicBezTo>
                          <a:pt x="54152" y="8279"/>
                          <a:pt x="54152" y="8279"/>
                          <a:pt x="54152" y="8279"/>
                        </a:cubicBezTo>
                        <a:lnTo>
                          <a:pt x="54152" y="8279"/>
                        </a:lnTo>
                        <a:lnTo>
                          <a:pt x="54152" y="8279"/>
                        </a:lnTo>
                        <a:cubicBezTo>
                          <a:pt x="55379" y="8565"/>
                          <a:pt x="56664" y="8736"/>
                          <a:pt x="57921" y="8794"/>
                        </a:cubicBezTo>
                        <a:cubicBezTo>
                          <a:pt x="62289" y="8794"/>
                          <a:pt x="67429" y="10906"/>
                          <a:pt x="66772" y="15818"/>
                        </a:cubicBezTo>
                        <a:cubicBezTo>
                          <a:pt x="65088" y="15361"/>
                          <a:pt x="63317" y="15589"/>
                          <a:pt x="61604" y="15789"/>
                        </a:cubicBezTo>
                        <a:close/>
                      </a:path>
                    </a:pathLst>
                  </a:custGeom>
                  <a:solidFill>
                    <a:srgbClr val="000000"/>
                  </a:solidFill>
                  <a:ln w="2826" cap="flat">
                    <a:noFill/>
                    <a:prstDash val="solid"/>
                    <a:miter/>
                  </a:ln>
                </p:spPr>
                <p:txBody>
                  <a:bodyPr rtlCol="0" anchor="ctr"/>
                  <a:lstStyle/>
                  <a:p>
                    <a:endParaRPr lang="fr-CA"/>
                  </a:p>
                </p:txBody>
              </p:sp>
              <p:sp>
                <p:nvSpPr>
                  <p:cNvPr id="1527" name="Forme libre : forme 1526">
                    <a:extLst>
                      <a:ext uri="{FF2B5EF4-FFF2-40B4-BE49-F238E27FC236}">
                        <a16:creationId xmlns:a16="http://schemas.microsoft.com/office/drawing/2014/main" id="{D3E6BF2E-A137-C51A-0715-0121360F51BA}"/>
                      </a:ext>
                    </a:extLst>
                  </p:cNvPr>
                  <p:cNvSpPr/>
                  <p:nvPr/>
                </p:nvSpPr>
                <p:spPr>
                  <a:xfrm>
                    <a:off x="9449973" y="3937634"/>
                    <a:ext cx="19505" cy="16824"/>
                  </a:xfrm>
                  <a:custGeom>
                    <a:avLst/>
                    <a:gdLst>
                      <a:gd name="connsiteX0" fmla="*/ 7368 w 19505"/>
                      <a:gd name="connsiteY0" fmla="*/ 18061 h 16824"/>
                      <a:gd name="connsiteX1" fmla="*/ 1914 w 19505"/>
                      <a:gd name="connsiteY1" fmla="*/ 12950 h 16824"/>
                      <a:gd name="connsiteX2" fmla="*/ 4684 w 19505"/>
                      <a:gd name="connsiteY2" fmla="*/ 10894 h 16824"/>
                      <a:gd name="connsiteX3" fmla="*/ 6283 w 19505"/>
                      <a:gd name="connsiteY3" fmla="*/ 11436 h 16824"/>
                      <a:gd name="connsiteX4" fmla="*/ 8510 w 19505"/>
                      <a:gd name="connsiteY4" fmla="*/ 11951 h 16824"/>
                      <a:gd name="connsiteX5" fmla="*/ 12822 w 19505"/>
                      <a:gd name="connsiteY5" fmla="*/ 11208 h 16824"/>
                      <a:gd name="connsiteX6" fmla="*/ 16334 w 19505"/>
                      <a:gd name="connsiteY6" fmla="*/ 8667 h 16824"/>
                      <a:gd name="connsiteX7" fmla="*/ 14221 w 19505"/>
                      <a:gd name="connsiteY7" fmla="*/ 4612 h 16824"/>
                      <a:gd name="connsiteX8" fmla="*/ 11108 w 19505"/>
                      <a:gd name="connsiteY8" fmla="*/ 4127 h 16824"/>
                      <a:gd name="connsiteX9" fmla="*/ 10538 w 19505"/>
                      <a:gd name="connsiteY9" fmla="*/ 4098 h 16824"/>
                      <a:gd name="connsiteX10" fmla="*/ 6026 w 19505"/>
                      <a:gd name="connsiteY10" fmla="*/ 4498 h 16824"/>
                      <a:gd name="connsiteX11" fmla="*/ 3057 w 19505"/>
                      <a:gd name="connsiteY11" fmla="*/ 4841 h 16824"/>
                      <a:gd name="connsiteX12" fmla="*/ 2685 w 19505"/>
                      <a:gd name="connsiteY12" fmla="*/ 4555 h 16824"/>
                      <a:gd name="connsiteX13" fmla="*/ 2857 w 19505"/>
                      <a:gd name="connsiteY13" fmla="*/ 4070 h 16824"/>
                      <a:gd name="connsiteX14" fmla="*/ 7625 w 19505"/>
                      <a:gd name="connsiteY14" fmla="*/ 2128 h 16824"/>
                      <a:gd name="connsiteX15" fmla="*/ 18590 w 19505"/>
                      <a:gd name="connsiteY15" fmla="*/ 2556 h 16824"/>
                      <a:gd name="connsiteX16" fmla="*/ 19475 w 19505"/>
                      <a:gd name="connsiteY16" fmla="*/ 12778 h 16824"/>
                      <a:gd name="connsiteX17" fmla="*/ 7368 w 19505"/>
                      <a:gd name="connsiteY17" fmla="*/ 18061 h 16824"/>
                      <a:gd name="connsiteX18" fmla="*/ 7368 w 19505"/>
                      <a:gd name="connsiteY18" fmla="*/ 18061 h 1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505" h="16824">
                        <a:moveTo>
                          <a:pt x="7368" y="18061"/>
                        </a:moveTo>
                        <a:cubicBezTo>
                          <a:pt x="4113" y="18146"/>
                          <a:pt x="630" y="16234"/>
                          <a:pt x="1914" y="12950"/>
                        </a:cubicBezTo>
                        <a:cubicBezTo>
                          <a:pt x="2371" y="11836"/>
                          <a:pt x="3456" y="10922"/>
                          <a:pt x="4684" y="10894"/>
                        </a:cubicBezTo>
                        <a:cubicBezTo>
                          <a:pt x="5255" y="10922"/>
                          <a:pt x="5826" y="11094"/>
                          <a:pt x="6283" y="11436"/>
                        </a:cubicBezTo>
                        <a:cubicBezTo>
                          <a:pt x="6968" y="11808"/>
                          <a:pt x="7739" y="11979"/>
                          <a:pt x="8510" y="11951"/>
                        </a:cubicBezTo>
                        <a:cubicBezTo>
                          <a:pt x="9967" y="11893"/>
                          <a:pt x="11423" y="11636"/>
                          <a:pt x="12822" y="11208"/>
                        </a:cubicBezTo>
                        <a:cubicBezTo>
                          <a:pt x="14021" y="10865"/>
                          <a:pt x="15620" y="10009"/>
                          <a:pt x="16334" y="8667"/>
                        </a:cubicBezTo>
                        <a:cubicBezTo>
                          <a:pt x="17190" y="6925"/>
                          <a:pt x="16191" y="5240"/>
                          <a:pt x="14221" y="4612"/>
                        </a:cubicBezTo>
                        <a:cubicBezTo>
                          <a:pt x="13222" y="4298"/>
                          <a:pt x="12165" y="4127"/>
                          <a:pt x="11108" y="4127"/>
                        </a:cubicBezTo>
                        <a:cubicBezTo>
                          <a:pt x="10909" y="4098"/>
                          <a:pt x="10738" y="4098"/>
                          <a:pt x="10538" y="4098"/>
                        </a:cubicBezTo>
                        <a:cubicBezTo>
                          <a:pt x="9024" y="4127"/>
                          <a:pt x="7511" y="4269"/>
                          <a:pt x="6026" y="4498"/>
                        </a:cubicBezTo>
                        <a:cubicBezTo>
                          <a:pt x="5055" y="4641"/>
                          <a:pt x="4056" y="4784"/>
                          <a:pt x="3057" y="4841"/>
                        </a:cubicBezTo>
                        <a:cubicBezTo>
                          <a:pt x="2885" y="4869"/>
                          <a:pt x="2714" y="4726"/>
                          <a:pt x="2685" y="4555"/>
                        </a:cubicBezTo>
                        <a:cubicBezTo>
                          <a:pt x="2628" y="4384"/>
                          <a:pt x="2685" y="4155"/>
                          <a:pt x="2857" y="4070"/>
                        </a:cubicBezTo>
                        <a:cubicBezTo>
                          <a:pt x="4370" y="3242"/>
                          <a:pt x="5969" y="2585"/>
                          <a:pt x="7625" y="2128"/>
                        </a:cubicBezTo>
                        <a:cubicBezTo>
                          <a:pt x="10966" y="1129"/>
                          <a:pt x="15820" y="615"/>
                          <a:pt x="18590" y="2556"/>
                        </a:cubicBezTo>
                        <a:cubicBezTo>
                          <a:pt x="21788" y="4584"/>
                          <a:pt x="21873" y="9923"/>
                          <a:pt x="19475" y="12778"/>
                        </a:cubicBezTo>
                        <a:cubicBezTo>
                          <a:pt x="16363" y="16490"/>
                          <a:pt x="12765" y="17633"/>
                          <a:pt x="7368" y="18061"/>
                        </a:cubicBezTo>
                        <a:lnTo>
                          <a:pt x="7368" y="18061"/>
                        </a:lnTo>
                        <a:close/>
                      </a:path>
                    </a:pathLst>
                  </a:custGeom>
                  <a:solidFill>
                    <a:srgbClr val="000000"/>
                  </a:solidFill>
                  <a:ln w="2826" cap="flat">
                    <a:noFill/>
                    <a:prstDash val="solid"/>
                    <a:miter/>
                  </a:ln>
                </p:spPr>
                <p:txBody>
                  <a:bodyPr rtlCol="0" anchor="ctr"/>
                  <a:lstStyle/>
                  <a:p>
                    <a:endParaRPr lang="fr-CA"/>
                  </a:p>
                </p:txBody>
              </p:sp>
              <p:sp>
                <p:nvSpPr>
                  <p:cNvPr id="1528" name="Forme libre : forme 1527">
                    <a:extLst>
                      <a:ext uri="{FF2B5EF4-FFF2-40B4-BE49-F238E27FC236}">
                        <a16:creationId xmlns:a16="http://schemas.microsoft.com/office/drawing/2014/main" id="{E2F2D969-EC85-58AB-BEA9-28D6601510D2}"/>
                      </a:ext>
                    </a:extLst>
                  </p:cNvPr>
                  <p:cNvSpPr/>
                  <p:nvPr/>
                </p:nvSpPr>
                <p:spPr>
                  <a:xfrm>
                    <a:off x="9465049" y="3926096"/>
                    <a:ext cx="16520" cy="15025"/>
                  </a:xfrm>
                  <a:custGeom>
                    <a:avLst/>
                    <a:gdLst>
                      <a:gd name="connsiteX0" fmla="*/ 15449 w 16520"/>
                      <a:gd name="connsiteY0" fmla="*/ 16265 h 15025"/>
                      <a:gd name="connsiteX1" fmla="*/ 14592 w 16520"/>
                      <a:gd name="connsiteY1" fmla="*/ 16150 h 15025"/>
                      <a:gd name="connsiteX2" fmla="*/ 13164 w 16520"/>
                      <a:gd name="connsiteY2" fmla="*/ 15208 h 15025"/>
                      <a:gd name="connsiteX3" fmla="*/ 12622 w 16520"/>
                      <a:gd name="connsiteY3" fmla="*/ 13609 h 15025"/>
                      <a:gd name="connsiteX4" fmla="*/ 12193 w 16520"/>
                      <a:gd name="connsiteY4" fmla="*/ 9041 h 15025"/>
                      <a:gd name="connsiteX5" fmla="*/ 9110 w 16520"/>
                      <a:gd name="connsiteY5" fmla="*/ 6414 h 15025"/>
                      <a:gd name="connsiteX6" fmla="*/ 4570 w 16520"/>
                      <a:gd name="connsiteY6" fmla="*/ 11154 h 15025"/>
                      <a:gd name="connsiteX7" fmla="*/ 1743 w 16520"/>
                      <a:gd name="connsiteY7" fmla="*/ 9041 h 15025"/>
                      <a:gd name="connsiteX8" fmla="*/ 15791 w 16520"/>
                      <a:gd name="connsiteY8" fmla="*/ 4729 h 15025"/>
                      <a:gd name="connsiteX9" fmla="*/ 17847 w 16520"/>
                      <a:gd name="connsiteY9" fmla="*/ 14323 h 15025"/>
                      <a:gd name="connsiteX10" fmla="*/ 16962 w 16520"/>
                      <a:gd name="connsiteY10" fmla="*/ 15665 h 15025"/>
                      <a:gd name="connsiteX11" fmla="*/ 15449 w 16520"/>
                      <a:gd name="connsiteY11" fmla="*/ 16265 h 15025"/>
                      <a:gd name="connsiteX12" fmla="*/ 15449 w 16520"/>
                      <a:gd name="connsiteY12" fmla="*/ 16265 h 1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20" h="15025">
                        <a:moveTo>
                          <a:pt x="15449" y="16265"/>
                        </a:moveTo>
                        <a:cubicBezTo>
                          <a:pt x="15163" y="16265"/>
                          <a:pt x="14849" y="16236"/>
                          <a:pt x="14592" y="16150"/>
                        </a:cubicBezTo>
                        <a:cubicBezTo>
                          <a:pt x="14021" y="16008"/>
                          <a:pt x="13535" y="15665"/>
                          <a:pt x="13164" y="15208"/>
                        </a:cubicBezTo>
                        <a:cubicBezTo>
                          <a:pt x="12793" y="14751"/>
                          <a:pt x="12593" y="14180"/>
                          <a:pt x="12622" y="13609"/>
                        </a:cubicBezTo>
                        <a:cubicBezTo>
                          <a:pt x="12708" y="12267"/>
                          <a:pt x="12765" y="10583"/>
                          <a:pt x="12193" y="9041"/>
                        </a:cubicBezTo>
                        <a:cubicBezTo>
                          <a:pt x="11737" y="7642"/>
                          <a:pt x="10538" y="6642"/>
                          <a:pt x="9110" y="6414"/>
                        </a:cubicBezTo>
                        <a:cubicBezTo>
                          <a:pt x="6369" y="5786"/>
                          <a:pt x="4570" y="8555"/>
                          <a:pt x="4570" y="11154"/>
                        </a:cubicBezTo>
                        <a:cubicBezTo>
                          <a:pt x="3941" y="13038"/>
                          <a:pt x="1800" y="10011"/>
                          <a:pt x="1743" y="9041"/>
                        </a:cubicBezTo>
                        <a:cubicBezTo>
                          <a:pt x="458" y="874"/>
                          <a:pt x="11680" y="-1410"/>
                          <a:pt x="15791" y="4729"/>
                        </a:cubicBezTo>
                        <a:cubicBezTo>
                          <a:pt x="17904" y="7442"/>
                          <a:pt x="18647" y="10982"/>
                          <a:pt x="17847" y="14323"/>
                        </a:cubicBezTo>
                        <a:cubicBezTo>
                          <a:pt x="17704" y="14837"/>
                          <a:pt x="17390" y="15322"/>
                          <a:pt x="16962" y="15665"/>
                        </a:cubicBezTo>
                        <a:cubicBezTo>
                          <a:pt x="16534" y="16036"/>
                          <a:pt x="16020" y="16265"/>
                          <a:pt x="15449" y="16265"/>
                        </a:cubicBezTo>
                        <a:lnTo>
                          <a:pt x="15449" y="16265"/>
                        </a:lnTo>
                        <a:close/>
                      </a:path>
                    </a:pathLst>
                  </a:custGeom>
                  <a:solidFill>
                    <a:srgbClr val="000000"/>
                  </a:solidFill>
                  <a:ln w="2826" cap="flat">
                    <a:noFill/>
                    <a:prstDash val="solid"/>
                    <a:miter/>
                  </a:ln>
                </p:spPr>
                <p:txBody>
                  <a:bodyPr rtlCol="0" anchor="ctr"/>
                  <a:lstStyle/>
                  <a:p>
                    <a:endParaRPr lang="fr-CA"/>
                  </a:p>
                </p:txBody>
              </p:sp>
              <p:sp>
                <p:nvSpPr>
                  <p:cNvPr id="1529" name="Forme libre : forme 1528">
                    <a:extLst>
                      <a:ext uri="{FF2B5EF4-FFF2-40B4-BE49-F238E27FC236}">
                        <a16:creationId xmlns:a16="http://schemas.microsoft.com/office/drawing/2014/main" id="{DB43C30F-19C2-E293-8B0F-2A91BB68AC54}"/>
                      </a:ext>
                    </a:extLst>
                  </p:cNvPr>
                  <p:cNvSpPr/>
                  <p:nvPr/>
                </p:nvSpPr>
                <p:spPr>
                  <a:xfrm>
                    <a:off x="9415068" y="3927226"/>
                    <a:ext cx="20723" cy="12695"/>
                  </a:xfrm>
                  <a:custGeom>
                    <a:avLst/>
                    <a:gdLst>
                      <a:gd name="connsiteX0" fmla="*/ 3754 w 20723"/>
                      <a:gd name="connsiteY0" fmla="*/ 13935 h 12695"/>
                      <a:gd name="connsiteX1" fmla="*/ 1641 w 20723"/>
                      <a:gd name="connsiteY1" fmla="*/ 10908 h 12695"/>
                      <a:gd name="connsiteX2" fmla="*/ 20829 w 20723"/>
                      <a:gd name="connsiteY2" fmla="*/ 6968 h 12695"/>
                      <a:gd name="connsiteX3" fmla="*/ 20972 w 20723"/>
                      <a:gd name="connsiteY3" fmla="*/ 12250 h 12695"/>
                      <a:gd name="connsiteX4" fmla="*/ 15918 w 20723"/>
                      <a:gd name="connsiteY4" fmla="*/ 10994 h 12695"/>
                      <a:gd name="connsiteX5" fmla="*/ 6181 w 20723"/>
                      <a:gd name="connsiteY5" fmla="*/ 10937 h 12695"/>
                      <a:gd name="connsiteX6" fmla="*/ 4268 w 20723"/>
                      <a:gd name="connsiteY6" fmla="*/ 13735 h 12695"/>
                      <a:gd name="connsiteX7" fmla="*/ 3754 w 20723"/>
                      <a:gd name="connsiteY7" fmla="*/ 13935 h 1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23" h="12695">
                        <a:moveTo>
                          <a:pt x="3754" y="13935"/>
                        </a:moveTo>
                        <a:cubicBezTo>
                          <a:pt x="2241" y="13649"/>
                          <a:pt x="1698" y="11936"/>
                          <a:pt x="1641" y="10908"/>
                        </a:cubicBezTo>
                        <a:cubicBezTo>
                          <a:pt x="1869" y="-28"/>
                          <a:pt x="16003" y="-2169"/>
                          <a:pt x="20829" y="6968"/>
                        </a:cubicBezTo>
                        <a:cubicBezTo>
                          <a:pt x="23342" y="7596"/>
                          <a:pt x="22314" y="10851"/>
                          <a:pt x="20972" y="12250"/>
                        </a:cubicBezTo>
                        <a:cubicBezTo>
                          <a:pt x="19516" y="13906"/>
                          <a:pt x="16489" y="13079"/>
                          <a:pt x="15918" y="10994"/>
                        </a:cubicBezTo>
                        <a:cubicBezTo>
                          <a:pt x="14376" y="5826"/>
                          <a:pt x="7865" y="5997"/>
                          <a:pt x="6181" y="10937"/>
                        </a:cubicBezTo>
                        <a:cubicBezTo>
                          <a:pt x="5724" y="11965"/>
                          <a:pt x="5067" y="12936"/>
                          <a:pt x="4268" y="13735"/>
                        </a:cubicBezTo>
                        <a:cubicBezTo>
                          <a:pt x="4125" y="13849"/>
                          <a:pt x="3925" y="13935"/>
                          <a:pt x="3754" y="13935"/>
                        </a:cubicBezTo>
                        <a:close/>
                      </a:path>
                    </a:pathLst>
                  </a:custGeom>
                  <a:solidFill>
                    <a:srgbClr val="000000"/>
                  </a:solidFill>
                  <a:ln w="2826" cap="flat">
                    <a:noFill/>
                    <a:prstDash val="solid"/>
                    <a:miter/>
                  </a:ln>
                </p:spPr>
                <p:txBody>
                  <a:bodyPr rtlCol="0" anchor="ctr"/>
                  <a:lstStyle/>
                  <a:p>
                    <a:endParaRPr lang="fr-CA"/>
                  </a:p>
                </p:txBody>
              </p:sp>
              <p:sp>
                <p:nvSpPr>
                  <p:cNvPr id="1530" name="Forme libre : forme 1529">
                    <a:extLst>
                      <a:ext uri="{FF2B5EF4-FFF2-40B4-BE49-F238E27FC236}">
                        <a16:creationId xmlns:a16="http://schemas.microsoft.com/office/drawing/2014/main" id="{64B17180-51B4-80E0-71F5-539329278B38}"/>
                      </a:ext>
                    </a:extLst>
                  </p:cNvPr>
                  <p:cNvSpPr/>
                  <p:nvPr/>
                </p:nvSpPr>
                <p:spPr>
                  <a:xfrm>
                    <a:off x="9408469" y="3907926"/>
                    <a:ext cx="23705" cy="23030"/>
                  </a:xfrm>
                  <a:custGeom>
                    <a:avLst/>
                    <a:gdLst>
                      <a:gd name="connsiteX0" fmla="*/ 1987 w 23705"/>
                      <a:gd name="connsiteY0" fmla="*/ 24269 h 23030"/>
                      <a:gd name="connsiteX1" fmla="*/ 1730 w 23705"/>
                      <a:gd name="connsiteY1" fmla="*/ 24012 h 23030"/>
                      <a:gd name="connsiteX2" fmla="*/ 8098 w 23705"/>
                      <a:gd name="connsiteY2" fmla="*/ 5995 h 23030"/>
                      <a:gd name="connsiteX3" fmla="*/ 12923 w 23705"/>
                      <a:gd name="connsiteY3" fmla="*/ 2711 h 23030"/>
                      <a:gd name="connsiteX4" fmla="*/ 22688 w 23705"/>
                      <a:gd name="connsiteY4" fmla="*/ 2197 h 23030"/>
                      <a:gd name="connsiteX5" fmla="*/ 25230 w 23705"/>
                      <a:gd name="connsiteY5" fmla="*/ 5510 h 23030"/>
                      <a:gd name="connsiteX6" fmla="*/ 24944 w 23705"/>
                      <a:gd name="connsiteY6" fmla="*/ 7737 h 23030"/>
                      <a:gd name="connsiteX7" fmla="*/ 23145 w 23705"/>
                      <a:gd name="connsiteY7" fmla="*/ 9165 h 23030"/>
                      <a:gd name="connsiteX8" fmla="*/ 21775 w 23705"/>
                      <a:gd name="connsiteY8" fmla="*/ 9279 h 23030"/>
                      <a:gd name="connsiteX9" fmla="*/ 19262 w 23705"/>
                      <a:gd name="connsiteY9" fmla="*/ 9022 h 23030"/>
                      <a:gd name="connsiteX10" fmla="*/ 19262 w 23705"/>
                      <a:gd name="connsiteY10" fmla="*/ 9022 h 23030"/>
                      <a:gd name="connsiteX11" fmla="*/ 16721 w 23705"/>
                      <a:gd name="connsiteY11" fmla="*/ 8736 h 23030"/>
                      <a:gd name="connsiteX12" fmla="*/ 10525 w 23705"/>
                      <a:gd name="connsiteY12" fmla="*/ 10792 h 23030"/>
                      <a:gd name="connsiteX13" fmla="*/ 5043 w 23705"/>
                      <a:gd name="connsiteY13" fmla="*/ 18872 h 23030"/>
                      <a:gd name="connsiteX14" fmla="*/ 1987 w 23705"/>
                      <a:gd name="connsiteY14" fmla="*/ 24269 h 2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05" h="23030">
                        <a:moveTo>
                          <a:pt x="1987" y="24269"/>
                        </a:moveTo>
                        <a:cubicBezTo>
                          <a:pt x="1845" y="24269"/>
                          <a:pt x="1730" y="24155"/>
                          <a:pt x="1730" y="24012"/>
                        </a:cubicBezTo>
                        <a:cubicBezTo>
                          <a:pt x="1131" y="17502"/>
                          <a:pt x="3586" y="10735"/>
                          <a:pt x="8098" y="5995"/>
                        </a:cubicBezTo>
                        <a:cubicBezTo>
                          <a:pt x="9497" y="4624"/>
                          <a:pt x="11124" y="3511"/>
                          <a:pt x="12923" y="2711"/>
                        </a:cubicBezTo>
                        <a:cubicBezTo>
                          <a:pt x="15893" y="1369"/>
                          <a:pt x="19690" y="456"/>
                          <a:pt x="22688" y="2197"/>
                        </a:cubicBezTo>
                        <a:cubicBezTo>
                          <a:pt x="23888" y="2968"/>
                          <a:pt x="24773" y="4139"/>
                          <a:pt x="25230" y="5510"/>
                        </a:cubicBezTo>
                        <a:cubicBezTo>
                          <a:pt x="25458" y="6252"/>
                          <a:pt x="25344" y="7052"/>
                          <a:pt x="24944" y="7737"/>
                        </a:cubicBezTo>
                        <a:cubicBezTo>
                          <a:pt x="24573" y="8451"/>
                          <a:pt x="23916" y="8964"/>
                          <a:pt x="23145" y="9165"/>
                        </a:cubicBezTo>
                        <a:cubicBezTo>
                          <a:pt x="22688" y="9250"/>
                          <a:pt x="22232" y="9279"/>
                          <a:pt x="21775" y="9279"/>
                        </a:cubicBezTo>
                        <a:cubicBezTo>
                          <a:pt x="20918" y="9250"/>
                          <a:pt x="20090" y="9165"/>
                          <a:pt x="19262" y="9022"/>
                        </a:cubicBezTo>
                        <a:lnTo>
                          <a:pt x="19262" y="9022"/>
                        </a:lnTo>
                        <a:cubicBezTo>
                          <a:pt x="18405" y="8851"/>
                          <a:pt x="17578" y="8765"/>
                          <a:pt x="16721" y="8736"/>
                        </a:cubicBezTo>
                        <a:cubicBezTo>
                          <a:pt x="14494" y="8765"/>
                          <a:pt x="12323" y="9479"/>
                          <a:pt x="10525" y="10792"/>
                        </a:cubicBezTo>
                        <a:cubicBezTo>
                          <a:pt x="7841" y="12876"/>
                          <a:pt x="6413" y="15932"/>
                          <a:pt x="5043" y="18872"/>
                        </a:cubicBezTo>
                        <a:cubicBezTo>
                          <a:pt x="4157" y="20700"/>
                          <a:pt x="3329" y="22813"/>
                          <a:pt x="1987" y="24269"/>
                        </a:cubicBezTo>
                        <a:close/>
                      </a:path>
                    </a:pathLst>
                  </a:custGeom>
                  <a:solidFill>
                    <a:srgbClr val="000000"/>
                  </a:solidFill>
                  <a:ln w="2826" cap="flat">
                    <a:noFill/>
                    <a:prstDash val="solid"/>
                    <a:miter/>
                  </a:ln>
                </p:spPr>
                <p:txBody>
                  <a:bodyPr rtlCol="0" anchor="ctr"/>
                  <a:lstStyle/>
                  <a:p>
                    <a:endParaRPr lang="fr-CA"/>
                  </a:p>
                </p:txBody>
              </p:sp>
              <p:sp>
                <p:nvSpPr>
                  <p:cNvPr id="1531" name="Forme libre : forme 1530">
                    <a:extLst>
                      <a:ext uri="{FF2B5EF4-FFF2-40B4-BE49-F238E27FC236}">
                        <a16:creationId xmlns:a16="http://schemas.microsoft.com/office/drawing/2014/main" id="{AC76E6A9-8A3D-220D-3B58-BCDE0C7B9F2B}"/>
                      </a:ext>
                    </a:extLst>
                  </p:cNvPr>
                  <p:cNvSpPr/>
                  <p:nvPr/>
                </p:nvSpPr>
                <p:spPr>
                  <a:xfrm>
                    <a:off x="9461120" y="3907996"/>
                    <a:ext cx="26679" cy="18163"/>
                  </a:xfrm>
                  <a:custGeom>
                    <a:avLst/>
                    <a:gdLst>
                      <a:gd name="connsiteX0" fmla="*/ 24146 w 26679"/>
                      <a:gd name="connsiteY0" fmla="*/ 19403 h 18163"/>
                      <a:gd name="connsiteX1" fmla="*/ 18578 w 26679"/>
                      <a:gd name="connsiteY1" fmla="*/ 13378 h 18163"/>
                      <a:gd name="connsiteX2" fmla="*/ 1931 w 26679"/>
                      <a:gd name="connsiteY2" fmla="*/ 6896 h 18163"/>
                      <a:gd name="connsiteX3" fmla="*/ 1646 w 26679"/>
                      <a:gd name="connsiteY3" fmla="*/ 6725 h 18163"/>
                      <a:gd name="connsiteX4" fmla="*/ 2217 w 26679"/>
                      <a:gd name="connsiteY4" fmla="*/ 5754 h 18163"/>
                      <a:gd name="connsiteX5" fmla="*/ 3958 w 26679"/>
                      <a:gd name="connsiteY5" fmla="*/ 3784 h 18163"/>
                      <a:gd name="connsiteX6" fmla="*/ 25117 w 26679"/>
                      <a:gd name="connsiteY6" fmla="*/ 9466 h 18163"/>
                      <a:gd name="connsiteX7" fmla="*/ 26202 w 26679"/>
                      <a:gd name="connsiteY7" fmla="*/ 11979 h 18163"/>
                      <a:gd name="connsiteX8" fmla="*/ 28286 w 26679"/>
                      <a:gd name="connsiteY8" fmla="*/ 14948 h 18163"/>
                      <a:gd name="connsiteX9" fmla="*/ 24146 w 26679"/>
                      <a:gd name="connsiteY9" fmla="*/ 19403 h 1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79" h="18163">
                        <a:moveTo>
                          <a:pt x="24146" y="19403"/>
                        </a:moveTo>
                        <a:cubicBezTo>
                          <a:pt x="20548" y="19260"/>
                          <a:pt x="19577" y="16062"/>
                          <a:pt x="18578" y="13378"/>
                        </a:cubicBezTo>
                        <a:cubicBezTo>
                          <a:pt x="16036" y="7296"/>
                          <a:pt x="8184" y="5212"/>
                          <a:pt x="1931" y="6896"/>
                        </a:cubicBezTo>
                        <a:cubicBezTo>
                          <a:pt x="1817" y="6896"/>
                          <a:pt x="1703" y="6810"/>
                          <a:pt x="1646" y="6725"/>
                        </a:cubicBezTo>
                        <a:cubicBezTo>
                          <a:pt x="1588" y="6353"/>
                          <a:pt x="2074" y="6039"/>
                          <a:pt x="2217" y="5754"/>
                        </a:cubicBezTo>
                        <a:cubicBezTo>
                          <a:pt x="2702" y="5011"/>
                          <a:pt x="3273" y="4355"/>
                          <a:pt x="3958" y="3784"/>
                        </a:cubicBezTo>
                        <a:cubicBezTo>
                          <a:pt x="10868" y="-1641"/>
                          <a:pt x="21176" y="2242"/>
                          <a:pt x="25117" y="9466"/>
                        </a:cubicBezTo>
                        <a:cubicBezTo>
                          <a:pt x="25545" y="10294"/>
                          <a:pt x="25773" y="11179"/>
                          <a:pt x="26202" y="11979"/>
                        </a:cubicBezTo>
                        <a:cubicBezTo>
                          <a:pt x="27315" y="12607"/>
                          <a:pt x="28086" y="13720"/>
                          <a:pt x="28286" y="14948"/>
                        </a:cubicBezTo>
                        <a:cubicBezTo>
                          <a:pt x="28629" y="17290"/>
                          <a:pt x="26373" y="19403"/>
                          <a:pt x="24146" y="19403"/>
                        </a:cubicBezTo>
                        <a:close/>
                      </a:path>
                    </a:pathLst>
                  </a:custGeom>
                  <a:solidFill>
                    <a:srgbClr val="000000"/>
                  </a:solidFill>
                  <a:ln w="2826" cap="flat">
                    <a:noFill/>
                    <a:prstDash val="solid"/>
                    <a:miter/>
                  </a:ln>
                </p:spPr>
                <p:txBody>
                  <a:bodyPr rtlCol="0" anchor="ctr"/>
                  <a:lstStyle/>
                  <a:p>
                    <a:endParaRPr lang="fr-CA"/>
                  </a:p>
                </p:txBody>
              </p:sp>
            </p:grpSp>
          </p:grpSp>
        </p:grpSp>
        <p:pic>
          <p:nvPicPr>
            <p:cNvPr id="1516" name="Graphique 1515" descr="Fille portant un sac à dos">
              <a:extLst>
                <a:ext uri="{FF2B5EF4-FFF2-40B4-BE49-F238E27FC236}">
                  <a16:creationId xmlns:a16="http://schemas.microsoft.com/office/drawing/2014/main" id="{BF3427A0-65AA-05D9-2F66-985E4C712820}"/>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flipH="1">
              <a:off x="4216411" y="4975122"/>
              <a:ext cx="431158" cy="1070756"/>
            </a:xfrm>
            <a:prstGeom prst="rect">
              <a:avLst/>
            </a:prstGeom>
          </p:spPr>
        </p:pic>
        <p:pic>
          <p:nvPicPr>
            <p:cNvPr id="1517" name="Graphique 1516" descr="Garçon portant un sac à dos">
              <a:extLst>
                <a:ext uri="{FF2B5EF4-FFF2-40B4-BE49-F238E27FC236}">
                  <a16:creationId xmlns:a16="http://schemas.microsoft.com/office/drawing/2014/main" id="{C4420460-7E25-7B34-2032-6367267209F3}"/>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flipH="1">
              <a:off x="4500900" y="5097843"/>
              <a:ext cx="431158" cy="1070756"/>
            </a:xfrm>
            <a:prstGeom prst="rect">
              <a:avLst/>
            </a:prstGeom>
          </p:spPr>
        </p:pic>
        <p:pic>
          <p:nvPicPr>
            <p:cNvPr id="1518" name="Graphique 1517" descr="Homme en smoking">
              <a:extLst>
                <a:ext uri="{FF2B5EF4-FFF2-40B4-BE49-F238E27FC236}">
                  <a16:creationId xmlns:a16="http://schemas.microsoft.com/office/drawing/2014/main" id="{2D428014-3330-CCDE-AE01-E9CC9F3CCB91}"/>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flipH="1">
              <a:off x="4024533" y="4213138"/>
              <a:ext cx="479699" cy="1370568"/>
            </a:xfrm>
            <a:prstGeom prst="rect">
              <a:avLst/>
            </a:prstGeom>
          </p:spPr>
        </p:pic>
        <p:pic>
          <p:nvPicPr>
            <p:cNvPr id="1519" name="Graphique 1518" descr="Homme âgé portant une veste">
              <a:extLst>
                <a:ext uri="{FF2B5EF4-FFF2-40B4-BE49-F238E27FC236}">
                  <a16:creationId xmlns:a16="http://schemas.microsoft.com/office/drawing/2014/main" id="{D8C6348B-7A44-1785-D090-DA372633F9FE}"/>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flipH="1">
              <a:off x="4139263" y="2951037"/>
              <a:ext cx="428302" cy="1333448"/>
            </a:xfrm>
            <a:prstGeom prst="rect">
              <a:avLst/>
            </a:prstGeom>
          </p:spPr>
        </p:pic>
        <p:pic>
          <p:nvPicPr>
            <p:cNvPr id="1520" name="Graphique 1519" descr="Femme levant le doigt">
              <a:extLst>
                <a:ext uri="{FF2B5EF4-FFF2-40B4-BE49-F238E27FC236}">
                  <a16:creationId xmlns:a16="http://schemas.microsoft.com/office/drawing/2014/main" id="{97C3E1D7-44A6-1DC1-564D-F1800F4C2E89}"/>
                </a:ext>
              </a:extLst>
            </p:cNvPr>
            <p:cNvPicPr>
              <a:picLocks noChangeAspect="1"/>
            </p:cNvPicPr>
            <p:nvPr/>
          </p:nvPicPr>
          <p:blipFill>
            <a:blip r:embed="rId92">
              <a:extLst>
                <a:ext uri="{96DAC541-7B7A-43D3-8B79-37D633B846F1}">
                  <asvg:svgBlip xmlns:asvg="http://schemas.microsoft.com/office/drawing/2016/SVG/main" r:embed="rId93"/>
                </a:ext>
              </a:extLst>
            </a:blip>
            <a:stretch>
              <a:fillRect/>
            </a:stretch>
          </p:blipFill>
          <p:spPr>
            <a:xfrm flipH="1">
              <a:off x="3501504" y="3383977"/>
              <a:ext cx="633888" cy="1230656"/>
            </a:xfrm>
            <a:prstGeom prst="rect">
              <a:avLst/>
            </a:prstGeom>
          </p:spPr>
        </p:pic>
      </p:grpSp>
      <p:sp>
        <p:nvSpPr>
          <p:cNvPr id="1399" name="ZoneTexte 1398">
            <a:extLst>
              <a:ext uri="{FF2B5EF4-FFF2-40B4-BE49-F238E27FC236}">
                <a16:creationId xmlns:a16="http://schemas.microsoft.com/office/drawing/2014/main" id="{A70F8BED-DC87-EFA0-E4ED-88AF44E291C6}"/>
              </a:ext>
            </a:extLst>
          </p:cNvPr>
          <p:cNvSpPr txBox="1"/>
          <p:nvPr>
            <p:custDataLst>
              <p:tags r:id="rId10"/>
            </p:custDataLst>
          </p:nvPr>
        </p:nvSpPr>
        <p:spPr>
          <a:xfrm>
            <a:off x="1703512" y="4163107"/>
            <a:ext cx="1656184" cy="923330"/>
          </a:xfrm>
          <a:prstGeom prst="rect">
            <a:avLst/>
          </a:prstGeom>
          <a:solidFill>
            <a:schemeClr val="bg1"/>
          </a:solidFill>
        </p:spPr>
        <p:txBody>
          <a:bodyPr wrap="square" rtlCol="0">
            <a:spAutoFit/>
          </a:bodyPr>
          <a:lstStyle/>
          <a:p>
            <a:pPr algn="ctr"/>
            <a:r>
              <a:rPr lang="fr-CA" sz="1800" b="0" cap="none">
                <a:solidFill>
                  <a:srgbClr val="454547"/>
                </a:solidFill>
                <a:ea typeface="+mn-lt"/>
                <a:cs typeface="+mn-lt"/>
              </a:rPr>
              <a:t>du niveau d’intensité de soins requis</a:t>
            </a:r>
            <a:endParaRPr lang="fr-CA"/>
          </a:p>
        </p:txBody>
      </p:sp>
      <p:sp>
        <p:nvSpPr>
          <p:cNvPr id="1400" name="ZoneTexte 1399">
            <a:extLst>
              <a:ext uri="{FF2B5EF4-FFF2-40B4-BE49-F238E27FC236}">
                <a16:creationId xmlns:a16="http://schemas.microsoft.com/office/drawing/2014/main" id="{D53DE17D-3B8B-A75C-34A6-FEE162CA9E3B}"/>
              </a:ext>
            </a:extLst>
          </p:cNvPr>
          <p:cNvSpPr txBox="1"/>
          <p:nvPr>
            <p:custDataLst>
              <p:tags r:id="rId11"/>
            </p:custDataLst>
          </p:nvPr>
        </p:nvSpPr>
        <p:spPr>
          <a:xfrm>
            <a:off x="8832306" y="4307785"/>
            <a:ext cx="1656184" cy="646331"/>
          </a:xfrm>
          <a:prstGeom prst="rect">
            <a:avLst/>
          </a:prstGeom>
          <a:solidFill>
            <a:schemeClr val="bg1"/>
          </a:solidFill>
        </p:spPr>
        <p:txBody>
          <a:bodyPr wrap="square" rtlCol="0">
            <a:spAutoFit/>
          </a:bodyPr>
          <a:lstStyle/>
          <a:p>
            <a:pPr algn="ctr"/>
            <a:r>
              <a:rPr lang="fr-CA" sz="1800" b="0" cap="none">
                <a:solidFill>
                  <a:srgbClr val="454547"/>
                </a:solidFill>
                <a:ea typeface="+mn-lt"/>
                <a:cs typeface="+mn-lt"/>
              </a:rPr>
              <a:t>des besoins des patients</a:t>
            </a:r>
            <a:endParaRPr lang="fr-CA"/>
          </a:p>
        </p:txBody>
      </p:sp>
    </p:spTree>
    <p:extLst>
      <p:ext uri="{BB962C8B-B14F-4D97-AF65-F5344CB8AC3E}">
        <p14:creationId xmlns:p14="http://schemas.microsoft.com/office/powerpoint/2010/main" val="445007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9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400"/>
                                        </p:tgtEl>
                                        <p:attrNameLst>
                                          <p:attrName>style.visibility</p:attrName>
                                        </p:attrNameLst>
                                      </p:cBhvr>
                                      <p:to>
                                        <p:strVal val="visible"/>
                                      </p:to>
                                    </p:set>
                                  </p:childTnLst>
                                </p:cTn>
                              </p:par>
                            </p:childTnLst>
                          </p:cTn>
                        </p:par>
                        <p:par>
                          <p:cTn id="10" fill="hold">
                            <p:stCondLst>
                              <p:cond delay="0"/>
                            </p:stCondLst>
                            <p:childTnLst>
                              <p:par>
                                <p:cTn id="11" presetID="10" presetClass="exit" presetSubtype="0" fill="hold" nodeType="afterEffect">
                                  <p:stCondLst>
                                    <p:cond delay="0"/>
                                  </p:stCondLst>
                                  <p:childTnLst>
                                    <p:animEffect transition="out" filter="fade">
                                      <p:cBhvr>
                                        <p:cTn id="12" dur="500"/>
                                        <p:tgtEl>
                                          <p:spTgt spid="1494"/>
                                        </p:tgtEl>
                                      </p:cBhvr>
                                    </p:animEffect>
                                    <p:set>
                                      <p:cBhvr>
                                        <p:cTn id="13" dur="1" fill="hold">
                                          <p:stCondLst>
                                            <p:cond delay="499"/>
                                          </p:stCondLst>
                                        </p:cTn>
                                        <p:tgtEl>
                                          <p:spTgt spid="1494"/>
                                        </p:tgtEl>
                                        <p:attrNameLst>
                                          <p:attrName>style.visibility</p:attrName>
                                        </p:attrNameLst>
                                      </p:cBhvr>
                                      <p:to>
                                        <p:strVal val="hidden"/>
                                      </p:to>
                                    </p:set>
                                  </p:childTnLst>
                                </p:cTn>
                              </p:par>
                            </p:childTnLst>
                          </p:cTn>
                        </p:par>
                        <p:par>
                          <p:cTn id="14" fill="hold">
                            <p:stCondLst>
                              <p:cond delay="500"/>
                            </p:stCondLst>
                            <p:childTnLst>
                              <p:par>
                                <p:cTn id="15" presetID="10" presetClass="exit" presetSubtype="0" fill="hold" nodeType="afterEffect">
                                  <p:stCondLst>
                                    <p:cond delay="0"/>
                                  </p:stCondLst>
                                  <p:childTnLst>
                                    <p:animEffect transition="out" filter="fade">
                                      <p:cBhvr>
                                        <p:cTn id="16" dur="500"/>
                                        <p:tgtEl>
                                          <p:spTgt spid="1584"/>
                                        </p:tgtEl>
                                      </p:cBhvr>
                                    </p:animEffect>
                                    <p:set>
                                      <p:cBhvr>
                                        <p:cTn id="17" dur="1" fill="hold">
                                          <p:stCondLst>
                                            <p:cond delay="499"/>
                                          </p:stCondLst>
                                        </p:cTn>
                                        <p:tgtEl>
                                          <p:spTgt spid="158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9" grpId="0" animBg="1"/>
      <p:bldP spid="140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1936D-A2FB-7D9B-22A2-618368E9D055}"/>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CAE90BB9-CFAF-56DC-D04D-29D7D934865B}"/>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7DBF1B69-1908-F9B3-5BFD-7F90D6C6E093}"/>
              </a:ext>
            </a:extLst>
          </p:cNvPr>
          <p:cNvSpPr>
            <a:spLocks noGrp="1"/>
          </p:cNvSpPr>
          <p:nvPr>
            <p:ph type="sldNum" sz="quarter" idx="11"/>
            <p:custDataLst>
              <p:tags r:id="rId2"/>
            </p:custDataLst>
          </p:nvPr>
        </p:nvSpPr>
        <p:spPr/>
        <p:txBody>
          <a:bodyPr/>
          <a:lstStyle/>
          <a:p>
            <a:fld id="{91882AA3-08DC-0043-8CA8-8CA69DA2397E}" type="slidenum">
              <a:rPr lang="en-US" smtClean="0"/>
              <a:pPr/>
              <a:t>39</a:t>
            </a:fld>
            <a:endParaRPr lang="en-US"/>
          </a:p>
        </p:txBody>
      </p:sp>
      <p:sp>
        <p:nvSpPr>
          <p:cNvPr id="5" name="Espace réservé du texte 4">
            <a:extLst>
              <a:ext uri="{FF2B5EF4-FFF2-40B4-BE49-F238E27FC236}">
                <a16:creationId xmlns:a16="http://schemas.microsoft.com/office/drawing/2014/main" id="{1093E4FE-B93F-D04E-C145-5192083516FB}"/>
              </a:ext>
            </a:extLst>
          </p:cNvPr>
          <p:cNvSpPr>
            <a:spLocks noGrp="1"/>
          </p:cNvSpPr>
          <p:nvPr>
            <p:ph type="body" sz="quarter" idx="12"/>
            <p:custDataLst>
              <p:tags r:id="rId3"/>
            </p:custDataLst>
          </p:nvPr>
        </p:nvSpPr>
        <p:spPr>
          <a:xfrm>
            <a:off x="191344" y="364190"/>
            <a:ext cx="6840760" cy="544530"/>
          </a:xfrm>
        </p:spPr>
        <p:txBody>
          <a:bodyPr/>
          <a:lstStyle/>
          <a:p>
            <a:r>
              <a:rPr lang="fr-CA"/>
              <a:t>Patient ayant une condition chronique diagnostiquée (suite)</a:t>
            </a:r>
          </a:p>
        </p:txBody>
      </p:sp>
      <p:pic>
        <p:nvPicPr>
          <p:cNvPr id="2" name="Image 1">
            <a:extLst>
              <a:ext uri="{FF2B5EF4-FFF2-40B4-BE49-F238E27FC236}">
                <a16:creationId xmlns:a16="http://schemas.microsoft.com/office/drawing/2014/main" id="{24B6E154-EB55-546E-B408-8A7B53E99D96}"/>
              </a:ext>
            </a:extLst>
          </p:cNvPr>
          <p:cNvPicPr>
            <a:picLocks noChangeAspect="1"/>
          </p:cNvPicPr>
          <p:nvPr/>
        </p:nvPicPr>
        <p:blipFill>
          <a:blip r:embed="rId5"/>
          <a:stretch>
            <a:fillRect/>
          </a:stretch>
        </p:blipFill>
        <p:spPr>
          <a:xfrm>
            <a:off x="1004887" y="1104900"/>
            <a:ext cx="10182225" cy="4648200"/>
          </a:xfrm>
          <a:prstGeom prst="rect">
            <a:avLst/>
          </a:prstGeom>
        </p:spPr>
      </p:pic>
    </p:spTree>
    <p:extLst>
      <p:ext uri="{BB962C8B-B14F-4D97-AF65-F5344CB8AC3E}">
        <p14:creationId xmlns:p14="http://schemas.microsoft.com/office/powerpoint/2010/main" val="3633457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609600" y="533400"/>
            <a:ext cx="7010400" cy="1325563"/>
          </a:xfrm>
        </p:spPr>
        <p:txBody>
          <a:bodyPr anchor="t">
            <a:normAutofit/>
          </a:bodyPr>
          <a:lstStyle/>
          <a:p>
            <a:r>
              <a:t>Objectif</a:t>
            </a:r>
            <a:r>
              <a:rPr lang="fr-CA"/>
              <a:t>s</a:t>
            </a:r>
            <a:endParaRPr/>
          </a:p>
        </p:txBody>
      </p:sp>
      <p:sp>
        <p:nvSpPr>
          <p:cNvPr id="9" name="Footer Placeholder 2">
            <a:extLst>
              <a:ext uri="{FF2B5EF4-FFF2-40B4-BE49-F238E27FC236}">
                <a16:creationId xmlns:a16="http://schemas.microsoft.com/office/drawing/2014/main" id="{2A96C7A7-5F14-FD71-3468-3787D410C479}"/>
              </a:ext>
            </a:extLst>
          </p:cNvPr>
          <p:cNvSpPr>
            <a:spLocks noGrp="1"/>
          </p:cNvSpPr>
          <p:nvPr>
            <p:ph type="ftr" sz="quarter" idx="10"/>
            <p:custDataLst>
              <p:tags r:id="rId2"/>
            </p:custDataLst>
          </p:nvPr>
        </p:nvSpPr>
        <p:spPr>
          <a:xfrm>
            <a:off x="609600" y="6324600"/>
            <a:ext cx="9601200" cy="365125"/>
          </a:xfrm>
        </p:spPr>
        <p:txBody>
          <a:bodyPr anchor="ctr">
            <a:normAutofit/>
          </a:bodyPr>
          <a:lstStyle/>
          <a:p>
            <a:pPr algn="l">
              <a:spcAft>
                <a:spcPts val="600"/>
              </a:spcAft>
            </a:pPr>
            <a:r>
              <a:rPr lang="fr-CA"/>
              <a:t>AQPP  |  Du patient à l'entente</a:t>
            </a:r>
            <a:endParaRPr lang="en-US"/>
          </a:p>
        </p:txBody>
      </p:sp>
      <p:sp>
        <p:nvSpPr>
          <p:cNvPr id="11" name="Slide Number Placeholder 3">
            <a:extLst>
              <a:ext uri="{FF2B5EF4-FFF2-40B4-BE49-F238E27FC236}">
                <a16:creationId xmlns:a16="http://schemas.microsoft.com/office/drawing/2014/main" id="{64E89943-5A32-C0B0-886F-35A9D6FA570F}"/>
              </a:ext>
            </a:extLst>
          </p:cNvPr>
          <p:cNvSpPr>
            <a:spLocks noGrp="1"/>
          </p:cNvSpPr>
          <p:nvPr>
            <p:ph type="sldNum" sz="quarter" idx="11"/>
            <p:custDataLst>
              <p:tags r:id="rId3"/>
            </p:custDataLst>
          </p:nvPr>
        </p:nvSpPr>
        <p:spPr>
          <a:xfrm>
            <a:off x="11455398" y="6442075"/>
            <a:ext cx="736601" cy="365125"/>
          </a:xfrm>
        </p:spPr>
        <p:txBody>
          <a:bodyPr>
            <a:normAutofit/>
          </a:bodyPr>
          <a:lstStyle/>
          <a:p>
            <a:pPr>
              <a:spcAft>
                <a:spcPts val="600"/>
              </a:spcAft>
            </a:pPr>
            <a:fld id="{91882AA3-08DC-0043-8CA8-8CA69DA2397E}" type="slidenum">
              <a:rPr lang="en-US"/>
              <a:pPr>
                <a:spcAft>
                  <a:spcPts val="600"/>
                </a:spcAft>
              </a:pPr>
              <a:t>4</a:t>
            </a:fld>
            <a:endParaRPr lang="en-US"/>
          </a:p>
        </p:txBody>
      </p:sp>
      <p:sp>
        <p:nvSpPr>
          <p:cNvPr id="13" name="Text Placeholder 4">
            <a:extLst>
              <a:ext uri="{FF2B5EF4-FFF2-40B4-BE49-F238E27FC236}">
                <a16:creationId xmlns:a16="http://schemas.microsoft.com/office/drawing/2014/main" id="{4B7F125B-1F8E-C120-B86C-F8B2F321391E}"/>
              </a:ext>
            </a:extLst>
          </p:cNvPr>
          <p:cNvSpPr>
            <a:spLocks noGrp="1"/>
          </p:cNvSpPr>
          <p:nvPr>
            <p:ph type="body" sz="quarter" idx="12"/>
            <p:custDataLst>
              <p:tags r:id="rId4"/>
            </p:custDataLst>
          </p:nvPr>
        </p:nvSpPr>
        <p:spPr>
          <a:xfrm>
            <a:off x="2290482" y="1766047"/>
            <a:ext cx="4495800" cy="457200"/>
          </a:xfrm>
        </p:spPr>
        <p:txBody>
          <a:bodyPr lIns="0" tIns="0" rIns="0" bIns="0" anchor="t">
            <a:normAutofit/>
          </a:bodyPr>
          <a:lstStyle/>
          <a:p>
            <a:r>
              <a:rPr lang="en-US"/>
              <a:t>Du patient à </a:t>
            </a:r>
            <a:r>
              <a:rPr lang="en-US" err="1"/>
              <a:t>l’entente</a:t>
            </a:r>
            <a:r>
              <a:rPr lang="en-US"/>
              <a:t> 2022-2025</a:t>
            </a:r>
          </a:p>
        </p:txBody>
      </p:sp>
      <p:graphicFrame>
        <p:nvGraphicFramePr>
          <p:cNvPr id="5" name="Content Placeholder 2">
            <a:extLst>
              <a:ext uri="{FF2B5EF4-FFF2-40B4-BE49-F238E27FC236}">
                <a16:creationId xmlns:a16="http://schemas.microsoft.com/office/drawing/2014/main" id="{675F7654-2E10-5040-338A-E658A68846E9}"/>
              </a:ext>
            </a:extLst>
          </p:cNvPr>
          <p:cNvGraphicFramePr/>
          <p:nvPr>
            <p:custDataLst>
              <p:tags r:id="rId5"/>
            </p:custDataLst>
            <p:extLst>
              <p:ext uri="{D42A27DB-BD31-4B8C-83A1-F6EECF244321}">
                <p14:modId xmlns:p14="http://schemas.microsoft.com/office/powerpoint/2010/main" val="495887422"/>
              </p:ext>
            </p:extLst>
          </p:nvPr>
        </p:nvGraphicFramePr>
        <p:xfrm>
          <a:off x="2290480" y="2156572"/>
          <a:ext cx="7848601" cy="34194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BF0F4-D8B0-5983-2CA0-70D743073B58}"/>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D229AF6-EB78-6DA3-F64F-C1EF043234AA}"/>
              </a:ext>
            </a:extLst>
          </p:cNvPr>
          <p:cNvSpPr>
            <a:spLocks noGrp="1"/>
          </p:cNvSpPr>
          <p:nvPr>
            <p:ph type="title"/>
            <p:custDataLst>
              <p:tags r:id="rId1"/>
            </p:custDataLst>
          </p:nvPr>
        </p:nvSpPr>
        <p:spPr>
          <a:xfrm>
            <a:off x="609600" y="533401"/>
            <a:ext cx="8294712" cy="990600"/>
          </a:xfrm>
        </p:spPr>
        <p:txBody>
          <a:bodyPr/>
          <a:lstStyle/>
          <a:p>
            <a:r>
              <a:rPr lang="fr-CA"/>
              <a:t>Naloxone : facturation et clientèle cible</a:t>
            </a:r>
          </a:p>
        </p:txBody>
      </p:sp>
      <p:sp>
        <p:nvSpPr>
          <p:cNvPr id="3" name="Espace réservé du pied de page 2">
            <a:extLst>
              <a:ext uri="{FF2B5EF4-FFF2-40B4-BE49-F238E27FC236}">
                <a16:creationId xmlns:a16="http://schemas.microsoft.com/office/drawing/2014/main" id="{C61E4E90-F229-D879-32FE-D1F838AC42A3}"/>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1AB8BAA0-303F-50A2-DA9D-5115A578EB6E}"/>
              </a:ext>
            </a:extLst>
          </p:cNvPr>
          <p:cNvSpPr>
            <a:spLocks noGrp="1"/>
          </p:cNvSpPr>
          <p:nvPr>
            <p:ph type="sldNum" sz="quarter" idx="11"/>
            <p:custDataLst>
              <p:tags r:id="rId3"/>
            </p:custDataLst>
          </p:nvPr>
        </p:nvSpPr>
        <p:spPr/>
        <p:txBody>
          <a:bodyPr/>
          <a:lstStyle/>
          <a:p>
            <a:fld id="{91882AA3-08DC-0043-8CA8-8CA69DA2397E}" type="slidenum">
              <a:rPr lang="en-US" smtClean="0"/>
              <a:pPr/>
              <a:t>40</a:t>
            </a:fld>
            <a:endParaRPr lang="en-US"/>
          </a:p>
        </p:txBody>
      </p:sp>
      <p:sp>
        <p:nvSpPr>
          <p:cNvPr id="14" name="Espace réservé du texte 13">
            <a:extLst>
              <a:ext uri="{FF2B5EF4-FFF2-40B4-BE49-F238E27FC236}">
                <a16:creationId xmlns:a16="http://schemas.microsoft.com/office/drawing/2014/main" id="{9486593C-3A02-447E-4274-87F51A1B196C}"/>
              </a:ext>
            </a:extLst>
          </p:cNvPr>
          <p:cNvSpPr>
            <a:spLocks noGrp="1"/>
          </p:cNvSpPr>
          <p:nvPr>
            <p:ph type="body" sz="quarter" idx="12"/>
            <p:custDataLst>
              <p:tags r:id="rId4"/>
            </p:custDataLst>
          </p:nvPr>
        </p:nvSpPr>
        <p:spPr>
          <a:xfrm>
            <a:off x="6744072" y="1698122"/>
            <a:ext cx="4304928" cy="4242430"/>
          </a:xfrm>
        </p:spPr>
        <p:txBody>
          <a:bodyPr/>
          <a:lstStyle/>
          <a:p>
            <a:r>
              <a:rPr lang="fr-CA"/>
              <a:t>Clientèle cible :</a:t>
            </a:r>
          </a:p>
          <a:p>
            <a:pPr marL="285750" indent="-285750">
              <a:buFont typeface="Arial" panose="020B0604020202020204" pitchFamily="34" charset="0"/>
              <a:buChar char="•"/>
            </a:pPr>
            <a:r>
              <a:rPr lang="fr-CA"/>
              <a:t>Toute personne qui en fait la demande;</a:t>
            </a:r>
          </a:p>
          <a:p>
            <a:pPr marL="285750" indent="-285750">
              <a:buFont typeface="Arial" panose="020B0604020202020204" pitchFamily="34" charset="0"/>
              <a:buChar char="•"/>
            </a:pPr>
            <a:r>
              <a:rPr lang="fr-CA"/>
              <a:t>Toute personne consommant des drogues achetées sur le marché noir;</a:t>
            </a:r>
          </a:p>
          <a:p>
            <a:pPr marL="285750" indent="-285750">
              <a:buFont typeface="Arial" panose="020B0604020202020204" pitchFamily="34" charset="0"/>
              <a:buChar char="•"/>
            </a:pPr>
            <a:r>
              <a:rPr lang="fr-CA"/>
              <a:t>Traitement TUO;</a:t>
            </a:r>
          </a:p>
          <a:p>
            <a:pPr marL="285750" indent="-285750">
              <a:buFont typeface="Arial" panose="020B0604020202020204" pitchFamily="34" charset="0"/>
              <a:buChar char="•"/>
            </a:pPr>
            <a:r>
              <a:rPr lang="fr-CA"/>
              <a:t>Ordonnances d’opioïdes, surtout à hautes doses;</a:t>
            </a:r>
          </a:p>
          <a:p>
            <a:pPr marL="285750" indent="-285750">
              <a:buFont typeface="Arial" panose="020B0604020202020204" pitchFamily="34" charset="0"/>
              <a:buChar char="•"/>
            </a:pPr>
            <a:r>
              <a:rPr lang="fr-CA"/>
              <a:t>Soins palliatifs, surtout le patient et son entourage.</a:t>
            </a:r>
          </a:p>
        </p:txBody>
      </p:sp>
      <p:pic>
        <p:nvPicPr>
          <p:cNvPr id="16" name="Image 15">
            <a:extLst>
              <a:ext uri="{FF2B5EF4-FFF2-40B4-BE49-F238E27FC236}">
                <a16:creationId xmlns:a16="http://schemas.microsoft.com/office/drawing/2014/main" id="{CC71D42F-FE3D-5A1C-AA67-863542A9BA2B}"/>
              </a:ext>
            </a:extLst>
          </p:cNvPr>
          <p:cNvPicPr>
            <a:picLocks noChangeAspect="1"/>
          </p:cNvPicPr>
          <p:nvPr>
            <p:custDataLst>
              <p:tags r:id="rId5"/>
            </p:custDataLst>
          </p:nvPr>
        </p:nvPicPr>
        <p:blipFill>
          <a:blip r:embed="rId10"/>
          <a:stretch>
            <a:fillRect/>
          </a:stretch>
        </p:blipFill>
        <p:spPr>
          <a:xfrm>
            <a:off x="715050" y="2006986"/>
            <a:ext cx="5087060" cy="1695687"/>
          </a:xfrm>
          <a:prstGeom prst="rect">
            <a:avLst/>
          </a:prstGeom>
          <a:ln>
            <a:solidFill>
              <a:schemeClr val="accent1"/>
            </a:solidFill>
          </a:ln>
        </p:spPr>
      </p:pic>
      <p:pic>
        <p:nvPicPr>
          <p:cNvPr id="18" name="Image 17">
            <a:extLst>
              <a:ext uri="{FF2B5EF4-FFF2-40B4-BE49-F238E27FC236}">
                <a16:creationId xmlns:a16="http://schemas.microsoft.com/office/drawing/2014/main" id="{916ACE5F-1FCC-582F-8F0F-D06C0FD9C3F8}"/>
              </a:ext>
            </a:extLst>
          </p:cNvPr>
          <p:cNvPicPr>
            <a:picLocks noChangeAspect="1"/>
          </p:cNvPicPr>
          <p:nvPr>
            <p:custDataLst>
              <p:tags r:id="rId6"/>
            </p:custDataLst>
          </p:nvPr>
        </p:nvPicPr>
        <p:blipFill>
          <a:blip r:embed="rId11"/>
          <a:stretch>
            <a:fillRect/>
          </a:stretch>
        </p:blipFill>
        <p:spPr>
          <a:xfrm>
            <a:off x="1639104" y="3698189"/>
            <a:ext cx="4163006" cy="447737"/>
          </a:xfrm>
          <a:prstGeom prst="rect">
            <a:avLst/>
          </a:prstGeom>
          <a:ln>
            <a:solidFill>
              <a:schemeClr val="accent1"/>
            </a:solidFill>
          </a:ln>
        </p:spPr>
      </p:pic>
      <p:sp>
        <p:nvSpPr>
          <p:cNvPr id="19" name="ZoneTexte 18">
            <a:extLst>
              <a:ext uri="{FF2B5EF4-FFF2-40B4-BE49-F238E27FC236}">
                <a16:creationId xmlns:a16="http://schemas.microsoft.com/office/drawing/2014/main" id="{F502A6E7-6A01-9C1E-C360-B0E1A318F74B}"/>
              </a:ext>
            </a:extLst>
          </p:cNvPr>
          <p:cNvSpPr txBox="1"/>
          <p:nvPr>
            <p:custDataLst>
              <p:tags r:id="rId7"/>
            </p:custDataLst>
          </p:nvPr>
        </p:nvSpPr>
        <p:spPr>
          <a:xfrm>
            <a:off x="1271464" y="4757665"/>
            <a:ext cx="3974232" cy="646331"/>
          </a:xfrm>
          <a:prstGeom prst="rect">
            <a:avLst/>
          </a:prstGeom>
          <a:noFill/>
        </p:spPr>
        <p:txBody>
          <a:bodyPr wrap="square" rtlCol="0">
            <a:spAutoFit/>
          </a:bodyPr>
          <a:lstStyle/>
          <a:p>
            <a:r>
              <a:rPr lang="fr-CA"/>
              <a:t>Honoraires : Code O + enseignement (entente particulière, 18,02 $)</a:t>
            </a:r>
          </a:p>
        </p:txBody>
      </p:sp>
    </p:spTree>
    <p:extLst>
      <p:ext uri="{BB962C8B-B14F-4D97-AF65-F5344CB8AC3E}">
        <p14:creationId xmlns:p14="http://schemas.microsoft.com/office/powerpoint/2010/main" val="29685636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DD325-429E-08B3-CC54-A449645649F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6A4BEFC0-559D-A2FA-2DEA-182D5C77023A}"/>
              </a:ext>
            </a:extLst>
          </p:cNvPr>
          <p:cNvSpPr>
            <a:spLocks noGrp="1"/>
          </p:cNvSpPr>
          <p:nvPr>
            <p:ph type="title"/>
            <p:custDataLst>
              <p:tags r:id="rId1"/>
            </p:custDataLst>
          </p:nvPr>
        </p:nvSpPr>
        <p:spPr>
          <a:xfrm>
            <a:off x="609600" y="533401"/>
            <a:ext cx="8294712" cy="990600"/>
          </a:xfrm>
        </p:spPr>
        <p:txBody>
          <a:bodyPr/>
          <a:lstStyle/>
          <a:p>
            <a:r>
              <a:rPr lang="fr-CA"/>
              <a:t>Naloxone : questions fréquentes</a:t>
            </a:r>
          </a:p>
        </p:txBody>
      </p:sp>
      <p:sp>
        <p:nvSpPr>
          <p:cNvPr id="3" name="Espace réservé du pied de page 2">
            <a:extLst>
              <a:ext uri="{FF2B5EF4-FFF2-40B4-BE49-F238E27FC236}">
                <a16:creationId xmlns:a16="http://schemas.microsoft.com/office/drawing/2014/main" id="{C9DA113A-8326-2F73-C714-A89AD0B4A4CB}"/>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060441AB-5CE2-5723-B5E0-02C27868F7CA}"/>
              </a:ext>
            </a:extLst>
          </p:cNvPr>
          <p:cNvSpPr>
            <a:spLocks noGrp="1"/>
          </p:cNvSpPr>
          <p:nvPr>
            <p:ph type="sldNum" sz="quarter" idx="11"/>
            <p:custDataLst>
              <p:tags r:id="rId3"/>
            </p:custDataLst>
          </p:nvPr>
        </p:nvSpPr>
        <p:spPr/>
        <p:txBody>
          <a:bodyPr/>
          <a:lstStyle/>
          <a:p>
            <a:fld id="{91882AA3-08DC-0043-8CA8-8CA69DA2397E}" type="slidenum">
              <a:rPr lang="en-US" smtClean="0"/>
              <a:pPr/>
              <a:t>41</a:t>
            </a:fld>
            <a:endParaRPr lang="en-US"/>
          </a:p>
        </p:txBody>
      </p:sp>
      <p:sp>
        <p:nvSpPr>
          <p:cNvPr id="5" name="Espace réservé du texte 4">
            <a:extLst>
              <a:ext uri="{FF2B5EF4-FFF2-40B4-BE49-F238E27FC236}">
                <a16:creationId xmlns:a16="http://schemas.microsoft.com/office/drawing/2014/main" id="{24927570-D10C-7E22-7265-4D47C2B702E8}"/>
              </a:ext>
            </a:extLst>
          </p:cNvPr>
          <p:cNvSpPr>
            <a:spLocks noGrp="1"/>
          </p:cNvSpPr>
          <p:nvPr>
            <p:ph type="body" sz="quarter" idx="12"/>
            <p:custDataLst>
              <p:tags r:id="rId4"/>
            </p:custDataLst>
          </p:nvPr>
        </p:nvSpPr>
        <p:spPr>
          <a:xfrm>
            <a:off x="609600" y="1540025"/>
            <a:ext cx="10439400" cy="643136"/>
          </a:xfrm>
        </p:spPr>
        <p:txBody>
          <a:bodyPr lIns="0" tIns="0" rIns="0" bIns="0" anchor="t"/>
          <a:lstStyle/>
          <a:p>
            <a:r>
              <a:rPr lang="fr-CA"/>
              <a:t>« Un policier demande huit trousses de naloxone, qu’il va redistribuer à ses collègues. Puis-je accepter sa demande? »</a:t>
            </a:r>
          </a:p>
        </p:txBody>
      </p:sp>
      <p:pic>
        <p:nvPicPr>
          <p:cNvPr id="7" name="Image 6">
            <a:extLst>
              <a:ext uri="{FF2B5EF4-FFF2-40B4-BE49-F238E27FC236}">
                <a16:creationId xmlns:a16="http://schemas.microsoft.com/office/drawing/2014/main" id="{1F3BAFFF-03D0-450A-9F77-F8222D845D08}"/>
              </a:ext>
            </a:extLst>
          </p:cNvPr>
          <p:cNvPicPr>
            <a:picLocks noChangeAspect="1"/>
          </p:cNvPicPr>
          <p:nvPr>
            <p:custDataLst>
              <p:tags r:id="rId5"/>
            </p:custDataLst>
          </p:nvPr>
        </p:nvPicPr>
        <p:blipFill>
          <a:blip r:embed="rId11"/>
          <a:stretch>
            <a:fillRect/>
          </a:stretch>
        </p:blipFill>
        <p:spPr>
          <a:xfrm>
            <a:off x="2002421" y="2183161"/>
            <a:ext cx="7653758" cy="1340413"/>
          </a:xfrm>
          <a:prstGeom prst="rect">
            <a:avLst/>
          </a:prstGeom>
        </p:spPr>
      </p:pic>
      <p:sp>
        <p:nvSpPr>
          <p:cNvPr id="8" name="Espace réservé du texte 4">
            <a:extLst>
              <a:ext uri="{FF2B5EF4-FFF2-40B4-BE49-F238E27FC236}">
                <a16:creationId xmlns:a16="http://schemas.microsoft.com/office/drawing/2014/main" id="{76991676-5DE7-1A06-7E78-1D2A813469D4}"/>
              </a:ext>
            </a:extLst>
          </p:cNvPr>
          <p:cNvSpPr txBox="1">
            <a:spLocks/>
          </p:cNvSpPr>
          <p:nvPr>
            <p:custDataLst>
              <p:tags r:id="rId6"/>
            </p:custDataLst>
          </p:nvPr>
        </p:nvSpPr>
        <p:spPr>
          <a:xfrm>
            <a:off x="609600" y="3845142"/>
            <a:ext cx="10439400" cy="817477"/>
          </a:xfrm>
          <a:prstGeom prst="rect">
            <a:avLst/>
          </a:prstGeom>
        </p:spPr>
        <p:txBody>
          <a:bodyPr lIns="0" tIns="0" rIns="0" bIns="0" anchor="t"/>
          <a:lstStyle>
            <a:lvl1pPr marL="0" eaLnBrk="1" hangingPunct="1">
              <a:spcAft>
                <a:spcPts val="1200"/>
              </a:spcAft>
              <a:defRPr>
                <a:solidFill>
                  <a:schemeClr val="tx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tx1"/>
              </a:buClr>
              <a:buFont typeface="System Font Regular"/>
              <a:buChar char="−"/>
              <a:defRPr>
                <a:solidFill>
                  <a:schemeClr val="tx1"/>
                </a:solidFill>
                <a:latin typeface="+mn-lt"/>
                <a:ea typeface="+mn-ea"/>
                <a:cs typeface="+mn-cs"/>
              </a:defRPr>
            </a:lvl3pPr>
            <a:lvl4pPr marL="13716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fr-CA"/>
              <a:t>« Une personne sans dossier à la pharmacie demande une trousse de naloxone, mais refuse de nous remettre sa carte d’assurance maladie, car elle veut conserver son anonymat. Puis-je créer un dossier avec un pseudonyme et facturer avec les codes 8L (personne tierce) et MK? »</a:t>
            </a:r>
          </a:p>
        </p:txBody>
      </p:sp>
      <p:pic>
        <p:nvPicPr>
          <p:cNvPr id="10" name="Image 9">
            <a:extLst>
              <a:ext uri="{FF2B5EF4-FFF2-40B4-BE49-F238E27FC236}">
                <a16:creationId xmlns:a16="http://schemas.microsoft.com/office/drawing/2014/main" id="{8BD6030D-CBF4-89F2-BB60-0332849EE286}"/>
              </a:ext>
            </a:extLst>
          </p:cNvPr>
          <p:cNvPicPr>
            <a:picLocks noChangeAspect="1"/>
          </p:cNvPicPr>
          <p:nvPr>
            <p:custDataLst>
              <p:tags r:id="rId7"/>
            </p:custDataLst>
          </p:nvPr>
        </p:nvPicPr>
        <p:blipFill>
          <a:blip r:embed="rId12"/>
          <a:stretch>
            <a:fillRect/>
          </a:stretch>
        </p:blipFill>
        <p:spPr>
          <a:xfrm>
            <a:off x="5416565" y="4776529"/>
            <a:ext cx="5534797" cy="1848108"/>
          </a:xfrm>
          <a:prstGeom prst="rect">
            <a:avLst/>
          </a:prstGeom>
        </p:spPr>
      </p:pic>
      <p:sp>
        <p:nvSpPr>
          <p:cNvPr id="12" name="ZoneTexte 11">
            <a:extLst>
              <a:ext uri="{FF2B5EF4-FFF2-40B4-BE49-F238E27FC236}">
                <a16:creationId xmlns:a16="http://schemas.microsoft.com/office/drawing/2014/main" id="{AD5D4C35-ECA8-FB85-5180-69BA5DBDD7F7}"/>
              </a:ext>
            </a:extLst>
          </p:cNvPr>
          <p:cNvSpPr txBox="1"/>
          <p:nvPr>
            <p:custDataLst>
              <p:tags r:id="rId8"/>
            </p:custDataLst>
          </p:nvPr>
        </p:nvSpPr>
        <p:spPr>
          <a:xfrm>
            <a:off x="938054" y="5031944"/>
            <a:ext cx="3818902" cy="923330"/>
          </a:xfrm>
          <a:prstGeom prst="rect">
            <a:avLst/>
          </a:prstGeom>
          <a:noFill/>
        </p:spPr>
        <p:txBody>
          <a:bodyPr wrap="square">
            <a:spAutoFit/>
          </a:bodyPr>
          <a:lstStyle/>
          <a:p>
            <a:r>
              <a:rPr lang="fr-CA" b="1" i="0">
                <a:solidFill>
                  <a:srgbClr val="0693E3"/>
                </a:solidFill>
                <a:effectLst/>
                <a:latin typeface="gotham"/>
              </a:rPr>
              <a:t>L’utilisation du code MK n’est pas justifiée pour un patient qui refuserait d’utiliser le code 8L à son dossier.</a:t>
            </a:r>
            <a:endParaRPr lang="fr-CA"/>
          </a:p>
        </p:txBody>
      </p:sp>
    </p:spTree>
    <p:extLst>
      <p:ext uri="{BB962C8B-B14F-4D97-AF65-F5344CB8AC3E}">
        <p14:creationId xmlns:p14="http://schemas.microsoft.com/office/powerpoint/2010/main" val="16794898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8F8F0-223E-6622-0552-ACAC008DA178}"/>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AB718F20-2BEF-F1DE-7402-1D4926C413F3}"/>
              </a:ext>
            </a:extLst>
          </p:cNvPr>
          <p:cNvSpPr>
            <a:spLocks noGrp="1"/>
          </p:cNvSpPr>
          <p:nvPr>
            <p:ph type="title"/>
            <p:custDataLst>
              <p:tags r:id="rId1"/>
            </p:custDataLst>
          </p:nvPr>
        </p:nvSpPr>
        <p:spPr>
          <a:xfrm>
            <a:off x="609599" y="533401"/>
            <a:ext cx="9046579" cy="990600"/>
          </a:xfrm>
        </p:spPr>
        <p:txBody>
          <a:bodyPr/>
          <a:lstStyle/>
          <a:p>
            <a:r>
              <a:rPr lang="fr-CA"/>
              <a:t>Administration pour en démontrer l’usage</a:t>
            </a:r>
          </a:p>
        </p:txBody>
      </p:sp>
      <p:sp>
        <p:nvSpPr>
          <p:cNvPr id="3" name="Espace réservé du pied de page 2">
            <a:extLst>
              <a:ext uri="{FF2B5EF4-FFF2-40B4-BE49-F238E27FC236}">
                <a16:creationId xmlns:a16="http://schemas.microsoft.com/office/drawing/2014/main" id="{CA5A1564-8BBE-A2B7-E073-5859F3899EDF}"/>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5A139085-79F7-7154-4F1F-D5711E219EAF}"/>
              </a:ext>
            </a:extLst>
          </p:cNvPr>
          <p:cNvSpPr>
            <a:spLocks noGrp="1"/>
          </p:cNvSpPr>
          <p:nvPr>
            <p:ph type="sldNum" sz="quarter" idx="11"/>
            <p:custDataLst>
              <p:tags r:id="rId3"/>
            </p:custDataLst>
          </p:nvPr>
        </p:nvSpPr>
        <p:spPr/>
        <p:txBody>
          <a:bodyPr/>
          <a:lstStyle/>
          <a:p>
            <a:fld id="{91882AA3-08DC-0043-8CA8-8CA69DA2397E}" type="slidenum">
              <a:rPr lang="en-US" smtClean="0"/>
              <a:pPr/>
              <a:t>42</a:t>
            </a:fld>
            <a:endParaRPr lang="en-US"/>
          </a:p>
        </p:txBody>
      </p:sp>
      <p:sp>
        <p:nvSpPr>
          <p:cNvPr id="5" name="Espace réservé du texte 4">
            <a:extLst>
              <a:ext uri="{FF2B5EF4-FFF2-40B4-BE49-F238E27FC236}">
                <a16:creationId xmlns:a16="http://schemas.microsoft.com/office/drawing/2014/main" id="{8FB1F00D-40F4-4B8C-38F5-B689EFF52AFB}"/>
              </a:ext>
            </a:extLst>
          </p:cNvPr>
          <p:cNvSpPr>
            <a:spLocks noGrp="1"/>
          </p:cNvSpPr>
          <p:nvPr>
            <p:ph type="body" sz="quarter" idx="12"/>
            <p:custDataLst>
              <p:tags r:id="rId4"/>
            </p:custDataLst>
          </p:nvPr>
        </p:nvSpPr>
        <p:spPr>
          <a:xfrm>
            <a:off x="609600" y="1330306"/>
            <a:ext cx="10439400" cy="1200318"/>
          </a:xfrm>
        </p:spPr>
        <p:txBody>
          <a:bodyPr lIns="0" tIns="0" rIns="0" bIns="0" anchor="t"/>
          <a:lstStyle/>
          <a:p>
            <a:r>
              <a:rPr lang="fr-CA" b="1" dirty="0">
                <a:solidFill>
                  <a:schemeClr val="accent1"/>
                </a:solidFill>
              </a:rPr>
              <a:t>Cas concret </a:t>
            </a:r>
          </a:p>
          <a:p>
            <a:r>
              <a:rPr lang="fr-CA" dirty="0"/>
              <a:t>M. PP se fait prescrire le </a:t>
            </a:r>
            <a:r>
              <a:rPr lang="fr-CA" dirty="0" err="1"/>
              <a:t>Cimzia</a:t>
            </a:r>
            <a:r>
              <a:rPr lang="fr-CA" dirty="0"/>
              <a:t>® pour la première fois. Il est dans tous ses états, car il a peur des aiguilles. Vous le rassurez : vous pouvez lui administrer la première dose pour lui enseigner la technique d’injection. Vous lui donnez rendez-vous et vous lui proposez le stylo injecteur pour faciliter l’administration.</a:t>
            </a:r>
          </a:p>
        </p:txBody>
      </p:sp>
      <p:pic>
        <p:nvPicPr>
          <p:cNvPr id="9" name="Image 8">
            <a:extLst>
              <a:ext uri="{FF2B5EF4-FFF2-40B4-BE49-F238E27FC236}">
                <a16:creationId xmlns:a16="http://schemas.microsoft.com/office/drawing/2014/main" id="{9488B410-D530-E792-D7FF-5BC2C69BA644}"/>
              </a:ext>
            </a:extLst>
          </p:cNvPr>
          <p:cNvPicPr>
            <a:picLocks noChangeAspect="1"/>
          </p:cNvPicPr>
          <p:nvPr>
            <p:custDataLst>
              <p:tags r:id="rId5"/>
            </p:custDataLst>
          </p:nvPr>
        </p:nvPicPr>
        <p:blipFill>
          <a:blip r:embed="rId11"/>
          <a:stretch>
            <a:fillRect/>
          </a:stretch>
        </p:blipFill>
        <p:spPr>
          <a:xfrm>
            <a:off x="4250307" y="3023155"/>
            <a:ext cx="6944694" cy="1733792"/>
          </a:xfrm>
          <a:prstGeom prst="rect">
            <a:avLst/>
          </a:prstGeom>
        </p:spPr>
      </p:pic>
      <p:sp>
        <p:nvSpPr>
          <p:cNvPr id="11" name="Espace réservé du texte 4">
            <a:extLst>
              <a:ext uri="{FF2B5EF4-FFF2-40B4-BE49-F238E27FC236}">
                <a16:creationId xmlns:a16="http://schemas.microsoft.com/office/drawing/2014/main" id="{7550768B-6B17-BB7C-0EC5-2234C83DED0A}"/>
              </a:ext>
            </a:extLst>
          </p:cNvPr>
          <p:cNvSpPr txBox="1">
            <a:spLocks/>
          </p:cNvSpPr>
          <p:nvPr>
            <p:custDataLst>
              <p:tags r:id="rId6"/>
            </p:custDataLst>
          </p:nvPr>
        </p:nvSpPr>
        <p:spPr>
          <a:xfrm>
            <a:off x="641154" y="3229677"/>
            <a:ext cx="3362275" cy="665212"/>
          </a:xfrm>
          <a:prstGeom prst="rect">
            <a:avLst/>
          </a:prstGeom>
        </p:spPr>
        <p:txBody>
          <a:bodyPr lIns="0" tIns="0" rIns="0" bIns="0" anchor="t"/>
          <a:lstStyle>
            <a:lvl1pPr marL="0" eaLnBrk="1" hangingPunct="1">
              <a:spcAft>
                <a:spcPts val="1200"/>
              </a:spcAft>
              <a:defRPr>
                <a:solidFill>
                  <a:schemeClr val="tx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tx1"/>
              </a:buClr>
              <a:buFont typeface="System Font Regular"/>
              <a:buChar char="−"/>
              <a:defRPr>
                <a:solidFill>
                  <a:schemeClr val="tx1"/>
                </a:solidFill>
                <a:latin typeface="+mn-lt"/>
                <a:ea typeface="+mn-ea"/>
                <a:cs typeface="+mn-cs"/>
              </a:defRPr>
            </a:lvl3pPr>
            <a:lvl4pPr marL="13716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fr-CA" b="1">
                <a:solidFill>
                  <a:schemeClr val="accent1"/>
                </a:solidFill>
              </a:rPr>
              <a:t>Règle 36 de l’Entente: </a:t>
            </a:r>
            <a:r>
              <a:rPr lang="fr-CA"/>
              <a:t>Administration d’un médicament</a:t>
            </a:r>
          </a:p>
        </p:txBody>
      </p:sp>
      <p:pic>
        <p:nvPicPr>
          <p:cNvPr id="16" name="Image 15">
            <a:extLst>
              <a:ext uri="{FF2B5EF4-FFF2-40B4-BE49-F238E27FC236}">
                <a16:creationId xmlns:a16="http://schemas.microsoft.com/office/drawing/2014/main" id="{6791EF95-A0AF-8BA6-E878-4C94932C69C3}"/>
              </a:ext>
            </a:extLst>
          </p:cNvPr>
          <p:cNvPicPr>
            <a:picLocks noChangeAspect="1"/>
          </p:cNvPicPr>
          <p:nvPr>
            <p:custDataLst>
              <p:tags r:id="rId7"/>
            </p:custDataLst>
          </p:nvPr>
        </p:nvPicPr>
        <p:blipFill>
          <a:blip r:embed="rId12"/>
          <a:stretch>
            <a:fillRect/>
          </a:stretch>
        </p:blipFill>
        <p:spPr>
          <a:xfrm>
            <a:off x="2499810" y="4739421"/>
            <a:ext cx="7192379" cy="533474"/>
          </a:xfrm>
          <a:prstGeom prst="rect">
            <a:avLst/>
          </a:prstGeom>
        </p:spPr>
      </p:pic>
      <p:sp>
        <p:nvSpPr>
          <p:cNvPr id="17" name="Espace réservé du texte 4">
            <a:extLst>
              <a:ext uri="{FF2B5EF4-FFF2-40B4-BE49-F238E27FC236}">
                <a16:creationId xmlns:a16="http://schemas.microsoft.com/office/drawing/2014/main" id="{1F9A8907-A40F-78F5-0106-B0D5B989AEC6}"/>
              </a:ext>
            </a:extLst>
          </p:cNvPr>
          <p:cNvSpPr txBox="1">
            <a:spLocks/>
          </p:cNvSpPr>
          <p:nvPr>
            <p:custDataLst>
              <p:tags r:id="rId8"/>
            </p:custDataLst>
          </p:nvPr>
        </p:nvSpPr>
        <p:spPr>
          <a:xfrm>
            <a:off x="641154" y="5394043"/>
            <a:ext cx="10439400" cy="401006"/>
          </a:xfrm>
          <a:prstGeom prst="rect">
            <a:avLst/>
          </a:prstGeom>
        </p:spPr>
        <p:txBody>
          <a:bodyPr lIns="0" tIns="0" rIns="0" bIns="0" anchor="t"/>
          <a:lstStyle>
            <a:lvl1pPr marL="0" eaLnBrk="1" hangingPunct="1">
              <a:spcAft>
                <a:spcPts val="1200"/>
              </a:spcAft>
              <a:defRPr>
                <a:solidFill>
                  <a:schemeClr val="tx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tx1"/>
              </a:buClr>
              <a:buFont typeface="System Font Regular"/>
              <a:buChar char="−"/>
              <a:defRPr>
                <a:solidFill>
                  <a:schemeClr val="tx1"/>
                </a:solidFill>
                <a:latin typeface="+mn-lt"/>
                <a:ea typeface="+mn-ea"/>
                <a:cs typeface="+mn-cs"/>
              </a:defRPr>
            </a:lvl3pPr>
            <a:lvl4pPr marL="13716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fr-CA"/>
              <a:t>M. DB se présente à son rendez-vous et vous procédez à l’enseignement et l’injection mais…</a:t>
            </a:r>
          </a:p>
        </p:txBody>
      </p:sp>
    </p:spTree>
    <p:extLst>
      <p:ext uri="{BB962C8B-B14F-4D97-AF65-F5344CB8AC3E}">
        <p14:creationId xmlns:p14="http://schemas.microsoft.com/office/powerpoint/2010/main" val="11841268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C86D1-E474-8C35-5C20-B1B73B819638}"/>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ADC0F284-6592-A6F4-AA4E-636F1068FC47}"/>
              </a:ext>
            </a:extLst>
          </p:cNvPr>
          <p:cNvSpPr>
            <a:spLocks noGrp="1"/>
          </p:cNvSpPr>
          <p:nvPr>
            <p:ph type="title"/>
            <p:custDataLst>
              <p:tags r:id="rId1"/>
            </p:custDataLst>
          </p:nvPr>
        </p:nvSpPr>
        <p:spPr>
          <a:xfrm>
            <a:off x="609599" y="533401"/>
            <a:ext cx="9046579" cy="990600"/>
          </a:xfrm>
        </p:spPr>
        <p:txBody>
          <a:bodyPr/>
          <a:lstStyle/>
          <a:p>
            <a:r>
              <a:rPr lang="fr-CA"/>
              <a:t>Administration pour en démontrer l’usage</a:t>
            </a:r>
          </a:p>
        </p:txBody>
      </p:sp>
      <p:sp>
        <p:nvSpPr>
          <p:cNvPr id="3" name="Espace réservé du pied de page 2">
            <a:extLst>
              <a:ext uri="{FF2B5EF4-FFF2-40B4-BE49-F238E27FC236}">
                <a16:creationId xmlns:a16="http://schemas.microsoft.com/office/drawing/2014/main" id="{A463780B-9178-49D8-C2A5-62178A254A90}"/>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1F736592-23A2-6C7F-B738-E2D25DBDE0D2}"/>
              </a:ext>
            </a:extLst>
          </p:cNvPr>
          <p:cNvSpPr>
            <a:spLocks noGrp="1"/>
          </p:cNvSpPr>
          <p:nvPr>
            <p:ph type="sldNum" sz="quarter" idx="11"/>
            <p:custDataLst>
              <p:tags r:id="rId3"/>
            </p:custDataLst>
          </p:nvPr>
        </p:nvSpPr>
        <p:spPr/>
        <p:txBody>
          <a:bodyPr/>
          <a:lstStyle/>
          <a:p>
            <a:fld id="{91882AA3-08DC-0043-8CA8-8CA69DA2397E}" type="slidenum">
              <a:rPr lang="en-US" smtClean="0"/>
              <a:pPr/>
              <a:t>43</a:t>
            </a:fld>
            <a:endParaRPr lang="en-US"/>
          </a:p>
        </p:txBody>
      </p:sp>
      <p:sp>
        <p:nvSpPr>
          <p:cNvPr id="5" name="Espace réservé du texte 4">
            <a:extLst>
              <a:ext uri="{FF2B5EF4-FFF2-40B4-BE49-F238E27FC236}">
                <a16:creationId xmlns:a16="http://schemas.microsoft.com/office/drawing/2014/main" id="{5448DB84-2C79-5412-036D-4DBBC06D1B56}"/>
              </a:ext>
            </a:extLst>
          </p:cNvPr>
          <p:cNvSpPr>
            <a:spLocks noGrp="1"/>
          </p:cNvSpPr>
          <p:nvPr>
            <p:ph type="body" sz="quarter" idx="12"/>
            <p:custDataLst>
              <p:tags r:id="rId4"/>
            </p:custDataLst>
          </p:nvPr>
        </p:nvSpPr>
        <p:spPr>
          <a:xfrm>
            <a:off x="609600" y="1540023"/>
            <a:ext cx="8942784" cy="1741795"/>
          </a:xfrm>
        </p:spPr>
        <p:txBody>
          <a:bodyPr lIns="0" tIns="0" rIns="0" bIns="0" anchor="t"/>
          <a:lstStyle/>
          <a:p>
            <a:r>
              <a:rPr lang="fr-CA" b="1" dirty="0">
                <a:solidFill>
                  <a:schemeClr val="accent1"/>
                </a:solidFill>
              </a:rPr>
              <a:t>Suite du cas</a:t>
            </a:r>
          </a:p>
          <a:p>
            <a:r>
              <a:rPr lang="fr-CA" dirty="0"/>
              <a:t>…M. PP est saisi par l’impulsion du stylo injecteur et refuse de continuer son traitement ainsi. </a:t>
            </a:r>
          </a:p>
          <a:p>
            <a:r>
              <a:rPr lang="fr-CA" dirty="0"/>
              <a:t>Vous lui proposez alors de reprendre un rendez-vous dans 2 semaines pour lui enseigner l’injection avec une seringue </a:t>
            </a:r>
            <a:r>
              <a:rPr lang="fr-CA" dirty="0" err="1"/>
              <a:t>pré-remplie</a:t>
            </a:r>
            <a:r>
              <a:rPr lang="fr-CA" dirty="0"/>
              <a:t>. Il accepte. </a:t>
            </a:r>
          </a:p>
        </p:txBody>
      </p:sp>
      <p:pic>
        <p:nvPicPr>
          <p:cNvPr id="14" name="Image 13">
            <a:extLst>
              <a:ext uri="{FF2B5EF4-FFF2-40B4-BE49-F238E27FC236}">
                <a16:creationId xmlns:a16="http://schemas.microsoft.com/office/drawing/2014/main" id="{493D8844-F897-705F-8348-808C1DA544AF}"/>
              </a:ext>
            </a:extLst>
          </p:cNvPr>
          <p:cNvPicPr>
            <a:picLocks noChangeAspect="1"/>
          </p:cNvPicPr>
          <p:nvPr>
            <p:custDataLst>
              <p:tags r:id="rId5"/>
            </p:custDataLst>
          </p:nvPr>
        </p:nvPicPr>
        <p:blipFill>
          <a:blip r:embed="rId10"/>
          <a:stretch>
            <a:fillRect/>
          </a:stretch>
        </p:blipFill>
        <p:spPr>
          <a:xfrm>
            <a:off x="4357445" y="3429000"/>
            <a:ext cx="6916115" cy="1019317"/>
          </a:xfrm>
          <a:prstGeom prst="rect">
            <a:avLst/>
          </a:prstGeom>
        </p:spPr>
      </p:pic>
      <p:pic>
        <p:nvPicPr>
          <p:cNvPr id="19" name="Graphique 18" descr="Contour de visage avec le tournis contour">
            <a:extLst>
              <a:ext uri="{FF2B5EF4-FFF2-40B4-BE49-F238E27FC236}">
                <a16:creationId xmlns:a16="http://schemas.microsoft.com/office/drawing/2014/main" id="{83251DCE-195F-58D9-0F30-20A3F2108658}"/>
              </a:ext>
            </a:extLst>
          </p:cNvPr>
          <p:cNvPicPr>
            <a:picLocks noChangeAspect="1"/>
          </p:cNvPicPr>
          <p:nvPr>
            <p:custDataLst>
              <p:tags r:id="rId6"/>
            </p:custDataLst>
          </p:nvPr>
        </p:nvPicPr>
        <p:blipFill>
          <a:blip r:embed="rId11">
            <a:extLst>
              <a:ext uri="{96DAC541-7B7A-43D3-8B79-37D633B846F1}">
                <asvg:svgBlip xmlns:asvg="http://schemas.microsoft.com/office/drawing/2016/SVG/main" r:embed="rId12"/>
              </a:ext>
            </a:extLst>
          </a:blip>
          <a:stretch>
            <a:fillRect/>
          </a:stretch>
        </p:blipFill>
        <p:spPr>
          <a:xfrm>
            <a:off x="9753600" y="1578123"/>
            <a:ext cx="914400" cy="914400"/>
          </a:xfrm>
          <a:prstGeom prst="rect">
            <a:avLst/>
          </a:prstGeom>
        </p:spPr>
      </p:pic>
      <p:sp>
        <p:nvSpPr>
          <p:cNvPr id="7" name="Espace réservé du texte 4">
            <a:extLst>
              <a:ext uri="{FF2B5EF4-FFF2-40B4-BE49-F238E27FC236}">
                <a16:creationId xmlns:a16="http://schemas.microsoft.com/office/drawing/2014/main" id="{6E91B02C-FC6C-25EF-5094-AD1BB57D1BD9}"/>
              </a:ext>
            </a:extLst>
          </p:cNvPr>
          <p:cNvSpPr txBox="1">
            <a:spLocks/>
          </p:cNvSpPr>
          <p:nvPr>
            <p:custDataLst>
              <p:tags r:id="rId7"/>
            </p:custDataLst>
          </p:nvPr>
        </p:nvSpPr>
        <p:spPr>
          <a:xfrm>
            <a:off x="609599" y="3429000"/>
            <a:ext cx="3362275" cy="665212"/>
          </a:xfrm>
          <a:prstGeom prst="rect">
            <a:avLst/>
          </a:prstGeom>
        </p:spPr>
        <p:txBody>
          <a:bodyPr lIns="0" tIns="0" rIns="0" bIns="0" anchor="t"/>
          <a:lstStyle>
            <a:lvl1pPr marL="0" eaLnBrk="1" hangingPunct="1">
              <a:spcAft>
                <a:spcPts val="1200"/>
              </a:spcAft>
              <a:defRPr>
                <a:solidFill>
                  <a:schemeClr val="tx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tx1"/>
              </a:buClr>
              <a:buFont typeface="System Font Regular"/>
              <a:buChar char="−"/>
              <a:defRPr>
                <a:solidFill>
                  <a:schemeClr val="tx1"/>
                </a:solidFill>
                <a:latin typeface="+mn-lt"/>
                <a:ea typeface="+mn-ea"/>
                <a:cs typeface="+mn-cs"/>
              </a:defRPr>
            </a:lvl3pPr>
            <a:lvl4pPr marL="13716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fr-CA" b="1">
                <a:solidFill>
                  <a:schemeClr val="accent1"/>
                </a:solidFill>
              </a:rPr>
              <a:t>Règle 36 de l’Entente: </a:t>
            </a:r>
            <a:r>
              <a:rPr lang="fr-CA"/>
              <a:t>Administration d’un médicament</a:t>
            </a:r>
          </a:p>
        </p:txBody>
      </p:sp>
    </p:spTree>
    <p:extLst>
      <p:ext uri="{BB962C8B-B14F-4D97-AF65-F5344CB8AC3E}">
        <p14:creationId xmlns:p14="http://schemas.microsoft.com/office/powerpoint/2010/main" val="26473937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9B95CEF-4E49-F573-647D-F01442B27601}"/>
              </a:ext>
            </a:extLst>
          </p:cNvPr>
          <p:cNvSpPr>
            <a:spLocks noGrp="1"/>
          </p:cNvSpPr>
          <p:nvPr>
            <p:ph type="title"/>
            <p:custDataLst>
              <p:tags r:id="rId1"/>
            </p:custDataLst>
          </p:nvPr>
        </p:nvSpPr>
        <p:spPr/>
        <p:txBody>
          <a:bodyPr/>
          <a:lstStyle/>
          <a:p>
            <a:r>
              <a:rPr lang="fr-CA"/>
              <a:t>Administration pour des fins thérapeutique</a:t>
            </a:r>
          </a:p>
        </p:txBody>
      </p:sp>
      <p:sp>
        <p:nvSpPr>
          <p:cNvPr id="3" name="Espace réservé du pied de page 2">
            <a:extLst>
              <a:ext uri="{FF2B5EF4-FFF2-40B4-BE49-F238E27FC236}">
                <a16:creationId xmlns:a16="http://schemas.microsoft.com/office/drawing/2014/main" id="{28F8532C-CB37-E3AB-867A-329731CD9180}"/>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8F3D44B8-77F9-E157-D2A6-05C44C22798A}"/>
              </a:ext>
            </a:extLst>
          </p:cNvPr>
          <p:cNvSpPr>
            <a:spLocks noGrp="1"/>
          </p:cNvSpPr>
          <p:nvPr>
            <p:ph type="sldNum" sz="quarter" idx="11"/>
            <p:custDataLst>
              <p:tags r:id="rId3"/>
            </p:custDataLst>
          </p:nvPr>
        </p:nvSpPr>
        <p:spPr/>
        <p:txBody>
          <a:bodyPr/>
          <a:lstStyle/>
          <a:p>
            <a:fld id="{91882AA3-08DC-0043-8CA8-8CA69DA2397E}" type="slidenum">
              <a:rPr lang="en-US" smtClean="0"/>
              <a:pPr/>
              <a:t>44</a:t>
            </a:fld>
            <a:endParaRPr lang="en-US"/>
          </a:p>
        </p:txBody>
      </p:sp>
      <p:pic>
        <p:nvPicPr>
          <p:cNvPr id="7" name="Image 6">
            <a:extLst>
              <a:ext uri="{FF2B5EF4-FFF2-40B4-BE49-F238E27FC236}">
                <a16:creationId xmlns:a16="http://schemas.microsoft.com/office/drawing/2014/main" id="{D4C5C09A-CB2B-0B71-E37F-23B18CA0F944}"/>
              </a:ext>
            </a:extLst>
          </p:cNvPr>
          <p:cNvPicPr>
            <a:picLocks noChangeAspect="1"/>
          </p:cNvPicPr>
          <p:nvPr>
            <p:custDataLst>
              <p:tags r:id="rId4"/>
            </p:custDataLst>
          </p:nvPr>
        </p:nvPicPr>
        <p:blipFill>
          <a:blip r:embed="rId9"/>
          <a:stretch>
            <a:fillRect/>
          </a:stretch>
        </p:blipFill>
        <p:spPr>
          <a:xfrm>
            <a:off x="4362209" y="2039738"/>
            <a:ext cx="6906589" cy="704948"/>
          </a:xfrm>
          <a:prstGeom prst="rect">
            <a:avLst/>
          </a:prstGeom>
        </p:spPr>
      </p:pic>
      <p:pic>
        <p:nvPicPr>
          <p:cNvPr id="9" name="Image 8">
            <a:extLst>
              <a:ext uri="{FF2B5EF4-FFF2-40B4-BE49-F238E27FC236}">
                <a16:creationId xmlns:a16="http://schemas.microsoft.com/office/drawing/2014/main" id="{294B7CB2-B4F6-A87E-E728-3623DA892467}"/>
              </a:ext>
            </a:extLst>
          </p:cNvPr>
          <p:cNvPicPr>
            <a:picLocks noChangeAspect="1"/>
          </p:cNvPicPr>
          <p:nvPr>
            <p:custDataLst>
              <p:tags r:id="rId5"/>
            </p:custDataLst>
          </p:nvPr>
        </p:nvPicPr>
        <p:blipFill>
          <a:blip r:embed="rId10"/>
          <a:stretch>
            <a:fillRect/>
          </a:stretch>
        </p:blipFill>
        <p:spPr>
          <a:xfrm>
            <a:off x="6096000" y="2899318"/>
            <a:ext cx="3439005" cy="2629267"/>
          </a:xfrm>
          <a:prstGeom prst="rect">
            <a:avLst/>
          </a:prstGeom>
        </p:spPr>
      </p:pic>
      <p:sp>
        <p:nvSpPr>
          <p:cNvPr id="10" name="Ellipse 9">
            <a:extLst>
              <a:ext uri="{FF2B5EF4-FFF2-40B4-BE49-F238E27FC236}">
                <a16:creationId xmlns:a16="http://schemas.microsoft.com/office/drawing/2014/main" id="{01111C3D-B601-1671-7780-1441F8DB2490}"/>
              </a:ext>
            </a:extLst>
          </p:cNvPr>
          <p:cNvSpPr/>
          <p:nvPr>
            <p:custDataLst>
              <p:tags r:id="rId6"/>
            </p:custDataLst>
          </p:nvPr>
        </p:nvSpPr>
        <p:spPr>
          <a:xfrm>
            <a:off x="9005242" y="1984920"/>
            <a:ext cx="2606487" cy="914398"/>
          </a:xfrm>
          <a:prstGeom prst="ellipse">
            <a:avLst/>
          </a:prstGeom>
          <a:noFill/>
          <a:ln w="5715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Espace réservé du texte 4">
            <a:extLst>
              <a:ext uri="{FF2B5EF4-FFF2-40B4-BE49-F238E27FC236}">
                <a16:creationId xmlns:a16="http://schemas.microsoft.com/office/drawing/2014/main" id="{81F43CF6-8F65-B55A-ABE8-0DB345641A5C}"/>
              </a:ext>
            </a:extLst>
          </p:cNvPr>
          <p:cNvSpPr txBox="1">
            <a:spLocks/>
          </p:cNvSpPr>
          <p:nvPr>
            <p:custDataLst>
              <p:tags r:id="rId7"/>
            </p:custDataLst>
          </p:nvPr>
        </p:nvSpPr>
        <p:spPr>
          <a:xfrm>
            <a:off x="765865" y="2236251"/>
            <a:ext cx="3253411" cy="1016869"/>
          </a:xfrm>
          <a:prstGeom prst="rect">
            <a:avLst/>
          </a:prstGeom>
        </p:spPr>
        <p:txBody>
          <a:bodyPr lIns="0" tIns="0" rIns="0" bIns="0" anchor="t"/>
          <a:lstStyle>
            <a:lvl1pPr marL="0" eaLnBrk="1" hangingPunct="1">
              <a:spcAft>
                <a:spcPts val="1200"/>
              </a:spcAft>
              <a:defRPr>
                <a:solidFill>
                  <a:schemeClr val="tx1"/>
                </a:solidFill>
                <a:latin typeface="+mn-lt"/>
                <a:ea typeface="+mn-ea"/>
                <a:cs typeface="+mn-cs"/>
              </a:defRPr>
            </a:lvl1pPr>
            <a:lvl2pPr marL="457200" indent="-228600" eaLnBrk="1" hangingPunct="1">
              <a:spcAft>
                <a:spcPts val="1200"/>
              </a:spcAft>
              <a:buClr>
                <a:schemeClr val="tx2"/>
              </a:buClr>
              <a:buFont typeface="Arial" panose="020B0604020202020204" pitchFamily="34" charset="0"/>
              <a:buChar char="•"/>
              <a:defRPr>
                <a:solidFill>
                  <a:schemeClr val="tx1"/>
                </a:solidFill>
                <a:latin typeface="+mn-lt"/>
                <a:ea typeface="+mn-ea"/>
                <a:cs typeface="+mn-cs"/>
              </a:defRPr>
            </a:lvl2pPr>
            <a:lvl3pPr marL="914400" indent="-228600" eaLnBrk="1" hangingPunct="1">
              <a:spcAft>
                <a:spcPts val="1200"/>
              </a:spcAft>
              <a:buClr>
                <a:schemeClr val="tx1"/>
              </a:buClr>
              <a:buFont typeface="System Font Regular"/>
              <a:buChar char="−"/>
              <a:defRPr>
                <a:solidFill>
                  <a:schemeClr val="tx1"/>
                </a:solidFill>
                <a:latin typeface="+mn-lt"/>
                <a:ea typeface="+mn-ea"/>
                <a:cs typeface="+mn-cs"/>
              </a:defRPr>
            </a:lvl3pPr>
            <a:lvl4pPr marL="13716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4pPr>
            <a:lvl5pPr marL="1828800" indent="-228600" eaLnBrk="1" hangingPunct="1">
              <a:spcAft>
                <a:spcPts val="1200"/>
              </a:spcAft>
              <a:buClr>
                <a:schemeClr val="tx1"/>
              </a:buClr>
              <a:buFont typeface="Arial" panose="020B0604020202020204" pitchFamily="34" charset="0"/>
              <a:buChar char="•"/>
              <a:defRPr>
                <a:solidFill>
                  <a:schemeClr val="tx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fr-CA" dirty="0"/>
              <a:t>M. PP se présente à son rendez-vous et l’injection se déroule bien. Il vous indique qu’il souhaiterait continuer à recevoir son injection à la pharmacie pour quelques semaines, le temps d’être à l’aise avec le processus.</a:t>
            </a:r>
          </a:p>
          <a:p>
            <a:r>
              <a:rPr lang="fr-CA" dirty="0"/>
              <a:t>Pouvez-vous administrer un médicament pour des fins thérapeutiques? </a:t>
            </a:r>
            <a:r>
              <a:rPr lang="fr-CA" dirty="0">
                <a:solidFill>
                  <a:schemeClr val="accent1"/>
                </a:solidFill>
              </a:rPr>
              <a:t>À suivre!</a:t>
            </a:r>
          </a:p>
        </p:txBody>
      </p:sp>
    </p:spTree>
    <p:extLst>
      <p:ext uri="{BB962C8B-B14F-4D97-AF65-F5344CB8AC3E}">
        <p14:creationId xmlns:p14="http://schemas.microsoft.com/office/powerpoint/2010/main" val="42318665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427411-C304-9C22-38E6-27DEEC47CC4C}"/>
              </a:ext>
            </a:extLst>
          </p:cNvPr>
          <p:cNvSpPr>
            <a:spLocks noGrp="1"/>
          </p:cNvSpPr>
          <p:nvPr>
            <p:ph type="title"/>
            <p:custDataLst>
              <p:tags r:id="rId1"/>
            </p:custDataLst>
          </p:nvPr>
        </p:nvSpPr>
        <p:spPr>
          <a:xfrm>
            <a:off x="609599" y="379020"/>
            <a:ext cx="9472551" cy="1325563"/>
          </a:xfrm>
        </p:spPr>
        <p:txBody>
          <a:bodyPr/>
          <a:lstStyle/>
          <a:p>
            <a:r>
              <a:rPr lang="fr-CA"/>
              <a:t>Particularités : la facturation concomitante d’activités cliniques</a:t>
            </a:r>
          </a:p>
        </p:txBody>
      </p:sp>
      <p:sp>
        <p:nvSpPr>
          <p:cNvPr id="3" name="Espace réservé du pied de page 2">
            <a:extLst>
              <a:ext uri="{FF2B5EF4-FFF2-40B4-BE49-F238E27FC236}">
                <a16:creationId xmlns:a16="http://schemas.microsoft.com/office/drawing/2014/main" id="{9E6D4B65-A9CF-6464-EA05-1A363B8D0789}"/>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4589B74A-3979-CE54-8C22-7A5335A702D4}"/>
              </a:ext>
            </a:extLst>
          </p:cNvPr>
          <p:cNvSpPr>
            <a:spLocks noGrp="1"/>
          </p:cNvSpPr>
          <p:nvPr>
            <p:ph type="sldNum" sz="quarter" idx="11"/>
            <p:custDataLst>
              <p:tags r:id="rId3"/>
            </p:custDataLst>
          </p:nvPr>
        </p:nvSpPr>
        <p:spPr/>
        <p:txBody>
          <a:bodyPr/>
          <a:lstStyle/>
          <a:p>
            <a:fld id="{91882AA3-08DC-0043-8CA8-8CA69DA2397E}" type="slidenum">
              <a:rPr lang="en-US" smtClean="0"/>
              <a:pPr/>
              <a:t>45</a:t>
            </a:fld>
            <a:endParaRPr lang="en-US"/>
          </a:p>
        </p:txBody>
      </p:sp>
      <p:graphicFrame>
        <p:nvGraphicFramePr>
          <p:cNvPr id="7" name="Tableau 6">
            <a:extLst>
              <a:ext uri="{FF2B5EF4-FFF2-40B4-BE49-F238E27FC236}">
                <a16:creationId xmlns:a16="http://schemas.microsoft.com/office/drawing/2014/main" id="{850AC397-7E75-5D2D-B3B3-6FC368659D0A}"/>
              </a:ext>
            </a:extLst>
          </p:cNvPr>
          <p:cNvGraphicFramePr>
            <a:graphicFrameLocks noGrp="1"/>
          </p:cNvGraphicFramePr>
          <p:nvPr>
            <p:custDataLst>
              <p:tags r:id="rId4"/>
            </p:custDataLst>
          </p:nvPr>
        </p:nvGraphicFramePr>
        <p:xfrm>
          <a:off x="357579" y="1615282"/>
          <a:ext cx="11588997" cy="5039360"/>
        </p:xfrm>
        <a:graphic>
          <a:graphicData uri="http://schemas.openxmlformats.org/drawingml/2006/table">
            <a:tbl>
              <a:tblPr firstRow="1" bandRow="1">
                <a:tableStyleId>{5C22544A-7EE6-4342-B048-85BDC9FD1C3A}</a:tableStyleId>
              </a:tblPr>
              <a:tblGrid>
                <a:gridCol w="5176322">
                  <a:extLst>
                    <a:ext uri="{9D8B030D-6E8A-4147-A177-3AD203B41FA5}">
                      <a16:colId xmlns:a16="http://schemas.microsoft.com/office/drawing/2014/main" val="1569911736"/>
                    </a:ext>
                  </a:extLst>
                </a:gridCol>
                <a:gridCol w="3170712">
                  <a:extLst>
                    <a:ext uri="{9D8B030D-6E8A-4147-A177-3AD203B41FA5}">
                      <a16:colId xmlns:a16="http://schemas.microsoft.com/office/drawing/2014/main" val="2158683695"/>
                    </a:ext>
                  </a:extLst>
                </a:gridCol>
                <a:gridCol w="3241963">
                  <a:extLst>
                    <a:ext uri="{9D8B030D-6E8A-4147-A177-3AD203B41FA5}">
                      <a16:colId xmlns:a16="http://schemas.microsoft.com/office/drawing/2014/main" val="944040706"/>
                    </a:ext>
                  </a:extLst>
                </a:gridCol>
              </a:tblGrid>
              <a:tr h="370840">
                <a:tc>
                  <a:txBody>
                    <a:bodyPr/>
                    <a:lstStyle/>
                    <a:p>
                      <a:r>
                        <a:rPr lang="fr-CA"/>
                        <a:t>Service pharmaceutique</a:t>
                      </a:r>
                    </a:p>
                  </a:txBody>
                  <a:tcPr/>
                </a:tc>
                <a:tc>
                  <a:txBody>
                    <a:bodyPr/>
                    <a:lstStyle/>
                    <a:p>
                      <a:r>
                        <a:rPr lang="fr-CA"/>
                        <a:t>Peut-on facturer la modification de la thérapie de manière concomitante?</a:t>
                      </a:r>
                    </a:p>
                  </a:txBody>
                  <a:tcPr/>
                </a:tc>
                <a:tc>
                  <a:txBody>
                    <a:bodyPr/>
                    <a:lstStyle/>
                    <a:p>
                      <a:r>
                        <a:rPr lang="fr-CA"/>
                        <a:t>Peut-on facturer une opinion pharmaceutique de manière concomitante?</a:t>
                      </a:r>
                    </a:p>
                  </a:txBody>
                  <a:tcPr/>
                </a:tc>
                <a:extLst>
                  <a:ext uri="{0D108BD9-81ED-4DB2-BD59-A6C34878D82A}">
                    <a16:rowId xmlns:a16="http://schemas.microsoft.com/office/drawing/2014/main" val="143651736"/>
                  </a:ext>
                </a:extLst>
              </a:tr>
              <a:tr h="370840">
                <a:tc>
                  <a:txBody>
                    <a:bodyPr/>
                    <a:lstStyle/>
                    <a:p>
                      <a:r>
                        <a:rPr lang="fr-CA"/>
                        <a:t>Service sur appel</a:t>
                      </a:r>
                    </a:p>
                  </a:txBody>
                  <a:tcPr/>
                </a:tc>
                <a:tc>
                  <a:txBody>
                    <a:bodyPr/>
                    <a:lstStyle/>
                    <a:p>
                      <a:pPr algn="ctr"/>
                      <a:r>
                        <a:rPr lang="fr-CA">
                          <a:solidFill>
                            <a:schemeClr val="accent3">
                              <a:lumMod val="75000"/>
                            </a:schemeClr>
                          </a:solidFill>
                        </a:rPr>
                        <a:t>Oui</a:t>
                      </a:r>
                    </a:p>
                  </a:txBody>
                  <a:tcPr anchor="ctr"/>
                </a:tc>
                <a:tc>
                  <a:txBody>
                    <a:bodyPr/>
                    <a:lstStyle/>
                    <a:p>
                      <a:pPr marL="0" algn="ctr" eaLnBrk="1" hangingPunct="1"/>
                      <a:r>
                        <a:rPr lang="fr-CA">
                          <a:solidFill>
                            <a:schemeClr val="accent3">
                              <a:lumMod val="75000"/>
                            </a:schemeClr>
                          </a:solidFill>
                          <a:latin typeface="+mn-lt"/>
                          <a:ea typeface="+mn-ea"/>
                          <a:cs typeface="+mn-cs"/>
                        </a:rPr>
                        <a:t>Oui</a:t>
                      </a:r>
                    </a:p>
                  </a:txBody>
                  <a:tcPr anchor="ctr"/>
                </a:tc>
                <a:extLst>
                  <a:ext uri="{0D108BD9-81ED-4DB2-BD59-A6C34878D82A}">
                    <a16:rowId xmlns:a16="http://schemas.microsoft.com/office/drawing/2014/main" val="222285145"/>
                  </a:ext>
                </a:extLst>
              </a:tr>
              <a:tr h="370840">
                <a:tc>
                  <a:txBody>
                    <a:bodyPr/>
                    <a:lstStyle/>
                    <a:p>
                      <a:r>
                        <a:rPr lang="fr-CA"/>
                        <a:t>Prescription d’un médicament ou amorce d’une thérapie</a:t>
                      </a:r>
                    </a:p>
                  </a:txBody>
                  <a:tcPr/>
                </a:tc>
                <a:tc>
                  <a:txBody>
                    <a:bodyPr/>
                    <a:lstStyle/>
                    <a:p>
                      <a:pPr algn="ctr"/>
                      <a:r>
                        <a:rPr lang="fr-CA" err="1"/>
                        <a:t>s.o</a:t>
                      </a:r>
                      <a:r>
                        <a:rPr lang="fr-CA"/>
                        <a:t>.</a:t>
                      </a:r>
                    </a:p>
                  </a:txBody>
                  <a:tcPr anchor="ctr"/>
                </a:tc>
                <a:tc>
                  <a:txBody>
                    <a:bodyPr/>
                    <a:lstStyle/>
                    <a:p>
                      <a:pPr algn="ctr"/>
                      <a:r>
                        <a:rPr lang="fr-CA">
                          <a:solidFill>
                            <a:srgbClr val="FF0000"/>
                          </a:solidFill>
                        </a:rPr>
                        <a:t>Non</a:t>
                      </a:r>
                    </a:p>
                  </a:txBody>
                  <a:tcPr anchor="ctr"/>
                </a:tc>
                <a:extLst>
                  <a:ext uri="{0D108BD9-81ED-4DB2-BD59-A6C34878D82A}">
                    <a16:rowId xmlns:a16="http://schemas.microsoft.com/office/drawing/2014/main" val="847809694"/>
                  </a:ext>
                </a:extLst>
              </a:tr>
              <a:tr h="370840">
                <a:tc>
                  <a:txBody>
                    <a:bodyPr/>
                    <a:lstStyle/>
                    <a:p>
                      <a:r>
                        <a:rPr lang="fr-CA"/>
                        <a:t>Prise en charge de l’ajustement de la dose de médicaments pour l’atteinte de cibles thérapeutiques</a:t>
                      </a:r>
                    </a:p>
                  </a:txBody>
                  <a:tcPr/>
                </a:tc>
                <a:tc>
                  <a:txBody>
                    <a:bodyPr/>
                    <a:lstStyle/>
                    <a:p>
                      <a:pPr marL="0" algn="ctr" eaLnBrk="1" hangingPunct="1"/>
                      <a:r>
                        <a:rPr lang="fr-CA">
                          <a:solidFill>
                            <a:schemeClr val="accent3">
                              <a:lumMod val="75000"/>
                            </a:schemeClr>
                          </a:solidFill>
                          <a:latin typeface="+mn-lt"/>
                          <a:ea typeface="+mn-ea"/>
                          <a:cs typeface="+mn-cs"/>
                        </a:rPr>
                        <a:t>Oui</a:t>
                      </a:r>
                    </a:p>
                  </a:txBody>
                  <a:tcPr anchor="ctr"/>
                </a:tc>
                <a:tc>
                  <a:txBody>
                    <a:bodyPr/>
                    <a:lstStyle/>
                    <a:p>
                      <a:pPr marL="0" algn="ctr" eaLnBrk="1" hangingPunct="1"/>
                      <a:r>
                        <a:rPr lang="fr-CA">
                          <a:solidFill>
                            <a:schemeClr val="accent3">
                              <a:lumMod val="75000"/>
                            </a:schemeClr>
                          </a:solidFill>
                          <a:latin typeface="+mn-lt"/>
                          <a:ea typeface="+mn-ea"/>
                          <a:cs typeface="+mn-cs"/>
                        </a:rPr>
                        <a:t>Oui</a:t>
                      </a:r>
                    </a:p>
                  </a:txBody>
                  <a:tcPr anchor="ctr"/>
                </a:tc>
                <a:extLst>
                  <a:ext uri="{0D108BD9-81ED-4DB2-BD59-A6C34878D82A}">
                    <a16:rowId xmlns:a16="http://schemas.microsoft.com/office/drawing/2014/main" val="2874621420"/>
                  </a:ext>
                </a:extLst>
              </a:tr>
              <a:tr h="370840">
                <a:tc>
                  <a:txBody>
                    <a:bodyPr/>
                    <a:lstStyle/>
                    <a:p>
                      <a:r>
                        <a:rPr lang="fr-CA"/>
                        <a:t>Prise en charge en soutien à la </a:t>
                      </a:r>
                      <a:r>
                        <a:rPr lang="fr-CA" err="1"/>
                        <a:t>déprescription</a:t>
                      </a:r>
                    </a:p>
                  </a:txBody>
                  <a:tcPr/>
                </a:tc>
                <a:tc>
                  <a:txBody>
                    <a:bodyPr/>
                    <a:lstStyle/>
                    <a:p>
                      <a:pPr marL="0" algn="ctr" eaLnBrk="1" hangingPunct="1"/>
                      <a:r>
                        <a:rPr lang="fr-CA">
                          <a:solidFill>
                            <a:schemeClr val="accent3">
                              <a:lumMod val="75000"/>
                            </a:schemeClr>
                          </a:solidFill>
                          <a:latin typeface="+mn-lt"/>
                          <a:ea typeface="+mn-ea"/>
                          <a:cs typeface="+mn-cs"/>
                        </a:rPr>
                        <a:t>Oui</a:t>
                      </a:r>
                    </a:p>
                  </a:txBody>
                  <a:tcPr anchor="ctr"/>
                </a:tc>
                <a:tc>
                  <a:txBody>
                    <a:bodyPr/>
                    <a:lstStyle/>
                    <a:p>
                      <a:pPr marL="0" algn="ctr" eaLnBrk="1" hangingPunct="1"/>
                      <a:r>
                        <a:rPr lang="fr-CA">
                          <a:solidFill>
                            <a:schemeClr val="accent3">
                              <a:lumMod val="75000"/>
                            </a:schemeClr>
                          </a:solidFill>
                          <a:latin typeface="+mn-lt"/>
                          <a:ea typeface="+mn-ea"/>
                          <a:cs typeface="+mn-cs"/>
                        </a:rPr>
                        <a:t>Oui</a:t>
                      </a:r>
                    </a:p>
                  </a:txBody>
                  <a:tcPr anchor="ctr"/>
                </a:tc>
                <a:extLst>
                  <a:ext uri="{0D108BD9-81ED-4DB2-BD59-A6C34878D82A}">
                    <a16:rowId xmlns:a16="http://schemas.microsoft.com/office/drawing/2014/main" val="3967193278"/>
                  </a:ext>
                </a:extLst>
              </a:tr>
              <a:tr h="370840">
                <a:tc>
                  <a:txBody>
                    <a:bodyPr/>
                    <a:lstStyle/>
                    <a:p>
                      <a:r>
                        <a:rPr lang="fr-CA"/>
                        <a:t>Prise en charge pour l’atteinte de cibles thérapeutiques visant l’anticoagulothérapie</a:t>
                      </a:r>
                    </a:p>
                  </a:txBody>
                  <a:tcPr/>
                </a:tc>
                <a:tc>
                  <a:txBody>
                    <a:bodyPr/>
                    <a:lstStyle/>
                    <a:p>
                      <a:pPr algn="ctr"/>
                      <a:r>
                        <a:rPr lang="fr-CA">
                          <a:solidFill>
                            <a:srgbClr val="FF0000"/>
                          </a:solidFill>
                          <a:latin typeface="+mn-lt"/>
                          <a:ea typeface="+mn-ea"/>
                          <a:cs typeface="+mn-cs"/>
                        </a:rPr>
                        <a:t>Non</a:t>
                      </a:r>
                      <a:r>
                        <a:rPr lang="fr-CA"/>
                        <a:t> </a:t>
                      </a:r>
                    </a:p>
                    <a:p>
                      <a:pPr algn="ctr"/>
                      <a:r>
                        <a:rPr lang="fr-CA"/>
                        <a:t>(inclus dans le forfait mensuel)</a:t>
                      </a:r>
                    </a:p>
                  </a:txBody>
                  <a:tcPr anchor="ctr"/>
                </a:tc>
                <a:tc>
                  <a:txBody>
                    <a:bodyPr/>
                    <a:lstStyle/>
                    <a:p>
                      <a:pPr marL="0" algn="ctr" eaLnBrk="1" hangingPunct="1"/>
                      <a:r>
                        <a:rPr lang="fr-CA">
                          <a:solidFill>
                            <a:schemeClr val="accent3">
                              <a:lumMod val="75000"/>
                            </a:schemeClr>
                          </a:solidFill>
                          <a:latin typeface="+mn-lt"/>
                          <a:ea typeface="+mn-ea"/>
                          <a:cs typeface="+mn-cs"/>
                        </a:rPr>
                        <a:t>Oui</a:t>
                      </a:r>
                    </a:p>
                  </a:txBody>
                  <a:tcPr anchor="ctr"/>
                </a:tc>
                <a:extLst>
                  <a:ext uri="{0D108BD9-81ED-4DB2-BD59-A6C34878D82A}">
                    <a16:rowId xmlns:a16="http://schemas.microsoft.com/office/drawing/2014/main" val="2166088369"/>
                  </a:ext>
                </a:extLst>
              </a:tr>
              <a:tr h="370840">
                <a:tc>
                  <a:txBody>
                    <a:bodyPr/>
                    <a:lstStyle/>
                    <a:p>
                      <a:r>
                        <a:rPr lang="fr-CA"/>
                        <a:t>Prise en charge de la clientèle en soins palliatifs</a:t>
                      </a:r>
                    </a:p>
                  </a:txBody>
                  <a:tcPr/>
                </a:tc>
                <a:tc>
                  <a:txBody>
                    <a:bodyPr/>
                    <a:lstStyle/>
                    <a:p>
                      <a:pPr algn="ctr"/>
                      <a:r>
                        <a:rPr lang="fr-CA">
                          <a:solidFill>
                            <a:srgbClr val="FF0000"/>
                          </a:solidFill>
                          <a:latin typeface="+mn-lt"/>
                          <a:ea typeface="+mn-ea"/>
                          <a:cs typeface="+mn-cs"/>
                        </a:rPr>
                        <a:t>Non </a:t>
                      </a:r>
                    </a:p>
                    <a:p>
                      <a:pPr algn="ctr"/>
                      <a:r>
                        <a:rPr lang="fr-CA"/>
                        <a:t>(inclus dans le forfait hebdomadaire)</a:t>
                      </a:r>
                    </a:p>
                  </a:txBody>
                  <a:tcPr anchor="ctr"/>
                </a:tc>
                <a:tc>
                  <a:txBody>
                    <a:bodyPr/>
                    <a:lstStyle/>
                    <a:p>
                      <a:pPr algn="ctr"/>
                      <a:r>
                        <a:rPr lang="fr-CA">
                          <a:solidFill>
                            <a:srgbClr val="FF0000"/>
                          </a:solidFill>
                          <a:latin typeface="+mn-lt"/>
                          <a:ea typeface="+mn-ea"/>
                          <a:cs typeface="+mn-cs"/>
                        </a:rPr>
                        <a:t>Non</a:t>
                      </a:r>
                    </a:p>
                  </a:txBody>
                  <a:tcPr anchor="ctr"/>
                </a:tc>
                <a:extLst>
                  <a:ext uri="{0D108BD9-81ED-4DB2-BD59-A6C34878D82A}">
                    <a16:rowId xmlns:a16="http://schemas.microsoft.com/office/drawing/2014/main" val="3218421172"/>
                  </a:ext>
                </a:extLst>
              </a:tr>
            </a:tbl>
          </a:graphicData>
        </a:graphic>
      </p:graphicFrame>
    </p:spTree>
    <p:extLst>
      <p:ext uri="{BB962C8B-B14F-4D97-AF65-F5344CB8AC3E}">
        <p14:creationId xmlns:p14="http://schemas.microsoft.com/office/powerpoint/2010/main" val="26211186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14877F-6AA0-3711-A990-F826AA7AEDAB}"/>
              </a:ext>
            </a:extLst>
          </p:cNvPr>
          <p:cNvSpPr>
            <a:spLocks noGrp="1"/>
          </p:cNvSpPr>
          <p:nvPr>
            <p:ph type="title"/>
            <p:custDataLst>
              <p:tags r:id="rId1"/>
            </p:custDataLst>
          </p:nvPr>
        </p:nvSpPr>
        <p:spPr>
          <a:xfrm>
            <a:off x="609600" y="533400"/>
            <a:ext cx="9769434" cy="1325563"/>
          </a:xfrm>
        </p:spPr>
        <p:txBody>
          <a:bodyPr/>
          <a:lstStyle/>
          <a:p>
            <a:r>
              <a:rPr lang="fr-CA"/>
              <a:t>Particularités : la facturation concomitante d’activités cliniques</a:t>
            </a:r>
          </a:p>
        </p:txBody>
      </p:sp>
      <p:sp>
        <p:nvSpPr>
          <p:cNvPr id="3" name="Espace réservé du pied de page 2">
            <a:extLst>
              <a:ext uri="{FF2B5EF4-FFF2-40B4-BE49-F238E27FC236}">
                <a16:creationId xmlns:a16="http://schemas.microsoft.com/office/drawing/2014/main" id="{D0AFD498-0AB3-D81D-96CF-7F3474854EF6}"/>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436621C7-CB20-0634-194D-FB0C366766C5}"/>
              </a:ext>
            </a:extLst>
          </p:cNvPr>
          <p:cNvSpPr>
            <a:spLocks noGrp="1"/>
          </p:cNvSpPr>
          <p:nvPr>
            <p:ph type="sldNum" sz="quarter" idx="11"/>
            <p:custDataLst>
              <p:tags r:id="rId3"/>
            </p:custDataLst>
          </p:nvPr>
        </p:nvSpPr>
        <p:spPr/>
        <p:txBody>
          <a:bodyPr/>
          <a:lstStyle/>
          <a:p>
            <a:fld id="{91882AA3-08DC-0043-8CA8-8CA69DA2397E}" type="slidenum">
              <a:rPr lang="en-US" smtClean="0"/>
              <a:pPr/>
              <a:t>46</a:t>
            </a:fld>
            <a:endParaRPr lang="en-US"/>
          </a:p>
        </p:txBody>
      </p:sp>
      <p:graphicFrame>
        <p:nvGraphicFramePr>
          <p:cNvPr id="7" name="Tableau 6">
            <a:extLst>
              <a:ext uri="{FF2B5EF4-FFF2-40B4-BE49-F238E27FC236}">
                <a16:creationId xmlns:a16="http://schemas.microsoft.com/office/drawing/2014/main" id="{93329736-90FA-B39F-010E-0B1B0F82E1A5}"/>
              </a:ext>
            </a:extLst>
          </p:cNvPr>
          <p:cNvGraphicFramePr>
            <a:graphicFrameLocks noGrp="1"/>
          </p:cNvGraphicFramePr>
          <p:nvPr>
            <p:custDataLst>
              <p:tags r:id="rId4"/>
            </p:custDataLst>
            <p:extLst>
              <p:ext uri="{D42A27DB-BD31-4B8C-83A1-F6EECF244321}">
                <p14:modId xmlns:p14="http://schemas.microsoft.com/office/powerpoint/2010/main" val="404693286"/>
              </p:ext>
            </p:extLst>
          </p:nvPr>
        </p:nvGraphicFramePr>
        <p:xfrm>
          <a:off x="301501" y="2486501"/>
          <a:ext cx="11588997" cy="3210560"/>
        </p:xfrm>
        <a:graphic>
          <a:graphicData uri="http://schemas.openxmlformats.org/drawingml/2006/table">
            <a:tbl>
              <a:tblPr firstRow="1" bandRow="1">
                <a:tableStyleId>{5C22544A-7EE6-4342-B048-85BDC9FD1C3A}</a:tableStyleId>
              </a:tblPr>
              <a:tblGrid>
                <a:gridCol w="5232400">
                  <a:extLst>
                    <a:ext uri="{9D8B030D-6E8A-4147-A177-3AD203B41FA5}">
                      <a16:colId xmlns:a16="http://schemas.microsoft.com/office/drawing/2014/main" val="1569911736"/>
                    </a:ext>
                  </a:extLst>
                </a:gridCol>
                <a:gridCol w="3146961">
                  <a:extLst>
                    <a:ext uri="{9D8B030D-6E8A-4147-A177-3AD203B41FA5}">
                      <a16:colId xmlns:a16="http://schemas.microsoft.com/office/drawing/2014/main" val="2158683695"/>
                    </a:ext>
                  </a:extLst>
                </a:gridCol>
                <a:gridCol w="3209636">
                  <a:extLst>
                    <a:ext uri="{9D8B030D-6E8A-4147-A177-3AD203B41FA5}">
                      <a16:colId xmlns:a16="http://schemas.microsoft.com/office/drawing/2014/main" val="944040706"/>
                    </a:ext>
                  </a:extLst>
                </a:gridCol>
              </a:tblGrid>
              <a:tr h="370840">
                <a:tc>
                  <a:txBody>
                    <a:bodyPr/>
                    <a:lstStyle/>
                    <a:p>
                      <a:r>
                        <a:rPr lang="fr-CA"/>
                        <a:t>Service pharmaceutique</a:t>
                      </a:r>
                    </a:p>
                  </a:txBody>
                  <a:tcPr/>
                </a:tc>
                <a:tc>
                  <a:txBody>
                    <a:bodyPr/>
                    <a:lstStyle/>
                    <a:p>
                      <a:r>
                        <a:rPr lang="fr-CA"/>
                        <a:t>Peut-on facturer la modification de la thérapie de manière concomitante?</a:t>
                      </a:r>
                    </a:p>
                  </a:txBody>
                  <a:tcPr/>
                </a:tc>
                <a:tc>
                  <a:txBody>
                    <a:bodyPr/>
                    <a:lstStyle/>
                    <a:p>
                      <a:r>
                        <a:rPr lang="fr-CA"/>
                        <a:t>Peut-on facturer une opinion pharmaceutique de manière concomitante?</a:t>
                      </a:r>
                    </a:p>
                  </a:txBody>
                  <a:tcPr/>
                </a:tc>
                <a:extLst>
                  <a:ext uri="{0D108BD9-81ED-4DB2-BD59-A6C34878D82A}">
                    <a16:rowId xmlns:a16="http://schemas.microsoft.com/office/drawing/2014/main" val="143651736"/>
                  </a:ext>
                </a:extLst>
              </a:tr>
              <a:tr h="370840">
                <a:tc>
                  <a:txBody>
                    <a:bodyPr/>
                    <a:lstStyle/>
                    <a:p>
                      <a:r>
                        <a:rPr lang="fr-CA"/>
                        <a:t>Prise en charge après une hospitalisation</a:t>
                      </a:r>
                    </a:p>
                  </a:txBody>
                  <a:tcPr/>
                </a:tc>
                <a:tc>
                  <a:txBody>
                    <a:bodyPr/>
                    <a:lstStyle/>
                    <a:p>
                      <a:pPr marL="0" eaLnBrk="1" hangingPunct="1"/>
                      <a:r>
                        <a:rPr lang="fr-CA">
                          <a:solidFill>
                            <a:schemeClr val="accent3">
                              <a:lumMod val="75000"/>
                            </a:schemeClr>
                          </a:solidFill>
                          <a:latin typeface="+mn-lt"/>
                          <a:ea typeface="+mn-ea"/>
                          <a:cs typeface="+mn-cs"/>
                        </a:rPr>
                        <a:t>Oui</a:t>
                      </a:r>
                    </a:p>
                  </a:txBody>
                  <a:tcPr/>
                </a:tc>
                <a:tc>
                  <a:txBody>
                    <a:bodyPr/>
                    <a:lstStyle/>
                    <a:p>
                      <a:pPr marL="0" eaLnBrk="1" hangingPunct="1"/>
                      <a:r>
                        <a:rPr lang="fr-CA">
                          <a:solidFill>
                            <a:srgbClr val="FF0000"/>
                          </a:solidFill>
                          <a:latin typeface="+mn-lt"/>
                          <a:ea typeface="+mn-ea"/>
                          <a:cs typeface="+mn-cs"/>
                        </a:rPr>
                        <a:t>Non</a:t>
                      </a:r>
                    </a:p>
                  </a:txBody>
                  <a:tcPr/>
                </a:tc>
                <a:extLst>
                  <a:ext uri="{0D108BD9-81ED-4DB2-BD59-A6C34878D82A}">
                    <a16:rowId xmlns:a16="http://schemas.microsoft.com/office/drawing/2014/main" val="222285145"/>
                  </a:ext>
                </a:extLst>
              </a:tr>
              <a:tr h="370840">
                <a:tc>
                  <a:txBody>
                    <a:bodyPr/>
                    <a:lstStyle/>
                    <a:p>
                      <a:r>
                        <a:rPr lang="fr-CA"/>
                        <a:t>Service d’évaluation aux fins de prolonger une ordonnance et sa prolongation</a:t>
                      </a:r>
                    </a:p>
                  </a:txBody>
                  <a:tcPr/>
                </a:tc>
                <a:tc>
                  <a:txBody>
                    <a:bodyPr/>
                    <a:lstStyle/>
                    <a:p>
                      <a:r>
                        <a:rPr lang="fr-CA">
                          <a:solidFill>
                            <a:schemeClr val="accent3">
                              <a:lumMod val="75000"/>
                            </a:schemeClr>
                          </a:solidFill>
                          <a:latin typeface="+mn-lt"/>
                          <a:ea typeface="+mn-ea"/>
                          <a:cs typeface="+mn-cs"/>
                        </a:rPr>
                        <a:t>Oui </a:t>
                      </a:r>
                      <a:r>
                        <a:rPr lang="fr-CA"/>
                        <a:t>(peut être facturée suivant une prolongation, si requis)</a:t>
                      </a:r>
                    </a:p>
                  </a:txBody>
                  <a:tcPr/>
                </a:tc>
                <a:tc>
                  <a:txBody>
                    <a:bodyPr/>
                    <a:lstStyle/>
                    <a:p>
                      <a:r>
                        <a:rPr lang="fr-CA" err="1"/>
                        <a:t>s.o</a:t>
                      </a:r>
                      <a:r>
                        <a:rPr lang="fr-CA"/>
                        <a:t>.</a:t>
                      </a:r>
                    </a:p>
                  </a:txBody>
                  <a:tcPr/>
                </a:tc>
                <a:extLst>
                  <a:ext uri="{0D108BD9-81ED-4DB2-BD59-A6C34878D82A}">
                    <a16:rowId xmlns:a16="http://schemas.microsoft.com/office/drawing/2014/main" val="847809694"/>
                  </a:ext>
                </a:extLst>
              </a:tr>
              <a:tr h="370840">
                <a:tc>
                  <a:txBody>
                    <a:bodyPr/>
                    <a:lstStyle/>
                    <a:p>
                      <a:r>
                        <a:rPr lang="fr-CA"/>
                        <a:t>Substitution thérapeutique d’un médicament et modification d’une thérapie médicamenteuse</a:t>
                      </a:r>
                    </a:p>
                  </a:txBody>
                  <a:tcPr/>
                </a:tc>
                <a:tc>
                  <a:txBody>
                    <a:bodyPr/>
                    <a:lstStyle/>
                    <a:p>
                      <a:r>
                        <a:rPr lang="fr-CA" err="1"/>
                        <a:t>s.o</a:t>
                      </a:r>
                      <a:r>
                        <a:rPr lang="fr-CA"/>
                        <a:t>.</a:t>
                      </a:r>
                    </a:p>
                  </a:txBody>
                  <a:tcPr/>
                </a:tc>
                <a:tc>
                  <a:txBody>
                    <a:bodyPr/>
                    <a:lstStyle/>
                    <a:p>
                      <a:r>
                        <a:rPr lang="fr-CA" err="1"/>
                        <a:t>s.o</a:t>
                      </a:r>
                      <a:r>
                        <a:rPr lang="fr-CA"/>
                        <a:t>.</a:t>
                      </a:r>
                    </a:p>
                  </a:txBody>
                  <a:tcPr/>
                </a:tc>
                <a:extLst>
                  <a:ext uri="{0D108BD9-81ED-4DB2-BD59-A6C34878D82A}">
                    <a16:rowId xmlns:a16="http://schemas.microsoft.com/office/drawing/2014/main" val="2874621420"/>
                  </a:ext>
                </a:extLst>
              </a:tr>
              <a:tr h="370840">
                <a:tc>
                  <a:txBody>
                    <a:bodyPr/>
                    <a:lstStyle/>
                    <a:p>
                      <a:r>
                        <a:rPr lang="fr-CA"/>
                        <a:t>Demande de consultation à un pharmacien</a:t>
                      </a:r>
                    </a:p>
                  </a:txBody>
                  <a:tcPr/>
                </a:tc>
                <a:tc>
                  <a:txBody>
                    <a:bodyPr/>
                    <a:lstStyle/>
                    <a:p>
                      <a:r>
                        <a:rPr lang="fr-CA">
                          <a:solidFill>
                            <a:schemeClr val="accent3">
                              <a:lumMod val="75000"/>
                            </a:schemeClr>
                          </a:solidFill>
                          <a:latin typeface="+mn-lt"/>
                          <a:ea typeface="+mn-ea"/>
                          <a:cs typeface="+mn-cs"/>
                        </a:rPr>
                        <a:t>Oui</a:t>
                      </a:r>
                    </a:p>
                  </a:txBody>
                  <a:tcPr/>
                </a:tc>
                <a:tc>
                  <a:txBody>
                    <a:bodyPr/>
                    <a:lstStyle/>
                    <a:p>
                      <a:pPr marL="0" eaLnBrk="1" hangingPunct="1"/>
                      <a:r>
                        <a:rPr lang="fr-CA">
                          <a:solidFill>
                            <a:srgbClr val="FF0000"/>
                          </a:solidFill>
                          <a:latin typeface="+mn-lt"/>
                          <a:ea typeface="+mn-ea"/>
                          <a:cs typeface="+mn-cs"/>
                        </a:rPr>
                        <a:t>Non</a:t>
                      </a:r>
                    </a:p>
                  </a:txBody>
                  <a:tcPr/>
                </a:tc>
                <a:extLst>
                  <a:ext uri="{0D108BD9-81ED-4DB2-BD59-A6C34878D82A}">
                    <a16:rowId xmlns:a16="http://schemas.microsoft.com/office/drawing/2014/main" val="3967193278"/>
                  </a:ext>
                </a:extLst>
              </a:tr>
            </a:tbl>
          </a:graphicData>
        </a:graphic>
      </p:graphicFrame>
    </p:spTree>
    <p:extLst>
      <p:ext uri="{BB962C8B-B14F-4D97-AF65-F5344CB8AC3E}">
        <p14:creationId xmlns:p14="http://schemas.microsoft.com/office/powerpoint/2010/main" val="29557918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CDF56-21E5-C169-3963-BC7946A1B060}"/>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C53F9C90-C5D7-6284-BC41-FC14EA57DDC5}"/>
              </a:ext>
            </a:extLst>
          </p:cNvPr>
          <p:cNvSpPr/>
          <p:nvPr/>
        </p:nvSpPr>
        <p:spPr>
          <a:xfrm>
            <a:off x="7559039" y="3035256"/>
            <a:ext cx="2325190" cy="2855842"/>
          </a:xfrm>
          <a:prstGeom prst="rect">
            <a:avLst/>
          </a:prstGeom>
          <a:solidFill>
            <a:srgbClr val="A267CF"/>
          </a:solidFill>
          <a:ln>
            <a:solidFill>
              <a:srgbClr val="A267C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2" name="Rectangle 11">
            <a:extLst>
              <a:ext uri="{FF2B5EF4-FFF2-40B4-BE49-F238E27FC236}">
                <a16:creationId xmlns:a16="http://schemas.microsoft.com/office/drawing/2014/main" id="{025ADACD-A580-21EA-8FE8-43BD7436F8D0}"/>
              </a:ext>
            </a:extLst>
          </p:cNvPr>
          <p:cNvSpPr/>
          <p:nvPr/>
        </p:nvSpPr>
        <p:spPr>
          <a:xfrm>
            <a:off x="9884229" y="2447109"/>
            <a:ext cx="764044" cy="914400"/>
          </a:xfrm>
          <a:prstGeom prst="rect">
            <a:avLst/>
          </a:prstGeom>
          <a:solidFill>
            <a:srgbClr val="DCC5ED"/>
          </a:solidFill>
          <a:ln>
            <a:solidFill>
              <a:srgbClr val="DCC5E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0" name="Rectangle 9">
            <a:extLst>
              <a:ext uri="{FF2B5EF4-FFF2-40B4-BE49-F238E27FC236}">
                <a16:creationId xmlns:a16="http://schemas.microsoft.com/office/drawing/2014/main" id="{930FD8D1-64E9-8BCC-05DB-A08632750227}"/>
              </a:ext>
            </a:extLst>
          </p:cNvPr>
          <p:cNvSpPr/>
          <p:nvPr/>
        </p:nvSpPr>
        <p:spPr>
          <a:xfrm>
            <a:off x="7559039" y="3361508"/>
            <a:ext cx="1071155" cy="513805"/>
          </a:xfrm>
          <a:prstGeom prst="rect">
            <a:avLst/>
          </a:prstGeom>
          <a:solidFill>
            <a:srgbClr val="DCC5ED"/>
          </a:solidFill>
          <a:ln>
            <a:solidFill>
              <a:srgbClr val="DCC5E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1" name="Rectangle 10">
            <a:extLst>
              <a:ext uri="{FF2B5EF4-FFF2-40B4-BE49-F238E27FC236}">
                <a16:creationId xmlns:a16="http://schemas.microsoft.com/office/drawing/2014/main" id="{AF8B7114-3D0C-3286-4B54-26BDABF1946C}"/>
              </a:ext>
            </a:extLst>
          </p:cNvPr>
          <p:cNvSpPr/>
          <p:nvPr/>
        </p:nvSpPr>
        <p:spPr>
          <a:xfrm>
            <a:off x="7559039" y="1858963"/>
            <a:ext cx="3089234" cy="588146"/>
          </a:xfrm>
          <a:prstGeom prst="rect">
            <a:avLst/>
          </a:prstGeom>
          <a:solidFill>
            <a:srgbClr val="DCC5ED"/>
          </a:solidFill>
          <a:ln>
            <a:solidFill>
              <a:srgbClr val="DCC5E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9" name="Rectangle 8">
            <a:extLst>
              <a:ext uri="{FF2B5EF4-FFF2-40B4-BE49-F238E27FC236}">
                <a16:creationId xmlns:a16="http://schemas.microsoft.com/office/drawing/2014/main" id="{7C4561A7-7B15-6A37-54A3-1D37DB2136E2}"/>
              </a:ext>
            </a:extLst>
          </p:cNvPr>
          <p:cNvSpPr/>
          <p:nvPr/>
        </p:nvSpPr>
        <p:spPr>
          <a:xfrm>
            <a:off x="5364480" y="1858963"/>
            <a:ext cx="3082833" cy="2016351"/>
          </a:xfrm>
          <a:prstGeom prst="rect">
            <a:avLst/>
          </a:prstGeom>
          <a:solidFill>
            <a:srgbClr val="DCC5ED"/>
          </a:solidFill>
          <a:ln>
            <a:solidFill>
              <a:srgbClr val="DCC5E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8" name="Rectangle 7">
            <a:extLst>
              <a:ext uri="{FF2B5EF4-FFF2-40B4-BE49-F238E27FC236}">
                <a16:creationId xmlns:a16="http://schemas.microsoft.com/office/drawing/2014/main" id="{07B6E525-15BF-64E8-A44D-33456D4FDCC9}"/>
              </a:ext>
            </a:extLst>
          </p:cNvPr>
          <p:cNvSpPr/>
          <p:nvPr/>
        </p:nvSpPr>
        <p:spPr>
          <a:xfrm>
            <a:off x="1820091" y="2447109"/>
            <a:ext cx="3544389" cy="340667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 name="Rectangle 6">
            <a:extLst>
              <a:ext uri="{FF2B5EF4-FFF2-40B4-BE49-F238E27FC236}">
                <a16:creationId xmlns:a16="http://schemas.microsoft.com/office/drawing/2014/main" id="{0E250EDC-5A60-29D9-9FCB-8D148586C4CE}"/>
              </a:ext>
            </a:extLst>
          </p:cNvPr>
          <p:cNvSpPr/>
          <p:nvPr/>
        </p:nvSpPr>
        <p:spPr>
          <a:xfrm>
            <a:off x="0" y="2447110"/>
            <a:ext cx="1824977" cy="3406670"/>
          </a:xfrm>
          <a:prstGeom prst="rect">
            <a:avLst/>
          </a:prstGeom>
          <a:solidFill>
            <a:schemeClr val="tx2">
              <a:lumMod val="20000"/>
              <a:lumOff val="80000"/>
            </a:schemeClr>
          </a:solidFill>
          <a:ln>
            <a:solidFill>
              <a:schemeClr val="tx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Rectangle 5">
            <a:extLst>
              <a:ext uri="{FF2B5EF4-FFF2-40B4-BE49-F238E27FC236}">
                <a16:creationId xmlns:a16="http://schemas.microsoft.com/office/drawing/2014/main" id="{46F97509-C565-85B2-27A9-0C2098C99C3E}"/>
              </a:ext>
            </a:extLst>
          </p:cNvPr>
          <p:cNvSpPr/>
          <p:nvPr/>
        </p:nvSpPr>
        <p:spPr>
          <a:xfrm>
            <a:off x="957943" y="1004221"/>
            <a:ext cx="862148" cy="2871093"/>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 name="Rectangle 1">
            <a:extLst>
              <a:ext uri="{FF2B5EF4-FFF2-40B4-BE49-F238E27FC236}">
                <a16:creationId xmlns:a16="http://schemas.microsoft.com/office/drawing/2014/main" id="{A4FCF756-9EA8-6691-E920-1627CC41468F}"/>
              </a:ext>
            </a:extLst>
          </p:cNvPr>
          <p:cNvSpPr/>
          <p:nvPr/>
        </p:nvSpPr>
        <p:spPr>
          <a:xfrm>
            <a:off x="1820091" y="1004221"/>
            <a:ext cx="4876800" cy="1442888"/>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037" name="Title 1">
            <a:extLst>
              <a:ext uri="{FF2B5EF4-FFF2-40B4-BE49-F238E27FC236}">
                <a16:creationId xmlns:a16="http://schemas.microsoft.com/office/drawing/2014/main" id="{9EDE452D-D0C4-C321-BE74-5A1B1AD585B8}"/>
              </a:ext>
            </a:extLst>
          </p:cNvPr>
          <p:cNvSpPr>
            <a:spLocks noGrp="1"/>
          </p:cNvSpPr>
          <p:nvPr>
            <p:ph type="title"/>
            <p:custDataLst>
              <p:tags r:id="rId1"/>
            </p:custDataLst>
          </p:nvPr>
        </p:nvSpPr>
        <p:spPr>
          <a:xfrm>
            <a:off x="609599" y="533400"/>
            <a:ext cx="9437783" cy="1325563"/>
          </a:xfrm>
        </p:spPr>
        <p:txBody>
          <a:bodyPr/>
          <a:lstStyle/>
          <a:p>
            <a:r>
              <a:rPr lang="fr-CA" dirty="0"/>
              <a:t>Arbre décisionnel - Du patient à l’entente</a:t>
            </a:r>
            <a:br>
              <a:rPr lang="fr-CA" dirty="0"/>
            </a:br>
            <a:endParaRPr lang="en-US" dirty="0"/>
          </a:p>
        </p:txBody>
      </p:sp>
      <p:sp>
        <p:nvSpPr>
          <p:cNvPr id="3" name="Espace réservé du pied de page 2">
            <a:extLst>
              <a:ext uri="{FF2B5EF4-FFF2-40B4-BE49-F238E27FC236}">
                <a16:creationId xmlns:a16="http://schemas.microsoft.com/office/drawing/2014/main" id="{6B355C67-7BC3-36DA-1275-41461DA69C0E}"/>
              </a:ext>
            </a:extLst>
          </p:cNvPr>
          <p:cNvSpPr>
            <a:spLocks noGrp="1"/>
          </p:cNvSpPr>
          <p:nvPr>
            <p:ph type="ftr" sz="quarter" idx="10"/>
            <p:custDataLst>
              <p:tags r:id="rId2"/>
            </p:custDataLst>
          </p:nvPr>
        </p:nvSpPr>
        <p:spPr>
          <a:xfrm>
            <a:off x="609600" y="6324600"/>
            <a:ext cx="9601200" cy="365125"/>
          </a:xfrm>
        </p:spPr>
        <p:txBody>
          <a:bodyPr anchor="ctr">
            <a:normAutofit/>
          </a:bodyPr>
          <a:lstStyle/>
          <a:p>
            <a:pPr algn="l">
              <a:spcAft>
                <a:spcPts val="600"/>
              </a:spcAft>
            </a:pPr>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D3A6E682-B454-8E33-8584-28C83C654630}"/>
              </a:ext>
            </a:extLst>
          </p:cNvPr>
          <p:cNvSpPr>
            <a:spLocks noGrp="1"/>
          </p:cNvSpPr>
          <p:nvPr>
            <p:ph type="sldNum" sz="quarter" idx="11"/>
            <p:custDataLst>
              <p:tags r:id="rId3"/>
            </p:custDataLst>
          </p:nvPr>
        </p:nvSpPr>
        <p:spPr>
          <a:xfrm>
            <a:off x="11455398" y="6442075"/>
            <a:ext cx="736601" cy="365125"/>
          </a:xfrm>
        </p:spPr>
        <p:txBody>
          <a:bodyPr>
            <a:normAutofit/>
          </a:bodyPr>
          <a:lstStyle/>
          <a:p>
            <a:pPr>
              <a:spcAft>
                <a:spcPts val="600"/>
              </a:spcAft>
            </a:pPr>
            <a:fld id="{91882AA3-08DC-0043-8CA8-8CA69DA2397E}" type="slidenum">
              <a:rPr lang="en-US" smtClean="0"/>
              <a:pPr>
                <a:spcAft>
                  <a:spcPts val="600"/>
                </a:spcAft>
              </a:pPr>
              <a:t>47</a:t>
            </a:fld>
            <a:endParaRPr lang="en-US"/>
          </a:p>
        </p:txBody>
      </p:sp>
      <p:sp>
        <p:nvSpPr>
          <p:cNvPr id="13" name="Rectangle 12">
            <a:extLst>
              <a:ext uri="{FF2B5EF4-FFF2-40B4-BE49-F238E27FC236}">
                <a16:creationId xmlns:a16="http://schemas.microsoft.com/office/drawing/2014/main" id="{193F0417-89DD-2D27-FA38-D853BAB812ED}"/>
              </a:ext>
            </a:extLst>
          </p:cNvPr>
          <p:cNvSpPr/>
          <p:nvPr/>
        </p:nvSpPr>
        <p:spPr>
          <a:xfrm>
            <a:off x="5364480" y="3361508"/>
            <a:ext cx="2194559" cy="2529589"/>
          </a:xfrm>
          <a:prstGeom prst="rect">
            <a:avLst/>
          </a:prstGeom>
          <a:solidFill>
            <a:srgbClr val="BF96DE"/>
          </a:solidFill>
          <a:ln>
            <a:solidFill>
              <a:srgbClr val="BF96D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5" name="Rectangle 14">
            <a:extLst>
              <a:ext uri="{FF2B5EF4-FFF2-40B4-BE49-F238E27FC236}">
                <a16:creationId xmlns:a16="http://schemas.microsoft.com/office/drawing/2014/main" id="{88B46742-5D27-DFC2-46EE-91E62D2EF2AA}"/>
              </a:ext>
            </a:extLst>
          </p:cNvPr>
          <p:cNvSpPr/>
          <p:nvPr/>
        </p:nvSpPr>
        <p:spPr>
          <a:xfrm>
            <a:off x="8447313" y="2447109"/>
            <a:ext cx="1436916" cy="588146"/>
          </a:xfrm>
          <a:prstGeom prst="rect">
            <a:avLst/>
          </a:prstGeom>
          <a:solidFill>
            <a:srgbClr val="843BBB"/>
          </a:solidFill>
          <a:ln>
            <a:solidFill>
              <a:srgbClr val="843BB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6" name="Rectangle 15">
            <a:extLst>
              <a:ext uri="{FF2B5EF4-FFF2-40B4-BE49-F238E27FC236}">
                <a16:creationId xmlns:a16="http://schemas.microsoft.com/office/drawing/2014/main" id="{B6CB7E11-10D5-F4AA-2045-FD8431000CD7}"/>
              </a:ext>
            </a:extLst>
          </p:cNvPr>
          <p:cNvSpPr/>
          <p:nvPr/>
        </p:nvSpPr>
        <p:spPr>
          <a:xfrm>
            <a:off x="9884229" y="2908663"/>
            <a:ext cx="2319771" cy="2982434"/>
          </a:xfrm>
          <a:prstGeom prst="rect">
            <a:avLst/>
          </a:prstGeom>
          <a:solidFill>
            <a:srgbClr val="843BBB"/>
          </a:solidFill>
          <a:ln>
            <a:solidFill>
              <a:srgbClr val="843BB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17" name="Picture 1">
            <a:extLst>
              <a:ext uri="{FF2B5EF4-FFF2-40B4-BE49-F238E27FC236}">
                <a16:creationId xmlns:a16="http://schemas.microsoft.com/office/drawing/2014/main" id="{11C6EEE7-9498-4AD6-E8FF-13CEBED859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210" y="1196181"/>
            <a:ext cx="12252209" cy="4801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61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10" grpId="0" animBg="1"/>
      <p:bldP spid="11" grpId="0" animBg="1"/>
      <p:bldP spid="9" grpId="0" animBg="1"/>
      <p:bldP spid="8" grpId="0" animBg="1"/>
      <p:bldP spid="7" grpId="0" animBg="1"/>
      <p:bldP spid="6" grpId="0" animBg="1"/>
      <p:bldP spid="2" grpId="0" animBg="1"/>
      <p:bldP spid="13" grpId="0" animBg="1"/>
      <p:bldP spid="15" grpId="0" animBg="1"/>
      <p:bldP spid="16"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3C179-C1E4-C8DE-2C51-08F09CAFB3E0}"/>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FD858827-8905-2295-AE8E-343F3F429F97}"/>
              </a:ext>
            </a:extLst>
          </p:cNvPr>
          <p:cNvSpPr>
            <a:spLocks noGrp="1"/>
          </p:cNvSpPr>
          <p:nvPr>
            <p:ph type="title"/>
            <p:custDataLst>
              <p:tags r:id="rId1"/>
            </p:custDataLst>
          </p:nvPr>
        </p:nvSpPr>
        <p:spPr/>
        <p:txBody>
          <a:bodyPr/>
          <a:lstStyle/>
          <a:p>
            <a:r>
              <a:rPr lang="fr-CA"/>
              <a:t>Prise en charge : MPOC</a:t>
            </a:r>
          </a:p>
        </p:txBody>
      </p:sp>
      <p:sp>
        <p:nvSpPr>
          <p:cNvPr id="3" name="Espace réservé du pied de page 2">
            <a:extLst>
              <a:ext uri="{FF2B5EF4-FFF2-40B4-BE49-F238E27FC236}">
                <a16:creationId xmlns:a16="http://schemas.microsoft.com/office/drawing/2014/main" id="{E9896922-7896-EE26-D31F-EE08EEB653A8}"/>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40049AD8-6DB2-117B-4DE1-9327FD29DDA5}"/>
              </a:ext>
            </a:extLst>
          </p:cNvPr>
          <p:cNvSpPr>
            <a:spLocks noGrp="1"/>
          </p:cNvSpPr>
          <p:nvPr>
            <p:ph type="sldNum" sz="quarter" idx="11"/>
            <p:custDataLst>
              <p:tags r:id="rId3"/>
            </p:custDataLst>
          </p:nvPr>
        </p:nvSpPr>
        <p:spPr/>
        <p:txBody>
          <a:bodyPr/>
          <a:lstStyle/>
          <a:p>
            <a:fld id="{91882AA3-08DC-0043-8CA8-8CA69DA2397E}" type="slidenum">
              <a:rPr lang="en-US" smtClean="0"/>
              <a:pPr/>
              <a:t>48</a:t>
            </a:fld>
            <a:endParaRPr lang="en-US"/>
          </a:p>
        </p:txBody>
      </p:sp>
      <p:pic>
        <p:nvPicPr>
          <p:cNvPr id="7" name="Graphique 6" descr="Combiné contour">
            <a:extLst>
              <a:ext uri="{FF2B5EF4-FFF2-40B4-BE49-F238E27FC236}">
                <a16:creationId xmlns:a16="http://schemas.microsoft.com/office/drawing/2014/main" id="{210F367D-B2CA-684A-E90D-9DC01E3658AF}"/>
              </a:ext>
            </a:extLst>
          </p:cNvPr>
          <p:cNvPicPr>
            <a:picLocks noChangeAspect="1"/>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4655840" y="1299691"/>
            <a:ext cx="914400" cy="914400"/>
          </a:xfrm>
          <a:prstGeom prst="rect">
            <a:avLst/>
          </a:prstGeom>
        </p:spPr>
      </p:pic>
      <p:pic>
        <p:nvPicPr>
          <p:cNvPr id="9" name="Graphique 8" descr="Centre d’appels contour">
            <a:extLst>
              <a:ext uri="{FF2B5EF4-FFF2-40B4-BE49-F238E27FC236}">
                <a16:creationId xmlns:a16="http://schemas.microsoft.com/office/drawing/2014/main" id="{200115B9-BC0B-B448-9FF8-CECFECFC6409}"/>
              </a:ext>
            </a:extLst>
          </p:cNvPr>
          <p:cNvPicPr>
            <a:picLocks noChangeAspect="1"/>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6960096" y="1299691"/>
            <a:ext cx="914400" cy="914400"/>
          </a:xfrm>
          <a:prstGeom prst="rect">
            <a:avLst/>
          </a:prstGeom>
        </p:spPr>
      </p:pic>
      <p:sp>
        <p:nvSpPr>
          <p:cNvPr id="11" name="Flèche : droite 10">
            <a:extLst>
              <a:ext uri="{FF2B5EF4-FFF2-40B4-BE49-F238E27FC236}">
                <a16:creationId xmlns:a16="http://schemas.microsoft.com/office/drawing/2014/main" id="{6988069C-8EB0-4873-F166-5388B233A2BA}"/>
              </a:ext>
            </a:extLst>
          </p:cNvPr>
          <p:cNvSpPr/>
          <p:nvPr>
            <p:custDataLst>
              <p:tags r:id="rId6"/>
            </p:custDataLst>
          </p:nvPr>
        </p:nvSpPr>
        <p:spPr>
          <a:xfrm>
            <a:off x="5829300" y="1524001"/>
            <a:ext cx="914400" cy="384048"/>
          </a:xfrm>
          <a:prstGeom prst="rightArrow">
            <a:avLst/>
          </a:prstGeom>
          <a:solidFill>
            <a:srgbClr val="FF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4" name="Bulle narrative : ronde 13">
            <a:extLst>
              <a:ext uri="{FF2B5EF4-FFF2-40B4-BE49-F238E27FC236}">
                <a16:creationId xmlns:a16="http://schemas.microsoft.com/office/drawing/2014/main" id="{649E43DC-1DFA-61C1-13A9-D792561C07E3}"/>
              </a:ext>
            </a:extLst>
          </p:cNvPr>
          <p:cNvSpPr/>
          <p:nvPr>
            <p:custDataLst>
              <p:tags r:id="rId7"/>
            </p:custDataLst>
          </p:nvPr>
        </p:nvSpPr>
        <p:spPr>
          <a:xfrm>
            <a:off x="263352" y="1908049"/>
            <a:ext cx="4680520" cy="3726461"/>
          </a:xfrm>
          <a:prstGeom prst="wedgeEllipseCallout">
            <a:avLst>
              <a:gd name="adj1" fmla="val 50299"/>
              <a:gd name="adj2" fmla="val -40413"/>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a:solidFill>
                  <a:schemeClr val="tx1"/>
                </a:solidFill>
              </a:rPr>
              <a:t>« Je tousse beaucoup depuis trois jours, je crache vert.</a:t>
            </a:r>
          </a:p>
          <a:p>
            <a:pPr algn="ctr"/>
            <a:endParaRPr lang="fr-CA">
              <a:solidFill>
                <a:schemeClr val="tx1"/>
              </a:solidFill>
            </a:endParaRPr>
          </a:p>
          <a:p>
            <a:pPr algn="ctr"/>
            <a:r>
              <a:rPr lang="fr-CA">
                <a:solidFill>
                  <a:schemeClr val="tx1"/>
                </a:solidFill>
              </a:rPr>
              <a:t>Mon médecin m’a prescrit un plan d’action qui avait été très efficace il y a deux mois et il me semble que c’était renouvelable. »</a:t>
            </a:r>
          </a:p>
        </p:txBody>
      </p:sp>
      <p:sp>
        <p:nvSpPr>
          <p:cNvPr id="16" name="Phylactère : pensées 15">
            <a:extLst>
              <a:ext uri="{FF2B5EF4-FFF2-40B4-BE49-F238E27FC236}">
                <a16:creationId xmlns:a16="http://schemas.microsoft.com/office/drawing/2014/main" id="{8A455E60-691E-77C0-78FD-C9A94EFC241A}"/>
              </a:ext>
            </a:extLst>
          </p:cNvPr>
          <p:cNvSpPr/>
          <p:nvPr>
            <p:custDataLst>
              <p:tags r:id="rId8"/>
            </p:custDataLst>
          </p:nvPr>
        </p:nvSpPr>
        <p:spPr>
          <a:xfrm>
            <a:off x="7500135" y="2619910"/>
            <a:ext cx="4153801" cy="3509429"/>
          </a:xfrm>
          <a:prstGeom prst="cloudCallout">
            <a:avLst>
              <a:gd name="adj1" fmla="val -39723"/>
              <a:gd name="adj2" fmla="val -62789"/>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a:solidFill>
                  <a:schemeClr val="tx1"/>
                </a:solidFill>
              </a:rPr>
              <a:t>« Oui, c’est renouvelable et cela ressemble à une exacerbation de la MPOC, mais...</a:t>
            </a:r>
          </a:p>
          <a:p>
            <a:pPr algn="ctr"/>
            <a:endParaRPr lang="fr-CA">
              <a:solidFill>
                <a:schemeClr val="tx1"/>
              </a:solidFill>
            </a:endParaRPr>
          </a:p>
          <a:p>
            <a:pPr algn="ctr"/>
            <a:r>
              <a:rPr lang="fr-CA">
                <a:solidFill>
                  <a:schemeClr val="tx1"/>
                </a:solidFill>
              </a:rPr>
              <a:t>une deuxième exacerbation en deux mois m’inquiète! »</a:t>
            </a:r>
          </a:p>
        </p:txBody>
      </p:sp>
    </p:spTree>
    <p:extLst>
      <p:ext uri="{BB962C8B-B14F-4D97-AF65-F5344CB8AC3E}">
        <p14:creationId xmlns:p14="http://schemas.microsoft.com/office/powerpoint/2010/main" val="27497138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B0024-9AF9-6BA5-A239-4663272F403C}"/>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8CEEAB4A-1E11-7AB8-7A36-DE4A004A16C1}"/>
              </a:ext>
            </a:extLst>
          </p:cNvPr>
          <p:cNvSpPr>
            <a:spLocks noGrp="1"/>
          </p:cNvSpPr>
          <p:nvPr>
            <p:ph type="ftr" sz="quarter" idx="10"/>
            <p:custDataLst>
              <p:tags r:id="rId1"/>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6862C69D-21A2-2561-CD70-0C7C26F9D272}"/>
              </a:ext>
            </a:extLst>
          </p:cNvPr>
          <p:cNvSpPr>
            <a:spLocks noGrp="1"/>
          </p:cNvSpPr>
          <p:nvPr>
            <p:ph type="sldNum" sz="quarter" idx="11"/>
            <p:custDataLst>
              <p:tags r:id="rId2"/>
            </p:custDataLst>
          </p:nvPr>
        </p:nvSpPr>
        <p:spPr/>
        <p:txBody>
          <a:bodyPr/>
          <a:lstStyle/>
          <a:p>
            <a:fld id="{91882AA3-08DC-0043-8CA8-8CA69DA2397E}" type="slidenum">
              <a:rPr lang="en-US" smtClean="0"/>
              <a:pPr/>
              <a:t>49</a:t>
            </a:fld>
            <a:endParaRPr lang="en-US"/>
          </a:p>
        </p:txBody>
      </p:sp>
      <p:sp>
        <p:nvSpPr>
          <p:cNvPr id="6" name="Titre 1">
            <a:extLst>
              <a:ext uri="{FF2B5EF4-FFF2-40B4-BE49-F238E27FC236}">
                <a16:creationId xmlns:a16="http://schemas.microsoft.com/office/drawing/2014/main" id="{9475B990-B989-C009-7D48-B953D491F451}"/>
              </a:ext>
            </a:extLst>
          </p:cNvPr>
          <p:cNvSpPr>
            <a:spLocks noGrp="1"/>
          </p:cNvSpPr>
          <p:nvPr>
            <p:ph type="title"/>
            <p:custDataLst>
              <p:tags r:id="rId3"/>
            </p:custDataLst>
          </p:nvPr>
        </p:nvSpPr>
        <p:spPr>
          <a:xfrm>
            <a:off x="609600" y="739589"/>
            <a:ext cx="9337792" cy="784412"/>
          </a:xfrm>
        </p:spPr>
        <p:txBody>
          <a:bodyPr/>
          <a:lstStyle/>
          <a:p>
            <a:r>
              <a:rPr lang="fr-CA"/>
              <a:t>Révision de la pharmacothérapie</a:t>
            </a:r>
            <a:br>
              <a:rPr lang="fr-CA"/>
            </a:br>
            <a:endParaRPr lang="fr-CA">
              <a:cs typeface="Arial"/>
            </a:endParaRPr>
          </a:p>
        </p:txBody>
      </p:sp>
      <p:sp>
        <p:nvSpPr>
          <p:cNvPr id="5" name="Phylactère : pensées 4">
            <a:extLst>
              <a:ext uri="{FF2B5EF4-FFF2-40B4-BE49-F238E27FC236}">
                <a16:creationId xmlns:a16="http://schemas.microsoft.com/office/drawing/2014/main" id="{C8E324DB-9BD9-25D7-C805-9C6B6A0FEAAB}"/>
              </a:ext>
            </a:extLst>
          </p:cNvPr>
          <p:cNvSpPr/>
          <p:nvPr>
            <p:custDataLst>
              <p:tags r:id="rId4"/>
            </p:custDataLst>
          </p:nvPr>
        </p:nvSpPr>
        <p:spPr>
          <a:xfrm>
            <a:off x="8184232" y="475860"/>
            <a:ext cx="2376264" cy="1311870"/>
          </a:xfrm>
          <a:prstGeom prst="cloudCallout">
            <a:avLst>
              <a:gd name="adj1" fmla="val -71286"/>
              <a:gd name="adj2" fmla="val -3290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a:t>Pertinence…</a:t>
            </a:r>
          </a:p>
        </p:txBody>
      </p:sp>
      <p:pic>
        <p:nvPicPr>
          <p:cNvPr id="1025" name="Picture 1">
            <a:extLst>
              <a:ext uri="{FF2B5EF4-FFF2-40B4-BE49-F238E27FC236}">
                <a16:creationId xmlns:a16="http://schemas.microsoft.com/office/drawing/2014/main" id="{1112E240-9173-E386-16A2-71726B27C4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012" y="1867290"/>
            <a:ext cx="11991975" cy="4514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3688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a:t>Plan de présentation</a:t>
            </a:r>
            <a:endParaRPr/>
          </a:p>
        </p:txBody>
      </p:sp>
      <p:sp>
        <p:nvSpPr>
          <p:cNvPr id="3" name="Content Placeholder 2"/>
          <p:cNvSpPr>
            <a:spLocks noGrp="1"/>
          </p:cNvSpPr>
          <p:nvPr>
            <p:ph type="body" sz="quarter" idx="12"/>
            <p:custDataLst>
              <p:tags r:id="rId2"/>
            </p:custDataLst>
          </p:nvPr>
        </p:nvSpPr>
        <p:spPr/>
        <p:txBody>
          <a:bodyPr/>
          <a:lstStyle/>
          <a:p>
            <a:r>
              <a:t>• </a:t>
            </a:r>
            <a:r>
              <a:rPr err="1"/>
              <a:t>Pourquoi</a:t>
            </a:r>
            <a:r>
              <a:t> </a:t>
            </a:r>
            <a:r>
              <a:rPr err="1"/>
              <a:t>parler</a:t>
            </a:r>
            <a:r>
              <a:t> de </a:t>
            </a:r>
            <a:r>
              <a:rPr err="1"/>
              <a:t>facturation</a:t>
            </a:r>
            <a:r>
              <a:t> </a:t>
            </a:r>
            <a:r>
              <a:rPr err="1"/>
              <a:t>aujourd’hui</a:t>
            </a:r>
            <a:r>
              <a:t>?</a:t>
            </a:r>
          </a:p>
          <a:p>
            <a:r>
              <a:rPr lang="fr-CA"/>
              <a:t>• Importance de bien comprendre les fondements des ententes pour optimiser la rentabilité :</a:t>
            </a:r>
          </a:p>
          <a:p>
            <a:pPr marL="742950" lvl="1" indent="-285750"/>
            <a:r>
              <a:rPr lang="fr-CA"/>
              <a:t>Schématisation de l’entente;</a:t>
            </a:r>
          </a:p>
          <a:p>
            <a:pPr marL="742950" lvl="1" indent="-285750"/>
            <a:r>
              <a:rPr lang="fr-CA"/>
              <a:t>Explication des règles;</a:t>
            </a:r>
          </a:p>
          <a:p>
            <a:pPr marL="742950" lvl="1" indent="-285750"/>
            <a:r>
              <a:rPr lang="fr-CA"/>
              <a:t>Exemples de cas concrets.</a:t>
            </a:r>
          </a:p>
          <a:p>
            <a:endParaRPr/>
          </a:p>
        </p:txBody>
      </p:sp>
      <p:sp>
        <p:nvSpPr>
          <p:cNvPr id="4" name="Espace réservé du pied de page 3">
            <a:extLst>
              <a:ext uri="{FF2B5EF4-FFF2-40B4-BE49-F238E27FC236}">
                <a16:creationId xmlns:a16="http://schemas.microsoft.com/office/drawing/2014/main" id="{47564D76-A595-327C-445A-85DF2729D7B1}"/>
              </a:ext>
            </a:extLst>
          </p:cNvPr>
          <p:cNvSpPr>
            <a:spLocks noGrp="1"/>
          </p:cNvSpPr>
          <p:nvPr>
            <p:ph type="ftr" sz="quarter" idx="10"/>
            <p:custDataLst>
              <p:tags r:id="rId3"/>
            </p:custDataLst>
          </p:nvPr>
        </p:nvSpPr>
        <p:spPr/>
        <p:txBody>
          <a:bodyPr/>
          <a:lstStyle/>
          <a:p>
            <a:pPr algn="l"/>
            <a:r>
              <a:rPr lang="fr-CA"/>
              <a:t>AQPP  |  Du patient à l'entente</a:t>
            </a:r>
            <a:endParaRPr lang="en-US"/>
          </a:p>
        </p:txBody>
      </p:sp>
      <p:sp>
        <p:nvSpPr>
          <p:cNvPr id="5" name="Espace réservé du numéro de diapositive 4">
            <a:extLst>
              <a:ext uri="{FF2B5EF4-FFF2-40B4-BE49-F238E27FC236}">
                <a16:creationId xmlns:a16="http://schemas.microsoft.com/office/drawing/2014/main" id="{BAE90DFA-E760-EEB4-DA51-DC2BD015EBB9}"/>
              </a:ext>
            </a:extLst>
          </p:cNvPr>
          <p:cNvSpPr>
            <a:spLocks noGrp="1"/>
          </p:cNvSpPr>
          <p:nvPr>
            <p:ph type="sldNum" sz="quarter" idx="11"/>
            <p:custDataLst>
              <p:tags r:id="rId4"/>
            </p:custDataLst>
          </p:nvPr>
        </p:nvSpPr>
        <p:spPr/>
        <p:txBody>
          <a:bodyPr/>
          <a:lstStyle/>
          <a:p>
            <a:fld id="{91882AA3-08DC-0043-8CA8-8CA69DA2397E}" type="slidenum">
              <a:rPr lang="en-US" smtClean="0"/>
              <a:pPr/>
              <a:t>5</a:t>
            </a:fld>
            <a:endParaRPr lang="en-US"/>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FDBB1-1286-8D3E-7BF8-ACCD2A7675A0}"/>
            </a:ext>
          </a:extLst>
        </p:cNvPr>
        <p:cNvGrpSpPr/>
        <p:nvPr/>
      </p:nvGrpSpPr>
      <p:grpSpPr>
        <a:xfrm>
          <a:off x="0" y="0"/>
          <a:ext cx="0" cy="0"/>
          <a:chOff x="0" y="0"/>
          <a:chExt cx="0" cy="0"/>
        </a:xfrm>
      </p:grpSpPr>
      <p:sp>
        <p:nvSpPr>
          <p:cNvPr id="17" name="Rectangle : coins arrondis 16">
            <a:extLst>
              <a:ext uri="{FF2B5EF4-FFF2-40B4-BE49-F238E27FC236}">
                <a16:creationId xmlns:a16="http://schemas.microsoft.com/office/drawing/2014/main" id="{29D66BF5-B254-4E3F-BCCD-BAE678A21556}"/>
              </a:ext>
            </a:extLst>
          </p:cNvPr>
          <p:cNvSpPr/>
          <p:nvPr>
            <p:custDataLst>
              <p:tags r:id="rId1"/>
            </p:custDataLst>
          </p:nvPr>
        </p:nvSpPr>
        <p:spPr>
          <a:xfrm>
            <a:off x="2706502" y="5199485"/>
            <a:ext cx="6733084" cy="140211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3" name="Espace réservé du pied de page 2">
            <a:extLst>
              <a:ext uri="{FF2B5EF4-FFF2-40B4-BE49-F238E27FC236}">
                <a16:creationId xmlns:a16="http://schemas.microsoft.com/office/drawing/2014/main" id="{F7FF7885-6949-D6AB-2310-7225A6AD4F73}"/>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3533C915-548C-3B7A-9E4D-AD874BEB4756}"/>
              </a:ext>
            </a:extLst>
          </p:cNvPr>
          <p:cNvSpPr>
            <a:spLocks noGrp="1"/>
          </p:cNvSpPr>
          <p:nvPr>
            <p:ph type="sldNum" sz="quarter" idx="11"/>
            <p:custDataLst>
              <p:tags r:id="rId3"/>
            </p:custDataLst>
          </p:nvPr>
        </p:nvSpPr>
        <p:spPr/>
        <p:txBody>
          <a:bodyPr/>
          <a:lstStyle/>
          <a:p>
            <a:fld id="{91882AA3-08DC-0043-8CA8-8CA69DA2397E}" type="slidenum">
              <a:rPr lang="en-US" smtClean="0"/>
              <a:pPr/>
              <a:t>50</a:t>
            </a:fld>
            <a:endParaRPr lang="en-US"/>
          </a:p>
        </p:txBody>
      </p:sp>
      <p:sp>
        <p:nvSpPr>
          <p:cNvPr id="6" name="Titre 1">
            <a:extLst>
              <a:ext uri="{FF2B5EF4-FFF2-40B4-BE49-F238E27FC236}">
                <a16:creationId xmlns:a16="http://schemas.microsoft.com/office/drawing/2014/main" id="{E978D01B-0FFF-96CC-BAE9-126B8AB6CFB0}"/>
              </a:ext>
            </a:extLst>
          </p:cNvPr>
          <p:cNvSpPr>
            <a:spLocks noGrp="1"/>
          </p:cNvSpPr>
          <p:nvPr>
            <p:ph type="title"/>
            <p:custDataLst>
              <p:tags r:id="rId4"/>
            </p:custDataLst>
          </p:nvPr>
        </p:nvSpPr>
        <p:spPr>
          <a:xfrm>
            <a:off x="609600" y="739589"/>
            <a:ext cx="9337792" cy="784412"/>
          </a:xfrm>
        </p:spPr>
        <p:txBody>
          <a:bodyPr/>
          <a:lstStyle/>
          <a:p>
            <a:r>
              <a:rPr lang="fr-CA"/>
              <a:t>Révision de la pharmacothérapie</a:t>
            </a:r>
            <a:br>
              <a:rPr lang="fr-CA"/>
            </a:br>
            <a:endParaRPr lang="fr-CA">
              <a:cs typeface="Arial"/>
            </a:endParaRPr>
          </a:p>
        </p:txBody>
      </p:sp>
      <p:pic>
        <p:nvPicPr>
          <p:cNvPr id="2049" name="Picture 1">
            <a:extLst>
              <a:ext uri="{FF2B5EF4-FFF2-40B4-BE49-F238E27FC236}">
                <a16:creationId xmlns:a16="http://schemas.microsoft.com/office/drawing/2014/main" id="{F6E32EA3-58D2-1C1E-88F5-536D98C4749B}"/>
              </a:ext>
            </a:extLst>
          </p:cNvPr>
          <p:cNvPicPr>
            <a:picLocks noChangeAspect="1" noChangeArrowheads="1"/>
          </p:cNvPicPr>
          <p:nvPr>
            <p:custDataLst>
              <p:tags r:id="rId5"/>
            </p:custDataLst>
          </p:nvPr>
        </p:nvPicPr>
        <p:blipFill>
          <a:blip r:embed="rId20">
            <a:extLst>
              <a:ext uri="{28A0092B-C50C-407E-A947-70E740481C1C}">
                <a14:useLocalDpi xmlns:a14="http://schemas.microsoft.com/office/drawing/2010/main" val="0"/>
              </a:ext>
            </a:extLst>
          </a:blip>
          <a:srcRect/>
          <a:stretch>
            <a:fillRect/>
          </a:stretch>
        </p:blipFill>
        <p:spPr bwMode="auto">
          <a:xfrm>
            <a:off x="1295400" y="1519065"/>
            <a:ext cx="9601200" cy="1631975"/>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300000DC-AEA4-119E-8825-A4B44890B7BD}"/>
              </a:ext>
            </a:extLst>
          </p:cNvPr>
          <p:cNvSpPr txBox="1"/>
          <p:nvPr>
            <p:custDataLst>
              <p:tags r:id="rId6"/>
            </p:custDataLst>
          </p:nvPr>
        </p:nvSpPr>
        <p:spPr>
          <a:xfrm>
            <a:off x="1295400" y="3405016"/>
            <a:ext cx="1800200" cy="923330"/>
          </a:xfrm>
          <a:prstGeom prst="rect">
            <a:avLst/>
          </a:prstGeom>
          <a:noFill/>
        </p:spPr>
        <p:txBody>
          <a:bodyPr wrap="square" rtlCol="0">
            <a:spAutoFit/>
          </a:bodyPr>
          <a:lstStyle/>
          <a:p>
            <a:r>
              <a:rPr lang="fr-CA"/>
              <a:t>2</a:t>
            </a:r>
            <a:r>
              <a:rPr lang="fr-CA" baseline="30000"/>
              <a:t>e </a:t>
            </a:r>
            <a:r>
              <a:rPr lang="fr-CA"/>
              <a:t>plan d’action pour EAMPOC en un an</a:t>
            </a:r>
          </a:p>
        </p:txBody>
      </p:sp>
      <p:sp>
        <p:nvSpPr>
          <p:cNvPr id="7" name="ZoneTexte 6">
            <a:extLst>
              <a:ext uri="{FF2B5EF4-FFF2-40B4-BE49-F238E27FC236}">
                <a16:creationId xmlns:a16="http://schemas.microsoft.com/office/drawing/2014/main" id="{50CCC3B2-48E6-E7D4-CEB2-828E412C1067}"/>
              </a:ext>
            </a:extLst>
          </p:cNvPr>
          <p:cNvSpPr txBox="1"/>
          <p:nvPr>
            <p:custDataLst>
              <p:tags r:id="rId7"/>
            </p:custDataLst>
          </p:nvPr>
        </p:nvSpPr>
        <p:spPr>
          <a:xfrm>
            <a:off x="3143672" y="4175262"/>
            <a:ext cx="1296144" cy="646331"/>
          </a:xfrm>
          <a:prstGeom prst="rect">
            <a:avLst/>
          </a:prstGeom>
          <a:noFill/>
        </p:spPr>
        <p:txBody>
          <a:bodyPr wrap="square" rtlCol="0">
            <a:spAutoFit/>
          </a:bodyPr>
          <a:lstStyle/>
          <a:p>
            <a:r>
              <a:rPr lang="fr-CA"/>
              <a:t>MPOC (PEC R32)</a:t>
            </a:r>
          </a:p>
        </p:txBody>
      </p:sp>
      <p:sp>
        <p:nvSpPr>
          <p:cNvPr id="8" name="ZoneTexte 7">
            <a:extLst>
              <a:ext uri="{FF2B5EF4-FFF2-40B4-BE49-F238E27FC236}">
                <a16:creationId xmlns:a16="http://schemas.microsoft.com/office/drawing/2014/main" id="{53503359-5BAB-5A5A-2C37-54FD1793010B}"/>
              </a:ext>
            </a:extLst>
          </p:cNvPr>
          <p:cNvSpPr txBox="1"/>
          <p:nvPr>
            <p:custDataLst>
              <p:tags r:id="rId8"/>
            </p:custDataLst>
          </p:nvPr>
        </p:nvSpPr>
        <p:spPr>
          <a:xfrm>
            <a:off x="4707285" y="3447480"/>
            <a:ext cx="1008112" cy="923330"/>
          </a:xfrm>
          <a:prstGeom prst="rect">
            <a:avLst/>
          </a:prstGeom>
          <a:noFill/>
        </p:spPr>
        <p:txBody>
          <a:bodyPr wrap="square" rtlCol="0">
            <a:spAutoFit/>
          </a:bodyPr>
          <a:lstStyle/>
          <a:p>
            <a:r>
              <a:rPr lang="fr-CA"/>
              <a:t>Amorce TRN (R31)</a:t>
            </a:r>
          </a:p>
        </p:txBody>
      </p:sp>
      <p:sp>
        <p:nvSpPr>
          <p:cNvPr id="9" name="ZoneTexte 8">
            <a:extLst>
              <a:ext uri="{FF2B5EF4-FFF2-40B4-BE49-F238E27FC236}">
                <a16:creationId xmlns:a16="http://schemas.microsoft.com/office/drawing/2014/main" id="{2DE9EE19-0CDD-9DE7-9A27-12003FB13A1E}"/>
              </a:ext>
            </a:extLst>
          </p:cNvPr>
          <p:cNvSpPr txBox="1"/>
          <p:nvPr>
            <p:custDataLst>
              <p:tags r:id="rId9"/>
            </p:custDataLst>
          </p:nvPr>
        </p:nvSpPr>
        <p:spPr>
          <a:xfrm>
            <a:off x="6096000" y="4097618"/>
            <a:ext cx="1872208" cy="923330"/>
          </a:xfrm>
          <a:prstGeom prst="rect">
            <a:avLst/>
          </a:prstGeom>
          <a:noFill/>
        </p:spPr>
        <p:txBody>
          <a:bodyPr wrap="square" rtlCol="0">
            <a:spAutoFit/>
          </a:bodyPr>
          <a:lstStyle/>
          <a:p>
            <a:r>
              <a:rPr lang="fr-CA"/>
              <a:t>Vaccination pneumocoque et grippe (R42)</a:t>
            </a:r>
          </a:p>
        </p:txBody>
      </p:sp>
      <p:sp>
        <p:nvSpPr>
          <p:cNvPr id="10" name="ZoneTexte 9">
            <a:extLst>
              <a:ext uri="{FF2B5EF4-FFF2-40B4-BE49-F238E27FC236}">
                <a16:creationId xmlns:a16="http://schemas.microsoft.com/office/drawing/2014/main" id="{27E177FF-EA69-9831-E061-8E8B3B942E53}"/>
              </a:ext>
            </a:extLst>
          </p:cNvPr>
          <p:cNvSpPr txBox="1"/>
          <p:nvPr>
            <p:custDataLst>
              <p:tags r:id="rId10"/>
            </p:custDataLst>
          </p:nvPr>
        </p:nvSpPr>
        <p:spPr>
          <a:xfrm>
            <a:off x="7628731" y="3442489"/>
            <a:ext cx="1440160" cy="923330"/>
          </a:xfrm>
          <a:prstGeom prst="rect">
            <a:avLst/>
          </a:prstGeom>
          <a:noFill/>
        </p:spPr>
        <p:txBody>
          <a:bodyPr wrap="square" rtlCol="0">
            <a:spAutoFit/>
          </a:bodyPr>
          <a:lstStyle/>
          <a:p>
            <a:r>
              <a:rPr lang="fr-CA"/>
              <a:t>Opinion d’amorce pour un CSI</a:t>
            </a:r>
          </a:p>
        </p:txBody>
      </p:sp>
      <p:pic>
        <p:nvPicPr>
          <p:cNvPr id="12" name="Graphique 11" descr="Brainstorming contour">
            <a:extLst>
              <a:ext uri="{FF2B5EF4-FFF2-40B4-BE49-F238E27FC236}">
                <a16:creationId xmlns:a16="http://schemas.microsoft.com/office/drawing/2014/main" id="{9396BCCA-9B4A-043E-F1C6-C4529181102B}"/>
              </a:ext>
            </a:extLst>
          </p:cNvPr>
          <p:cNvPicPr>
            <a:picLocks noChangeAspect="1"/>
          </p:cNvPicPr>
          <p:nvPr>
            <p:custDataLst>
              <p:tags r:id="rId11"/>
            </p:custDataLst>
          </p:nvPr>
        </p:nvPicPr>
        <p:blipFill>
          <a:blip r:embed="rId21">
            <a:extLst>
              <a:ext uri="{96DAC541-7B7A-43D3-8B79-37D633B846F1}">
                <asvg:svgBlip xmlns:asvg="http://schemas.microsoft.com/office/drawing/2016/SVG/main" r:embed="rId22"/>
              </a:ext>
            </a:extLst>
          </a:blip>
          <a:stretch>
            <a:fillRect/>
          </a:stretch>
        </p:blipFill>
        <p:spPr>
          <a:xfrm>
            <a:off x="423204" y="3367778"/>
            <a:ext cx="914400" cy="914400"/>
          </a:xfrm>
          <a:prstGeom prst="rect">
            <a:avLst/>
          </a:prstGeom>
        </p:spPr>
      </p:pic>
      <p:pic>
        <p:nvPicPr>
          <p:cNvPr id="18" name="Graphique 17" descr="Un visage souriant">
            <a:extLst>
              <a:ext uri="{FF2B5EF4-FFF2-40B4-BE49-F238E27FC236}">
                <a16:creationId xmlns:a16="http://schemas.microsoft.com/office/drawing/2014/main" id="{0D0F349C-3DFC-0DF5-29AD-0620D8EE0855}"/>
              </a:ext>
            </a:extLst>
          </p:cNvPr>
          <p:cNvPicPr>
            <a:picLocks noChangeAspect="1"/>
          </p:cNvPicPr>
          <p:nvPr>
            <p:custDataLst>
              <p:tags r:id="rId12"/>
            </p:custDataLst>
          </p:nvPr>
        </p:nvPicPr>
        <p:blipFill>
          <a:blip r:embed="rId23">
            <a:extLst>
              <a:ext uri="{96DAC541-7B7A-43D3-8B79-37D633B846F1}">
                <asvg:svgBlip xmlns:asvg="http://schemas.microsoft.com/office/drawing/2016/SVG/main" r:embed="rId24"/>
              </a:ext>
            </a:extLst>
          </a:blip>
          <a:stretch>
            <a:fillRect/>
          </a:stretch>
        </p:blipFill>
        <p:spPr>
          <a:xfrm>
            <a:off x="9780440" y="3479474"/>
            <a:ext cx="674704" cy="695788"/>
          </a:xfrm>
          <a:prstGeom prst="rect">
            <a:avLst/>
          </a:prstGeom>
        </p:spPr>
      </p:pic>
      <p:sp>
        <p:nvSpPr>
          <p:cNvPr id="11" name="ZoneTexte 10">
            <a:extLst>
              <a:ext uri="{FF2B5EF4-FFF2-40B4-BE49-F238E27FC236}">
                <a16:creationId xmlns:a16="http://schemas.microsoft.com/office/drawing/2014/main" id="{F4332395-3701-A7CB-02BD-1B4B0862E700}"/>
              </a:ext>
            </a:extLst>
          </p:cNvPr>
          <p:cNvSpPr txBox="1"/>
          <p:nvPr>
            <p:custDataLst>
              <p:tags r:id="rId13"/>
            </p:custDataLst>
          </p:nvPr>
        </p:nvSpPr>
        <p:spPr>
          <a:xfrm>
            <a:off x="3143672" y="5291816"/>
            <a:ext cx="1563613" cy="923330"/>
          </a:xfrm>
          <a:prstGeom prst="rect">
            <a:avLst/>
          </a:prstGeom>
          <a:noFill/>
        </p:spPr>
        <p:txBody>
          <a:bodyPr wrap="square" lIns="91440" tIns="45720" rIns="91440" bIns="45720" rtlCol="0" anchor="t">
            <a:spAutoFit/>
          </a:bodyPr>
          <a:lstStyle/>
          <a:p>
            <a:r>
              <a:rPr lang="fr-CA" b="1">
                <a:solidFill>
                  <a:schemeClr val="bg1"/>
                </a:solidFill>
              </a:rPr>
              <a:t>Rencontre initiale : </a:t>
            </a:r>
            <a:endParaRPr lang="fr-FR">
              <a:solidFill>
                <a:schemeClr val="bg1"/>
              </a:solidFill>
            </a:endParaRPr>
          </a:p>
          <a:p>
            <a:r>
              <a:rPr lang="fr-CA" b="1">
                <a:solidFill>
                  <a:schemeClr val="bg1"/>
                </a:solidFill>
              </a:rPr>
              <a:t>19,26 $</a:t>
            </a:r>
            <a:endParaRPr lang="fr-CA">
              <a:solidFill>
                <a:schemeClr val="bg1"/>
              </a:solidFill>
            </a:endParaRPr>
          </a:p>
        </p:txBody>
      </p:sp>
      <p:sp>
        <p:nvSpPr>
          <p:cNvPr id="13" name="ZoneTexte 12">
            <a:extLst>
              <a:ext uri="{FF2B5EF4-FFF2-40B4-BE49-F238E27FC236}">
                <a16:creationId xmlns:a16="http://schemas.microsoft.com/office/drawing/2014/main" id="{9E1FD80B-3DFD-67A5-F720-0F5FAFA175DC}"/>
              </a:ext>
            </a:extLst>
          </p:cNvPr>
          <p:cNvSpPr txBox="1"/>
          <p:nvPr>
            <p:custDataLst>
              <p:tags r:id="rId14"/>
            </p:custDataLst>
          </p:nvPr>
        </p:nvSpPr>
        <p:spPr>
          <a:xfrm>
            <a:off x="4755345" y="5291340"/>
            <a:ext cx="1317222" cy="646331"/>
          </a:xfrm>
          <a:prstGeom prst="rect">
            <a:avLst/>
          </a:prstGeom>
          <a:noFill/>
        </p:spPr>
        <p:txBody>
          <a:bodyPr wrap="square" rtlCol="0">
            <a:spAutoFit/>
          </a:bodyPr>
          <a:lstStyle/>
          <a:p>
            <a:r>
              <a:rPr lang="fr-CA" b="1">
                <a:solidFill>
                  <a:schemeClr val="bg1"/>
                </a:solidFill>
              </a:rPr>
              <a:t>Amorce : 19,89 $</a:t>
            </a:r>
          </a:p>
        </p:txBody>
      </p:sp>
      <p:sp>
        <p:nvSpPr>
          <p:cNvPr id="14" name="ZoneTexte 13">
            <a:extLst>
              <a:ext uri="{FF2B5EF4-FFF2-40B4-BE49-F238E27FC236}">
                <a16:creationId xmlns:a16="http://schemas.microsoft.com/office/drawing/2014/main" id="{D17C43CC-0D9E-99F6-9557-E6F077D47306}"/>
              </a:ext>
            </a:extLst>
          </p:cNvPr>
          <p:cNvSpPr txBox="1"/>
          <p:nvPr>
            <p:custDataLst>
              <p:tags r:id="rId15"/>
            </p:custDataLst>
          </p:nvPr>
        </p:nvSpPr>
        <p:spPr>
          <a:xfrm>
            <a:off x="1142890" y="5472080"/>
            <a:ext cx="1287490" cy="646331"/>
          </a:xfrm>
          <a:prstGeom prst="rect">
            <a:avLst/>
          </a:prstGeom>
          <a:noFill/>
        </p:spPr>
        <p:txBody>
          <a:bodyPr wrap="square" rtlCol="0">
            <a:spAutoFit/>
          </a:bodyPr>
          <a:lstStyle/>
          <a:p>
            <a:r>
              <a:rPr lang="fr-CA" b="1">
                <a:solidFill>
                  <a:schemeClr val="tx2"/>
                </a:solidFill>
              </a:rPr>
              <a:t>Rappel des tarifs:</a:t>
            </a:r>
          </a:p>
        </p:txBody>
      </p:sp>
      <p:sp>
        <p:nvSpPr>
          <p:cNvPr id="15" name="ZoneTexte 14">
            <a:extLst>
              <a:ext uri="{FF2B5EF4-FFF2-40B4-BE49-F238E27FC236}">
                <a16:creationId xmlns:a16="http://schemas.microsoft.com/office/drawing/2014/main" id="{164CDA1D-305A-EEF2-5994-E47728BC5063}"/>
              </a:ext>
            </a:extLst>
          </p:cNvPr>
          <p:cNvSpPr txBox="1"/>
          <p:nvPr>
            <p:custDataLst>
              <p:tags r:id="rId16"/>
            </p:custDataLst>
          </p:nvPr>
        </p:nvSpPr>
        <p:spPr>
          <a:xfrm>
            <a:off x="6116563" y="5289497"/>
            <a:ext cx="1715414" cy="1200329"/>
          </a:xfrm>
          <a:prstGeom prst="rect">
            <a:avLst/>
          </a:prstGeom>
          <a:noFill/>
        </p:spPr>
        <p:txBody>
          <a:bodyPr wrap="square" rtlCol="0">
            <a:spAutoFit/>
          </a:bodyPr>
          <a:lstStyle/>
          <a:p>
            <a:r>
              <a:rPr lang="fr-CA" b="1">
                <a:solidFill>
                  <a:schemeClr val="bg1"/>
                </a:solidFill>
              </a:rPr>
              <a:t>Vaccination par le pharmacien : 17,26 $</a:t>
            </a:r>
          </a:p>
        </p:txBody>
      </p:sp>
      <p:sp>
        <p:nvSpPr>
          <p:cNvPr id="16" name="ZoneTexte 15">
            <a:extLst>
              <a:ext uri="{FF2B5EF4-FFF2-40B4-BE49-F238E27FC236}">
                <a16:creationId xmlns:a16="http://schemas.microsoft.com/office/drawing/2014/main" id="{A095EB53-ADC1-5417-6F31-E2B0F277442B}"/>
              </a:ext>
            </a:extLst>
          </p:cNvPr>
          <p:cNvSpPr txBox="1"/>
          <p:nvPr>
            <p:custDataLst>
              <p:tags r:id="rId17"/>
            </p:custDataLst>
          </p:nvPr>
        </p:nvSpPr>
        <p:spPr>
          <a:xfrm>
            <a:off x="7875973" y="5321194"/>
            <a:ext cx="1563613" cy="646331"/>
          </a:xfrm>
          <a:prstGeom prst="rect">
            <a:avLst/>
          </a:prstGeom>
          <a:noFill/>
        </p:spPr>
        <p:txBody>
          <a:bodyPr wrap="square" rtlCol="0">
            <a:spAutoFit/>
          </a:bodyPr>
          <a:lstStyle/>
          <a:p>
            <a:r>
              <a:rPr lang="fr-CA" b="1">
                <a:solidFill>
                  <a:schemeClr val="bg1"/>
                </a:solidFill>
              </a:rPr>
              <a:t>Opinion : 24,60 $</a:t>
            </a:r>
          </a:p>
        </p:txBody>
      </p:sp>
    </p:spTree>
    <p:extLst>
      <p:ext uri="{BB962C8B-B14F-4D97-AF65-F5344CB8AC3E}">
        <p14:creationId xmlns:p14="http://schemas.microsoft.com/office/powerpoint/2010/main" val="9006919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F4ABA-6007-99EB-0EDB-B00C144415FE}"/>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17406B9F-E93F-602B-2B6C-1C9A7B957B6D}"/>
              </a:ext>
            </a:extLst>
          </p:cNvPr>
          <p:cNvSpPr>
            <a:spLocks noGrp="1"/>
          </p:cNvSpPr>
          <p:nvPr>
            <p:ph type="title"/>
            <p:custDataLst>
              <p:tags r:id="rId1"/>
            </p:custDataLst>
          </p:nvPr>
        </p:nvSpPr>
        <p:spPr>
          <a:xfrm>
            <a:off x="609600" y="533401"/>
            <a:ext cx="3498937" cy="990600"/>
          </a:xfrm>
        </p:spPr>
        <p:txBody>
          <a:bodyPr/>
          <a:lstStyle/>
          <a:p>
            <a:r>
              <a:rPr lang="fr-CA" sz="3200" dirty="0"/>
              <a:t>Pistes d’optimisation</a:t>
            </a:r>
          </a:p>
        </p:txBody>
      </p:sp>
      <p:sp>
        <p:nvSpPr>
          <p:cNvPr id="6" name="Espace réservé du texte 5">
            <a:extLst>
              <a:ext uri="{FF2B5EF4-FFF2-40B4-BE49-F238E27FC236}">
                <a16:creationId xmlns:a16="http://schemas.microsoft.com/office/drawing/2014/main" id="{81E20D68-A3A4-170A-B208-A52D001EE130}"/>
              </a:ext>
            </a:extLst>
          </p:cNvPr>
          <p:cNvSpPr>
            <a:spLocks noGrp="1"/>
          </p:cNvSpPr>
          <p:nvPr>
            <p:ph type="body" sz="quarter" idx="12"/>
            <p:custDataLst>
              <p:tags r:id="rId2"/>
            </p:custDataLst>
          </p:nvPr>
        </p:nvSpPr>
        <p:spPr>
          <a:xfrm>
            <a:off x="609600" y="2334336"/>
            <a:ext cx="2722759" cy="2417630"/>
          </a:xfrm>
        </p:spPr>
        <p:txBody>
          <a:bodyPr anchor="ctr"/>
          <a:lstStyle/>
          <a:p>
            <a:pPr>
              <a:lnSpc>
                <a:spcPct val="150000"/>
              </a:lnSpc>
            </a:pPr>
            <a:r>
              <a:rPr lang="fr-CA" dirty="0"/>
              <a:t>Prendre conscience de nos </a:t>
            </a:r>
            <a:r>
              <a:rPr lang="fr-CA" dirty="0">
                <a:solidFill>
                  <a:schemeClr val="accent1"/>
                </a:solidFill>
              </a:rPr>
              <a:t>ressources actuelles</a:t>
            </a:r>
            <a:r>
              <a:rPr lang="fr-CA" dirty="0"/>
              <a:t>, les optimiser dès maintenant, afin d’être prêts à faire le saut au déploiement du PL67.</a:t>
            </a:r>
          </a:p>
        </p:txBody>
      </p:sp>
      <p:sp>
        <p:nvSpPr>
          <p:cNvPr id="2" name="Espace réservé du pied de page 1">
            <a:extLst>
              <a:ext uri="{FF2B5EF4-FFF2-40B4-BE49-F238E27FC236}">
                <a16:creationId xmlns:a16="http://schemas.microsoft.com/office/drawing/2014/main" id="{71AE4E51-C251-AE2D-5B54-9C8697532347}"/>
              </a:ext>
            </a:extLst>
          </p:cNvPr>
          <p:cNvSpPr>
            <a:spLocks noGrp="1"/>
          </p:cNvSpPr>
          <p:nvPr>
            <p:ph type="ftr" sz="quarter" idx="10"/>
            <p:custDataLst>
              <p:tags r:id="rId3"/>
            </p:custDataLst>
          </p:nvPr>
        </p:nvSpPr>
        <p:spPr/>
        <p:txBody>
          <a:bodyPr/>
          <a:lstStyle/>
          <a:p>
            <a:pPr algn="l"/>
            <a:r>
              <a:rPr lang="fr-CA"/>
              <a:t>AQPP  |  Du patient à l'entente</a:t>
            </a:r>
            <a:endParaRPr lang="en-US"/>
          </a:p>
        </p:txBody>
      </p:sp>
      <p:sp>
        <p:nvSpPr>
          <p:cNvPr id="3" name="Espace réservé du numéro de diapositive 2">
            <a:extLst>
              <a:ext uri="{FF2B5EF4-FFF2-40B4-BE49-F238E27FC236}">
                <a16:creationId xmlns:a16="http://schemas.microsoft.com/office/drawing/2014/main" id="{EEEDF61F-6EC2-33A8-3342-5258CC49F4AF}"/>
              </a:ext>
            </a:extLst>
          </p:cNvPr>
          <p:cNvSpPr>
            <a:spLocks noGrp="1"/>
          </p:cNvSpPr>
          <p:nvPr>
            <p:ph type="sldNum" sz="quarter" idx="11"/>
            <p:custDataLst>
              <p:tags r:id="rId4"/>
            </p:custDataLst>
          </p:nvPr>
        </p:nvSpPr>
        <p:spPr/>
        <p:txBody>
          <a:bodyPr/>
          <a:lstStyle/>
          <a:p>
            <a:fld id="{91882AA3-08DC-0043-8CA8-8CA69DA2397E}" type="slidenum">
              <a:rPr lang="en-US" smtClean="0"/>
              <a:pPr/>
              <a:t>51</a:t>
            </a:fld>
            <a:endParaRPr lang="en-US"/>
          </a:p>
        </p:txBody>
      </p:sp>
      <p:pic>
        <p:nvPicPr>
          <p:cNvPr id="13" name="Image 12">
            <a:extLst>
              <a:ext uri="{FF2B5EF4-FFF2-40B4-BE49-F238E27FC236}">
                <a16:creationId xmlns:a16="http://schemas.microsoft.com/office/drawing/2014/main" id="{0C713167-39AB-1C19-90DC-55A7B71E42D2}"/>
              </a:ext>
            </a:extLst>
          </p:cNvPr>
          <p:cNvPicPr>
            <a:picLocks noChangeAspect="1"/>
          </p:cNvPicPr>
          <p:nvPr>
            <p:custDataLst>
              <p:tags r:id="rId5"/>
            </p:custDataLst>
          </p:nvPr>
        </p:nvPicPr>
        <p:blipFill>
          <a:blip r:embed="rId10"/>
          <a:stretch>
            <a:fillRect/>
          </a:stretch>
        </p:blipFill>
        <p:spPr>
          <a:xfrm>
            <a:off x="3507288" y="526801"/>
            <a:ext cx="8509782" cy="6032701"/>
          </a:xfrm>
          <a:prstGeom prst="rect">
            <a:avLst/>
          </a:prstGeom>
        </p:spPr>
      </p:pic>
      <p:sp>
        <p:nvSpPr>
          <p:cNvPr id="9" name="Rectangle 8">
            <a:extLst>
              <a:ext uri="{FF2B5EF4-FFF2-40B4-BE49-F238E27FC236}">
                <a16:creationId xmlns:a16="http://schemas.microsoft.com/office/drawing/2014/main" id="{4DE00D59-6BF1-7765-CC04-A47BA16505C1}"/>
              </a:ext>
            </a:extLst>
          </p:cNvPr>
          <p:cNvSpPr/>
          <p:nvPr>
            <p:custDataLst>
              <p:tags r:id="rId6"/>
            </p:custDataLst>
          </p:nvPr>
        </p:nvSpPr>
        <p:spPr>
          <a:xfrm>
            <a:off x="10742829" y="1738836"/>
            <a:ext cx="1224136" cy="648072"/>
          </a:xfrm>
          <a:prstGeom prst="rect">
            <a:avLst/>
          </a:prstGeom>
          <a:noFill/>
          <a:ln>
            <a:solidFill>
              <a:schemeClr val="accent5"/>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CA"/>
          </a:p>
        </p:txBody>
      </p:sp>
      <p:sp>
        <p:nvSpPr>
          <p:cNvPr id="15" name="ZoneTexte 14">
            <a:extLst>
              <a:ext uri="{FF2B5EF4-FFF2-40B4-BE49-F238E27FC236}">
                <a16:creationId xmlns:a16="http://schemas.microsoft.com/office/drawing/2014/main" id="{D448608D-CC0E-C154-4A13-29D02A28ECA5}"/>
              </a:ext>
            </a:extLst>
          </p:cNvPr>
          <p:cNvSpPr txBox="1"/>
          <p:nvPr>
            <p:custDataLst>
              <p:tags r:id="rId7"/>
            </p:custDataLst>
          </p:nvPr>
        </p:nvSpPr>
        <p:spPr>
          <a:xfrm>
            <a:off x="6461337" y="6545590"/>
            <a:ext cx="6096000" cy="261610"/>
          </a:xfrm>
          <a:prstGeom prst="rect">
            <a:avLst/>
          </a:prstGeom>
          <a:noFill/>
        </p:spPr>
        <p:txBody>
          <a:bodyPr wrap="square">
            <a:spAutoFit/>
          </a:bodyPr>
          <a:lstStyle/>
          <a:p>
            <a:r>
              <a:rPr lang="fr-CA" sz="1100" dirty="0"/>
              <a:t>Crédit : CRESCENDO PHARMA</a:t>
            </a:r>
          </a:p>
        </p:txBody>
      </p:sp>
    </p:spTree>
    <p:extLst>
      <p:ext uri="{BB962C8B-B14F-4D97-AF65-F5344CB8AC3E}">
        <p14:creationId xmlns:p14="http://schemas.microsoft.com/office/powerpoint/2010/main" val="2435445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F96D5F-FB13-6754-EA0A-5BBD4B98459E}"/>
              </a:ext>
            </a:extLst>
          </p:cNvPr>
          <p:cNvSpPr>
            <a:spLocks noGrp="1"/>
          </p:cNvSpPr>
          <p:nvPr>
            <p:ph type="title"/>
            <p:custDataLst>
              <p:tags r:id="rId1"/>
            </p:custDataLst>
          </p:nvPr>
        </p:nvSpPr>
        <p:spPr/>
        <p:txBody>
          <a:bodyPr/>
          <a:lstStyle/>
          <a:p>
            <a:r>
              <a:rPr lang="fr-CA"/>
              <a:t>En conclusion</a:t>
            </a:r>
          </a:p>
        </p:txBody>
      </p:sp>
      <p:sp>
        <p:nvSpPr>
          <p:cNvPr id="3" name="Espace réservé du pied de page 2">
            <a:extLst>
              <a:ext uri="{FF2B5EF4-FFF2-40B4-BE49-F238E27FC236}">
                <a16:creationId xmlns:a16="http://schemas.microsoft.com/office/drawing/2014/main" id="{A43D168F-A085-65C2-11ED-FA0F94092F9B}"/>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2D6162A1-F3E0-6AAE-D966-77E72C94E14D}"/>
              </a:ext>
            </a:extLst>
          </p:cNvPr>
          <p:cNvSpPr>
            <a:spLocks noGrp="1"/>
          </p:cNvSpPr>
          <p:nvPr>
            <p:ph type="sldNum" sz="quarter" idx="11"/>
            <p:custDataLst>
              <p:tags r:id="rId3"/>
            </p:custDataLst>
          </p:nvPr>
        </p:nvSpPr>
        <p:spPr/>
        <p:txBody>
          <a:bodyPr/>
          <a:lstStyle/>
          <a:p>
            <a:fld id="{91882AA3-08DC-0043-8CA8-8CA69DA2397E}" type="slidenum">
              <a:rPr lang="en-US" smtClean="0"/>
              <a:pPr/>
              <a:t>52</a:t>
            </a:fld>
            <a:endParaRPr lang="en-US"/>
          </a:p>
        </p:txBody>
      </p:sp>
      <p:sp>
        <p:nvSpPr>
          <p:cNvPr id="5" name="Espace réservé du texte 4">
            <a:extLst>
              <a:ext uri="{FF2B5EF4-FFF2-40B4-BE49-F238E27FC236}">
                <a16:creationId xmlns:a16="http://schemas.microsoft.com/office/drawing/2014/main" id="{4F73CEED-EB7A-6AA1-409B-BF04D079E1FF}"/>
              </a:ext>
            </a:extLst>
          </p:cNvPr>
          <p:cNvSpPr>
            <a:spLocks noGrp="1"/>
          </p:cNvSpPr>
          <p:nvPr>
            <p:ph type="body" sz="quarter" idx="12"/>
            <p:custDataLst>
              <p:tags r:id="rId4"/>
            </p:custDataLst>
          </p:nvPr>
        </p:nvSpPr>
        <p:spPr/>
        <p:txBody>
          <a:bodyPr lIns="0" tIns="0" rIns="0" bIns="0" anchor="t"/>
          <a:lstStyle/>
          <a:p>
            <a:pPr algn="l"/>
            <a:r>
              <a:rPr lang="fr-CA" sz="2400" b="0" i="0">
                <a:solidFill>
                  <a:srgbClr val="424242"/>
                </a:solidFill>
                <a:effectLst/>
                <a:latin typeface="Arial"/>
                <a:cs typeface="Arial"/>
              </a:rPr>
              <a:t>Continuons de protéger notre modèle unique</a:t>
            </a:r>
            <a:r>
              <a:rPr lang="fr-CA" sz="2400">
                <a:solidFill>
                  <a:srgbClr val="424242"/>
                </a:solidFill>
                <a:latin typeface="Arial"/>
                <a:cs typeface="Arial"/>
              </a:rPr>
              <a:t>!</a:t>
            </a:r>
            <a:endParaRPr lang="fr-CA" sz="2400" b="0" i="0">
              <a:solidFill>
                <a:srgbClr val="424242"/>
              </a:solidFill>
              <a:effectLst/>
              <a:highlight>
                <a:srgbClr val="FFFF00"/>
              </a:highlight>
              <a:latin typeface="Arial"/>
              <a:cs typeface="Arial"/>
            </a:endParaRPr>
          </a:p>
          <a:p>
            <a:pPr algn="l"/>
            <a:r>
              <a:rPr lang="fr-CA" sz="2400">
                <a:solidFill>
                  <a:srgbClr val="424242"/>
                </a:solidFill>
                <a:latin typeface="Arial"/>
                <a:cs typeface="Arial"/>
              </a:rPr>
              <a:t>Ayons confiance en nos capacités et en notre jugement professionnel!</a:t>
            </a:r>
          </a:p>
          <a:p>
            <a:endParaRPr lang="fr-CA"/>
          </a:p>
        </p:txBody>
      </p:sp>
    </p:spTree>
    <p:extLst>
      <p:ext uri="{BB962C8B-B14F-4D97-AF65-F5344CB8AC3E}">
        <p14:creationId xmlns:p14="http://schemas.microsoft.com/office/powerpoint/2010/main" val="922600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945A6-E747-AA3C-DAA3-9D78661A9B7C}"/>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46DB035-A706-BBF8-5A34-DFA488FABD2E}"/>
              </a:ext>
            </a:extLst>
          </p:cNvPr>
          <p:cNvSpPr>
            <a:spLocks noGrp="1"/>
          </p:cNvSpPr>
          <p:nvPr>
            <p:ph type="title"/>
            <p:custDataLst>
              <p:tags r:id="rId1"/>
            </p:custDataLst>
          </p:nvPr>
        </p:nvSpPr>
        <p:spPr/>
        <p:txBody>
          <a:bodyPr/>
          <a:lstStyle/>
          <a:p>
            <a:r>
              <a:rPr lang="fr-CA"/>
              <a:t>Outils sur monpharmacien.ca</a:t>
            </a:r>
          </a:p>
        </p:txBody>
      </p:sp>
      <p:sp>
        <p:nvSpPr>
          <p:cNvPr id="3" name="Espace réservé du pied de page 2">
            <a:extLst>
              <a:ext uri="{FF2B5EF4-FFF2-40B4-BE49-F238E27FC236}">
                <a16:creationId xmlns:a16="http://schemas.microsoft.com/office/drawing/2014/main" id="{AFA47ECD-C07D-C9B7-2CAC-F69E6210CE61}"/>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4B7775C1-9A04-3FC0-DC9B-69D30035B751}"/>
              </a:ext>
            </a:extLst>
          </p:cNvPr>
          <p:cNvSpPr>
            <a:spLocks noGrp="1"/>
          </p:cNvSpPr>
          <p:nvPr>
            <p:ph type="sldNum" sz="quarter" idx="11"/>
            <p:custDataLst>
              <p:tags r:id="rId3"/>
            </p:custDataLst>
          </p:nvPr>
        </p:nvSpPr>
        <p:spPr/>
        <p:txBody>
          <a:bodyPr/>
          <a:lstStyle/>
          <a:p>
            <a:fld id="{91882AA3-08DC-0043-8CA8-8CA69DA2397E}" type="slidenum">
              <a:rPr lang="en-US" smtClean="0"/>
              <a:pPr/>
              <a:t>53</a:t>
            </a:fld>
            <a:endParaRPr lang="en-US"/>
          </a:p>
        </p:txBody>
      </p:sp>
      <p:pic>
        <p:nvPicPr>
          <p:cNvPr id="7" name="Image 6">
            <a:extLst>
              <a:ext uri="{FF2B5EF4-FFF2-40B4-BE49-F238E27FC236}">
                <a16:creationId xmlns:a16="http://schemas.microsoft.com/office/drawing/2014/main" id="{B9E7E7C8-8D35-91B2-039A-8756E964F6C0}"/>
              </a:ext>
            </a:extLst>
          </p:cNvPr>
          <p:cNvPicPr>
            <a:picLocks noChangeAspect="1"/>
          </p:cNvPicPr>
          <p:nvPr>
            <p:custDataLst>
              <p:tags r:id="rId4"/>
            </p:custDataLst>
          </p:nvPr>
        </p:nvPicPr>
        <p:blipFill>
          <a:blip r:embed="rId13"/>
          <a:stretch>
            <a:fillRect/>
          </a:stretch>
        </p:blipFill>
        <p:spPr>
          <a:xfrm>
            <a:off x="4032566" y="2505871"/>
            <a:ext cx="3009762" cy="2099117"/>
          </a:xfrm>
          <a:prstGeom prst="rect">
            <a:avLst/>
          </a:prstGeom>
        </p:spPr>
      </p:pic>
      <p:pic>
        <p:nvPicPr>
          <p:cNvPr id="11" name="Image 10">
            <a:extLst>
              <a:ext uri="{FF2B5EF4-FFF2-40B4-BE49-F238E27FC236}">
                <a16:creationId xmlns:a16="http://schemas.microsoft.com/office/drawing/2014/main" id="{2A6545CE-C5E1-539D-57D8-B4695F899C42}"/>
              </a:ext>
            </a:extLst>
          </p:cNvPr>
          <p:cNvPicPr>
            <a:picLocks noChangeAspect="1"/>
          </p:cNvPicPr>
          <p:nvPr>
            <p:custDataLst>
              <p:tags r:id="rId5"/>
            </p:custDataLst>
          </p:nvPr>
        </p:nvPicPr>
        <p:blipFill>
          <a:blip r:embed="rId14"/>
          <a:stretch>
            <a:fillRect/>
          </a:stretch>
        </p:blipFill>
        <p:spPr>
          <a:xfrm>
            <a:off x="407368" y="1005054"/>
            <a:ext cx="2838854" cy="3795670"/>
          </a:xfrm>
          <a:prstGeom prst="rect">
            <a:avLst/>
          </a:prstGeom>
        </p:spPr>
      </p:pic>
      <p:pic>
        <p:nvPicPr>
          <p:cNvPr id="9" name="Image 8">
            <a:extLst>
              <a:ext uri="{FF2B5EF4-FFF2-40B4-BE49-F238E27FC236}">
                <a16:creationId xmlns:a16="http://schemas.microsoft.com/office/drawing/2014/main" id="{9CF6C66B-E2B7-7D6E-7908-DD38C1ADD1D6}"/>
              </a:ext>
            </a:extLst>
          </p:cNvPr>
          <p:cNvPicPr>
            <a:picLocks noChangeAspect="1"/>
          </p:cNvPicPr>
          <p:nvPr>
            <p:custDataLst>
              <p:tags r:id="rId6"/>
            </p:custDataLst>
          </p:nvPr>
        </p:nvPicPr>
        <p:blipFill>
          <a:blip r:embed="rId15"/>
          <a:stretch>
            <a:fillRect/>
          </a:stretch>
        </p:blipFill>
        <p:spPr>
          <a:xfrm>
            <a:off x="1343472" y="2099310"/>
            <a:ext cx="2739124" cy="3649981"/>
          </a:xfrm>
          <a:prstGeom prst="rect">
            <a:avLst/>
          </a:prstGeom>
        </p:spPr>
      </p:pic>
      <p:pic>
        <p:nvPicPr>
          <p:cNvPr id="13" name="Image 12">
            <a:extLst>
              <a:ext uri="{FF2B5EF4-FFF2-40B4-BE49-F238E27FC236}">
                <a16:creationId xmlns:a16="http://schemas.microsoft.com/office/drawing/2014/main" id="{5C1FC4FB-DE8F-CF65-3A7B-541FE4056CB0}"/>
              </a:ext>
            </a:extLst>
          </p:cNvPr>
          <p:cNvPicPr>
            <a:picLocks noChangeAspect="1"/>
          </p:cNvPicPr>
          <p:nvPr>
            <p:custDataLst>
              <p:tags r:id="rId7"/>
            </p:custDataLst>
          </p:nvPr>
        </p:nvPicPr>
        <p:blipFill>
          <a:blip r:embed="rId16"/>
          <a:stretch>
            <a:fillRect/>
          </a:stretch>
        </p:blipFill>
        <p:spPr>
          <a:xfrm>
            <a:off x="5409808" y="3999169"/>
            <a:ext cx="3009762" cy="2162794"/>
          </a:xfrm>
          <a:prstGeom prst="rect">
            <a:avLst/>
          </a:prstGeom>
        </p:spPr>
      </p:pic>
      <p:pic>
        <p:nvPicPr>
          <p:cNvPr id="15" name="Image 14">
            <a:extLst>
              <a:ext uri="{FF2B5EF4-FFF2-40B4-BE49-F238E27FC236}">
                <a16:creationId xmlns:a16="http://schemas.microsoft.com/office/drawing/2014/main" id="{433D4490-920E-9C92-887E-138DD9C14BB9}"/>
              </a:ext>
            </a:extLst>
          </p:cNvPr>
          <p:cNvPicPr>
            <a:picLocks noChangeAspect="1"/>
          </p:cNvPicPr>
          <p:nvPr>
            <p:custDataLst>
              <p:tags r:id="rId8"/>
            </p:custDataLst>
          </p:nvPr>
        </p:nvPicPr>
        <p:blipFill>
          <a:blip r:embed="rId17"/>
          <a:srcRect l="-1" t="2468" r="3565"/>
          <a:stretch>
            <a:fillRect/>
          </a:stretch>
        </p:blipFill>
        <p:spPr>
          <a:xfrm>
            <a:off x="8943698" y="2141257"/>
            <a:ext cx="2880000" cy="3976033"/>
          </a:xfrm>
          <a:prstGeom prst="rect">
            <a:avLst/>
          </a:prstGeom>
        </p:spPr>
      </p:pic>
      <p:pic>
        <p:nvPicPr>
          <p:cNvPr id="17" name="Image 16">
            <a:extLst>
              <a:ext uri="{FF2B5EF4-FFF2-40B4-BE49-F238E27FC236}">
                <a16:creationId xmlns:a16="http://schemas.microsoft.com/office/drawing/2014/main" id="{6214FD1C-A538-EDFA-CBA9-A2A7D97560D5}"/>
              </a:ext>
            </a:extLst>
          </p:cNvPr>
          <p:cNvPicPr>
            <a:picLocks noChangeAspect="1"/>
          </p:cNvPicPr>
          <p:nvPr>
            <p:custDataLst>
              <p:tags r:id="rId9"/>
            </p:custDataLst>
          </p:nvPr>
        </p:nvPicPr>
        <p:blipFill>
          <a:blip r:embed="rId18"/>
          <a:stretch>
            <a:fillRect/>
          </a:stretch>
        </p:blipFill>
        <p:spPr>
          <a:xfrm>
            <a:off x="6934562" y="812446"/>
            <a:ext cx="1639957" cy="1649632"/>
          </a:xfrm>
          <a:prstGeom prst="rect">
            <a:avLst/>
          </a:prstGeom>
        </p:spPr>
      </p:pic>
      <p:grpSp>
        <p:nvGrpSpPr>
          <p:cNvPr id="10" name="Groupe 9">
            <a:extLst>
              <a:ext uri="{FF2B5EF4-FFF2-40B4-BE49-F238E27FC236}">
                <a16:creationId xmlns:a16="http://schemas.microsoft.com/office/drawing/2014/main" id="{1E904E63-5CB8-CCBD-B330-96F2ABD43337}"/>
              </a:ext>
            </a:extLst>
          </p:cNvPr>
          <p:cNvGrpSpPr>
            <a:grpSpLocks noChangeAspect="1"/>
          </p:cNvGrpSpPr>
          <p:nvPr>
            <p:custDataLst>
              <p:tags r:id="rId10"/>
            </p:custDataLst>
          </p:nvPr>
        </p:nvGrpSpPr>
        <p:grpSpPr>
          <a:xfrm>
            <a:off x="3848189" y="1028701"/>
            <a:ext cx="2438526" cy="1556081"/>
            <a:chOff x="4018494" y="1189656"/>
            <a:chExt cx="7910154" cy="5047656"/>
          </a:xfrm>
        </p:grpSpPr>
        <p:pic>
          <p:nvPicPr>
            <p:cNvPr id="6" name="Image 5">
              <a:extLst>
                <a:ext uri="{FF2B5EF4-FFF2-40B4-BE49-F238E27FC236}">
                  <a16:creationId xmlns:a16="http://schemas.microsoft.com/office/drawing/2014/main" id="{2722079D-D3CB-9334-BE29-CA656E76E21F}"/>
                </a:ext>
              </a:extLst>
            </p:cNvPr>
            <p:cNvPicPr>
              <a:picLocks noChangeAspect="1"/>
            </p:cNvPicPr>
            <p:nvPr/>
          </p:nvPicPr>
          <p:blipFill>
            <a:blip r:embed="rId19"/>
            <a:stretch>
              <a:fillRect/>
            </a:stretch>
          </p:blipFill>
          <p:spPr>
            <a:xfrm>
              <a:off x="4018494" y="1350359"/>
              <a:ext cx="7563906" cy="4782217"/>
            </a:xfrm>
            <a:prstGeom prst="rect">
              <a:avLst/>
            </a:prstGeom>
          </p:spPr>
        </p:pic>
        <p:sp>
          <p:nvSpPr>
            <p:cNvPr id="8" name="Triangle isocèle 7">
              <a:extLst>
                <a:ext uri="{FF2B5EF4-FFF2-40B4-BE49-F238E27FC236}">
                  <a16:creationId xmlns:a16="http://schemas.microsoft.com/office/drawing/2014/main" id="{FBB9680B-70F9-363A-14B8-63F333ABA3A9}"/>
                </a:ext>
              </a:extLst>
            </p:cNvPr>
            <p:cNvSpPr/>
            <p:nvPr/>
          </p:nvSpPr>
          <p:spPr>
            <a:xfrm flipV="1">
              <a:off x="9552384" y="1189656"/>
              <a:ext cx="2376264" cy="5047656"/>
            </a:xfrm>
            <a:prstGeom prst="triangle">
              <a:avLst>
                <a:gd name="adj" fmla="val 8619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grpSp>
    </p:spTree>
    <p:extLst>
      <p:ext uri="{BB962C8B-B14F-4D97-AF65-F5344CB8AC3E}">
        <p14:creationId xmlns:p14="http://schemas.microsoft.com/office/powerpoint/2010/main" val="23291013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BE84DA-1667-A3E4-3F10-47231B0C4B13}"/>
              </a:ext>
            </a:extLst>
          </p:cNvPr>
          <p:cNvSpPr>
            <a:spLocks noGrp="1"/>
          </p:cNvSpPr>
          <p:nvPr>
            <p:ph type="title"/>
            <p:custDataLst>
              <p:tags r:id="rId1"/>
            </p:custDataLst>
          </p:nvPr>
        </p:nvSpPr>
        <p:spPr>
          <a:xfrm>
            <a:off x="526033" y="2616759"/>
            <a:ext cx="3171824" cy="1905000"/>
          </a:xfrm>
        </p:spPr>
        <p:txBody>
          <a:bodyPr>
            <a:normAutofit/>
          </a:bodyPr>
          <a:lstStyle/>
          <a:p>
            <a:r>
              <a:rPr lang="fr-CA"/>
              <a:t>Abonnez-vous à nos infolettres!</a:t>
            </a:r>
          </a:p>
        </p:txBody>
      </p:sp>
      <p:sp>
        <p:nvSpPr>
          <p:cNvPr id="6" name="ZoneTexte 5">
            <a:extLst>
              <a:ext uri="{FF2B5EF4-FFF2-40B4-BE49-F238E27FC236}">
                <a16:creationId xmlns:a16="http://schemas.microsoft.com/office/drawing/2014/main" id="{28CA7286-E6BE-8D5D-A4E6-AE8DC710EB7A}"/>
              </a:ext>
            </a:extLst>
          </p:cNvPr>
          <p:cNvSpPr txBox="1"/>
          <p:nvPr>
            <p:custDataLst>
              <p:tags r:id="rId2"/>
            </p:custDataLst>
          </p:nvPr>
        </p:nvSpPr>
        <p:spPr>
          <a:xfrm>
            <a:off x="4554416" y="135791"/>
            <a:ext cx="6429142" cy="2985433"/>
          </a:xfrm>
          <a:prstGeom prst="rect">
            <a:avLst/>
          </a:prstGeom>
          <a:noFill/>
        </p:spPr>
        <p:txBody>
          <a:bodyPr wrap="square">
            <a:spAutoFit/>
          </a:bodyPr>
          <a:lstStyle/>
          <a:p>
            <a:pPr algn="l"/>
            <a:endParaRPr lang="fr-CA" sz="2400" b="0" i="0" u="none" strike="noStrike" baseline="0">
              <a:solidFill>
                <a:srgbClr val="000000"/>
              </a:solidFill>
              <a:latin typeface="Calibri" panose="020F0502020204030204" pitchFamily="34" charset="0"/>
            </a:endParaRPr>
          </a:p>
          <a:p>
            <a:r>
              <a:rPr lang="fr-CA" sz="2400" b="0" i="0" u="none" strike="noStrike" baseline="0">
                <a:solidFill>
                  <a:srgbClr val="000000"/>
                </a:solidFill>
                <a:latin typeface="Calibri" panose="020F0502020204030204" pitchFamily="34" charset="0"/>
              </a:rPr>
              <a:t> </a:t>
            </a:r>
          </a:p>
          <a:p>
            <a:r>
              <a:rPr lang="fr-CA" sz="2000" b="0" i="0" u="none" strike="noStrike" baseline="0">
                <a:solidFill>
                  <a:srgbClr val="000000"/>
                </a:solidFill>
                <a:latin typeface="+mn-lt"/>
              </a:rPr>
              <a:t>1) Rendez-vous à </a:t>
            </a:r>
            <a:r>
              <a:rPr lang="fr-CA" sz="2000" b="0" i="0" u="none" strike="noStrike" baseline="0">
                <a:solidFill>
                  <a:schemeClr val="accent1"/>
                </a:solidFill>
                <a:latin typeface="+mn-lt"/>
              </a:rPr>
              <a:t>monpharmacien.ca </a:t>
            </a:r>
            <a:r>
              <a:rPr lang="fr-CA" sz="2000" b="0" i="0" u="none" strike="noStrike" baseline="0">
                <a:solidFill>
                  <a:srgbClr val="000000"/>
                </a:solidFill>
                <a:latin typeface="+mn-lt"/>
              </a:rPr>
              <a:t>et cliquez sur l’icône « utilisateur » en haut à droite pour accéder à Mon dossier. </a:t>
            </a:r>
          </a:p>
          <a:p>
            <a:endParaRPr lang="fr-CA" sz="2000" b="0" i="0" u="none" strike="noStrike" baseline="0">
              <a:solidFill>
                <a:srgbClr val="000000"/>
              </a:solidFill>
              <a:latin typeface="+mn-lt"/>
            </a:endParaRPr>
          </a:p>
          <a:p>
            <a:r>
              <a:rPr lang="fr-CA" sz="2000" b="0" i="0" u="none" strike="noStrike" baseline="0">
                <a:solidFill>
                  <a:srgbClr val="000000"/>
                </a:solidFill>
                <a:latin typeface="+mn-lt"/>
              </a:rPr>
              <a:t>2) Sur </a:t>
            </a:r>
            <a:r>
              <a:rPr lang="fr-CA" sz="2000" b="0" i="0" u="none" strike="noStrike" baseline="0">
                <a:solidFill>
                  <a:schemeClr val="accent1"/>
                </a:solidFill>
                <a:latin typeface="+mn-lt"/>
              </a:rPr>
              <a:t>Mon dossier</a:t>
            </a:r>
            <a:r>
              <a:rPr lang="fr-CA" sz="2000" b="0" i="0" u="none" strike="noStrike" baseline="0">
                <a:solidFill>
                  <a:srgbClr val="000000"/>
                </a:solidFill>
                <a:latin typeface="+mn-lt"/>
              </a:rPr>
              <a:t>, cliquez sur « Se créer un compte » et cochez la case de consentement pour recevoir les bulletins de l’AQPP. </a:t>
            </a:r>
          </a:p>
        </p:txBody>
      </p:sp>
      <p:pic>
        <p:nvPicPr>
          <p:cNvPr id="8" name="Image 7">
            <a:extLst>
              <a:ext uri="{FF2B5EF4-FFF2-40B4-BE49-F238E27FC236}">
                <a16:creationId xmlns:a16="http://schemas.microsoft.com/office/drawing/2014/main" id="{0E0E5398-A590-3516-D060-1BB7DA05CEED}"/>
              </a:ext>
            </a:extLst>
          </p:cNvPr>
          <p:cNvPicPr>
            <a:picLocks noChangeAspect="1"/>
          </p:cNvPicPr>
          <p:nvPr>
            <p:custDataLst>
              <p:tags r:id="rId3"/>
            </p:custDataLst>
          </p:nvPr>
        </p:nvPicPr>
        <p:blipFill>
          <a:blip r:embed="rId9"/>
          <a:stretch>
            <a:fillRect/>
          </a:stretch>
        </p:blipFill>
        <p:spPr>
          <a:xfrm>
            <a:off x="4204851" y="3698486"/>
            <a:ext cx="7589785" cy="1320014"/>
          </a:xfrm>
          <a:prstGeom prst="rect">
            <a:avLst/>
          </a:prstGeom>
          <a:ln>
            <a:solidFill>
              <a:schemeClr val="accent1"/>
            </a:solidFill>
          </a:ln>
        </p:spPr>
      </p:pic>
      <p:sp>
        <p:nvSpPr>
          <p:cNvPr id="9" name="Ellipse 8">
            <a:extLst>
              <a:ext uri="{FF2B5EF4-FFF2-40B4-BE49-F238E27FC236}">
                <a16:creationId xmlns:a16="http://schemas.microsoft.com/office/drawing/2014/main" id="{01B83E13-8353-5BA1-755F-B5E04888D715}"/>
              </a:ext>
            </a:extLst>
          </p:cNvPr>
          <p:cNvSpPr/>
          <p:nvPr>
            <p:custDataLst>
              <p:tags r:id="rId4"/>
            </p:custDataLst>
          </p:nvPr>
        </p:nvSpPr>
        <p:spPr>
          <a:xfrm>
            <a:off x="11137534" y="4049486"/>
            <a:ext cx="683288" cy="472273"/>
          </a:xfrm>
          <a:prstGeom prst="ellipse">
            <a:avLst/>
          </a:prstGeom>
          <a:noFill/>
          <a:ln w="38100">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11" name="ZoneTexte 10">
            <a:extLst>
              <a:ext uri="{FF2B5EF4-FFF2-40B4-BE49-F238E27FC236}">
                <a16:creationId xmlns:a16="http://schemas.microsoft.com/office/drawing/2014/main" id="{C8D29DC8-4E4E-5D65-2A05-141761572E53}"/>
              </a:ext>
            </a:extLst>
          </p:cNvPr>
          <p:cNvSpPr txBox="1"/>
          <p:nvPr>
            <p:custDataLst>
              <p:tags r:id="rId5"/>
            </p:custDataLst>
          </p:nvPr>
        </p:nvSpPr>
        <p:spPr>
          <a:xfrm>
            <a:off x="4554416" y="5579534"/>
            <a:ext cx="6094324" cy="830997"/>
          </a:xfrm>
          <a:prstGeom prst="rect">
            <a:avLst/>
          </a:prstGeom>
          <a:noFill/>
        </p:spPr>
        <p:txBody>
          <a:bodyPr wrap="square">
            <a:spAutoFit/>
          </a:bodyPr>
          <a:lstStyle/>
          <a:p>
            <a:r>
              <a:rPr lang="fr-CA" sz="1600" i="1">
                <a:solidFill>
                  <a:srgbClr val="000000"/>
                </a:solidFill>
                <a:latin typeface="+mn-lt"/>
              </a:rPr>
              <a:t>Si vous travaillez dans une pharmacie communautaire, vous pouvez accéder à notre interface sécurisée </a:t>
            </a:r>
            <a:r>
              <a:rPr lang="fr-CA" sz="1600" i="1">
                <a:solidFill>
                  <a:schemeClr val="accent1"/>
                </a:solidFill>
                <a:latin typeface="+mn-lt"/>
              </a:rPr>
              <a:t>« l’espace Pharmaciens ». </a:t>
            </a:r>
            <a:endParaRPr lang="fr-CA" sz="1600" i="1">
              <a:latin typeface="+mn-lt"/>
            </a:endParaRPr>
          </a:p>
        </p:txBody>
      </p:sp>
      <p:sp>
        <p:nvSpPr>
          <p:cNvPr id="3" name="Espace réservé du pied de page 2">
            <a:extLst>
              <a:ext uri="{FF2B5EF4-FFF2-40B4-BE49-F238E27FC236}">
                <a16:creationId xmlns:a16="http://schemas.microsoft.com/office/drawing/2014/main" id="{1C7D8284-87BC-A59D-D469-CD7F6B66D1A6}"/>
              </a:ext>
            </a:extLst>
          </p:cNvPr>
          <p:cNvSpPr>
            <a:spLocks noGrp="1"/>
          </p:cNvSpPr>
          <p:nvPr>
            <p:ph type="ftr" sz="quarter" idx="10"/>
            <p:custDataLst>
              <p:tags r:id="rId6"/>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BF0FCBDE-8CF0-608E-8E85-5900C1D92099}"/>
              </a:ext>
            </a:extLst>
          </p:cNvPr>
          <p:cNvSpPr>
            <a:spLocks noGrp="1"/>
          </p:cNvSpPr>
          <p:nvPr>
            <p:ph type="sldNum" sz="quarter" idx="11"/>
            <p:custDataLst>
              <p:tags r:id="rId7"/>
            </p:custDataLst>
          </p:nvPr>
        </p:nvSpPr>
        <p:spPr/>
        <p:txBody>
          <a:bodyPr/>
          <a:lstStyle/>
          <a:p>
            <a:fld id="{91882AA3-08DC-0043-8CA8-8CA69DA2397E}" type="slidenum">
              <a:rPr lang="en-US" smtClean="0"/>
              <a:pPr/>
              <a:t>54</a:t>
            </a:fld>
            <a:endParaRPr lang="en-US"/>
          </a:p>
        </p:txBody>
      </p:sp>
    </p:spTree>
    <p:extLst>
      <p:ext uri="{BB962C8B-B14F-4D97-AF65-F5344CB8AC3E}">
        <p14:creationId xmlns:p14="http://schemas.microsoft.com/office/powerpoint/2010/main" val="30302708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1E1F8F-FB5D-1F5D-CA71-5BF2FB07651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E8D950EE-681C-9F00-44C6-EB3749484255}"/>
              </a:ext>
            </a:extLst>
          </p:cNvPr>
          <p:cNvSpPr>
            <a:spLocks noGrp="1"/>
          </p:cNvSpPr>
          <p:nvPr>
            <p:ph type="title"/>
            <p:custDataLst>
              <p:tags r:id="rId1"/>
            </p:custDataLst>
          </p:nvPr>
        </p:nvSpPr>
        <p:spPr/>
        <p:txBody>
          <a:bodyPr/>
          <a:lstStyle/>
          <a:p>
            <a:r>
              <a:rPr lang="fr-CA"/>
              <a:t>Références</a:t>
            </a:r>
          </a:p>
        </p:txBody>
      </p:sp>
      <p:sp>
        <p:nvSpPr>
          <p:cNvPr id="3" name="Espace réservé du pied de page 2">
            <a:extLst>
              <a:ext uri="{FF2B5EF4-FFF2-40B4-BE49-F238E27FC236}">
                <a16:creationId xmlns:a16="http://schemas.microsoft.com/office/drawing/2014/main" id="{2CAA8AFA-03AB-5409-35E5-AA613721465A}"/>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C32CA7CF-0C89-28A7-BBF0-4DDBF09DDE07}"/>
              </a:ext>
            </a:extLst>
          </p:cNvPr>
          <p:cNvSpPr>
            <a:spLocks noGrp="1"/>
          </p:cNvSpPr>
          <p:nvPr>
            <p:ph type="sldNum" sz="quarter" idx="11"/>
            <p:custDataLst>
              <p:tags r:id="rId3"/>
            </p:custDataLst>
          </p:nvPr>
        </p:nvSpPr>
        <p:spPr/>
        <p:txBody>
          <a:bodyPr/>
          <a:lstStyle/>
          <a:p>
            <a:fld id="{91882AA3-08DC-0043-8CA8-8CA69DA2397E}" type="slidenum">
              <a:rPr lang="en-US" smtClean="0"/>
              <a:pPr/>
              <a:t>55</a:t>
            </a:fld>
            <a:endParaRPr lang="en-US"/>
          </a:p>
        </p:txBody>
      </p:sp>
      <p:sp>
        <p:nvSpPr>
          <p:cNvPr id="5" name="Espace réservé du texte 4">
            <a:extLst>
              <a:ext uri="{FF2B5EF4-FFF2-40B4-BE49-F238E27FC236}">
                <a16:creationId xmlns:a16="http://schemas.microsoft.com/office/drawing/2014/main" id="{1BE0AC48-D813-3FC5-95D0-688A794E83C8}"/>
              </a:ext>
            </a:extLst>
          </p:cNvPr>
          <p:cNvSpPr>
            <a:spLocks noGrp="1"/>
          </p:cNvSpPr>
          <p:nvPr>
            <p:ph type="body" sz="quarter" idx="12"/>
            <p:custDataLst>
              <p:tags r:id="rId4"/>
            </p:custDataLst>
          </p:nvPr>
        </p:nvSpPr>
        <p:spPr>
          <a:xfrm>
            <a:off x="617621" y="1082842"/>
            <a:ext cx="10837778" cy="4893805"/>
          </a:xfrm>
        </p:spPr>
        <p:txBody>
          <a:bodyPr lIns="0" tIns="0" rIns="0" bIns="0" anchor="t"/>
          <a:lstStyle/>
          <a:p>
            <a:pPr algn="l"/>
            <a:r>
              <a:rPr lang="fr-CA" sz="1100" b="1"/>
              <a:t>Allan GM, </a:t>
            </a:r>
            <a:r>
              <a:rPr lang="fr-CA" sz="1100" b="1" err="1"/>
              <a:t>Morros</a:t>
            </a:r>
            <a:r>
              <a:rPr lang="fr-CA" sz="1100" b="1"/>
              <a:t> MP, Young J. </a:t>
            </a:r>
            <a:r>
              <a:rPr lang="fr-CA" sz="1100" i="1"/>
              <a:t>Hypothyroïdie subclinique et dépistage par dosage de la TSH</a:t>
            </a:r>
            <a:r>
              <a:rPr lang="fr-CA" sz="1100"/>
              <a:t> [En ligne]. Can Fam </a:t>
            </a:r>
            <a:r>
              <a:rPr lang="fr-CA" sz="1100" err="1"/>
              <a:t>Physician</a:t>
            </a:r>
            <a:r>
              <a:rPr lang="fr-CA" sz="1100"/>
              <a:t>. 2020;66(3):189-190 [consulté le 3 sept 2025]. Disponible : https://www.cfp.ca/content/66/3/189</a:t>
            </a:r>
          </a:p>
          <a:p>
            <a:pPr algn="l"/>
            <a:r>
              <a:rPr lang="fr-CA" sz="1100" b="1"/>
              <a:t>Assemblée nationale du Québec.</a:t>
            </a:r>
            <a:r>
              <a:rPr lang="fr-CA" sz="1100"/>
              <a:t> </a:t>
            </a:r>
            <a:r>
              <a:rPr lang="fr-CA" sz="1100" i="1"/>
              <a:t>Loi modifiant le Code des professions pour la modernisation du système professionnel et visant l’élargissement de certaines pratiques professionnelles dans le domaine de la santé et des services sociaux : projet de loi n° 67 (2024, chapitre 31)</a:t>
            </a:r>
            <a:r>
              <a:rPr lang="fr-CA" sz="1100"/>
              <a:t> [En ligne]. Québec : Éditeur officiel du Québec; 2024</a:t>
            </a:r>
          </a:p>
          <a:p>
            <a:pPr algn="l"/>
            <a:r>
              <a:rPr lang="fr-CA" sz="1100" b="1"/>
              <a:t>Association québécoise des pharmaciens propriétaires.</a:t>
            </a:r>
            <a:r>
              <a:rPr lang="fr-CA" sz="1100"/>
              <a:t> </a:t>
            </a:r>
            <a:r>
              <a:rPr lang="fr-CA" sz="1100" i="1"/>
              <a:t>Espace pharmaciens</a:t>
            </a:r>
            <a:r>
              <a:rPr lang="fr-CA" sz="1100"/>
              <a:t> [En ligne]. Montréal : MonPharmacien.ca; [consulté le 3 sept 2025]. Disponible : https://www.monpharmacien.ca/espace-pharmaciens/</a:t>
            </a:r>
          </a:p>
          <a:p>
            <a:pPr algn="l"/>
            <a:r>
              <a:rPr lang="fr-CA" sz="1100" b="1"/>
              <a:t>Association québécoise des pharmaciens propriétaires. </a:t>
            </a:r>
            <a:r>
              <a:rPr lang="fr-CA" sz="1100" i="1"/>
              <a:t>Guide de préparation à l’entrée en vigueur du projet de loi 67</a:t>
            </a:r>
            <a:r>
              <a:rPr lang="fr-CA" sz="1100"/>
              <a:t> [En ligne]. Québec : AQPP; 2025 [consulté le 3 sept 2025]. Disponible : https://static.monpharmacien.ca/app/uploads/2025/06/20123550/2025_guide-preparation_PL67_final.pdf</a:t>
            </a:r>
          </a:p>
          <a:p>
            <a:pPr algn="l"/>
            <a:r>
              <a:rPr lang="fr-CA" sz="1100" b="1"/>
              <a:t>Association québécoise des pharmaciens propriétaires.</a:t>
            </a:r>
            <a:r>
              <a:rPr lang="fr-CA" sz="1100"/>
              <a:t> </a:t>
            </a:r>
            <a:r>
              <a:rPr lang="fr-CA" sz="1100" i="1"/>
              <a:t>Naloxone – Outil de gestion pour les pharmaciens</a:t>
            </a:r>
            <a:r>
              <a:rPr lang="fr-CA" sz="1100"/>
              <a:t> [En ligne]. Montréal : MonPharmacien.ca; [consulté le 3 sept 2025]. Disponible : https://www.monpharmacien.ca/espace-pharmaciens/outils/gestion/naloxone/</a:t>
            </a:r>
            <a:endParaRPr lang="fr-CA" sz="1100" b="1"/>
          </a:p>
          <a:p>
            <a:pPr algn="l"/>
            <a:r>
              <a:rPr lang="fr-CA" sz="1100" b="1"/>
              <a:t>Association québécoise des pharmaciens propriétaires, ministère de la Santé et des Services sociaux.</a:t>
            </a:r>
            <a:r>
              <a:rPr lang="fr-CA" sz="1100"/>
              <a:t> </a:t>
            </a:r>
            <a:r>
              <a:rPr lang="fr-CA" sz="1100" i="1"/>
              <a:t>Entente relative à l’assurance maladie entre l’Association québécoise des pharmaciens propriétaires et le ministre de la Santé et des Services sociaux, 2022-2025</a:t>
            </a:r>
            <a:r>
              <a:rPr lang="fr-CA" sz="1100"/>
              <a:t> [En ligne]. Québec : Gouvernement du Québec; 2022 [consulté le 3 sept 2025]. Disponible : https://www.ramq.gouv.qc.ca/SiteCollectionDocuments/professionnels/manuels/260-pharmaciens/historique/Entente-AQPP-MSSS-2022-2025.pdf</a:t>
            </a:r>
          </a:p>
          <a:p>
            <a:pPr algn="l"/>
            <a:r>
              <a:rPr lang="fr-CA" sz="1100" b="1"/>
              <a:t>Denis Roy</a:t>
            </a:r>
            <a:r>
              <a:rPr lang="fr-CA" sz="1100"/>
              <a:t>, </a:t>
            </a:r>
            <a:r>
              <a:rPr lang="fr-CA" sz="1100" i="1"/>
              <a:t>D’abord, ne pas nuire (2 de 2), </a:t>
            </a:r>
            <a:r>
              <a:rPr lang="fr-CA" sz="1100"/>
              <a:t>Profession santé, </a:t>
            </a:r>
            <a:r>
              <a:rPr lang="fr-CA" sz="1100" cap="all"/>
              <a:t>15/04/2025</a:t>
            </a:r>
            <a:endParaRPr lang="fr-CA" sz="1100"/>
          </a:p>
          <a:p>
            <a:pPr algn="l"/>
            <a:r>
              <a:rPr lang="fr-CA" sz="1100" b="1"/>
              <a:t>Gouvernement du Québec</a:t>
            </a:r>
            <a:r>
              <a:rPr lang="fr-CA" sz="1100"/>
              <a:t>. </a:t>
            </a:r>
            <a:r>
              <a:rPr lang="fr-CA" sz="1100" i="1"/>
              <a:t>Projets de règlement Exercice de certaines activités professionnelles visées à l'article 17 de la Loi sur la pharmacie </a:t>
            </a:r>
            <a:r>
              <a:rPr lang="fr-CA" sz="1100"/>
              <a:t>[En ligne]. Québec : Gazette No. 24 du 11-06-2025 Page: 3217 [consulté le 3 sept 2025]. Disponible : https://www.publicationsduquebec.gouv.qc.ca/fileadmin/gazette/pdf_encrypte/lois_reglements/2025F/85759.pdf</a:t>
            </a:r>
          </a:p>
          <a:p>
            <a:pPr algn="l"/>
            <a:r>
              <a:rPr lang="fr-CA" sz="1100" b="1"/>
              <a:t>Institut national d’excellence en santé et en services sociaux (INESSS).</a:t>
            </a:r>
            <a:r>
              <a:rPr lang="fr-CA" sz="1100"/>
              <a:t> </a:t>
            </a:r>
            <a:r>
              <a:rPr lang="fr-CA" sz="1100" i="1"/>
              <a:t>Traitement par agonistes opioïdes : trouble lié à l’usage d’opioïdes – Guide d’usage optimal</a:t>
            </a:r>
            <a:r>
              <a:rPr lang="fr-CA" sz="1100"/>
              <a:t> [En ligne]. Québec : INESSS; 2021 [consulté le 3 sept 2025]. Disponible : https://www.inesss.qc.ca/fileadmin/doc/INESSS/Rapports/Medicaments/GUO_TUO_FR.pdf</a:t>
            </a:r>
          </a:p>
          <a:p>
            <a:pPr algn="l"/>
            <a:r>
              <a:rPr lang="fr-CA" sz="1100" b="1"/>
              <a:t>Institut national de santé publique du Québec. </a:t>
            </a:r>
            <a:r>
              <a:rPr lang="fr-CA" sz="1100" i="1"/>
              <a:t>Indicateur de santé publique : Prévalence de l'hypertension artérielle</a:t>
            </a:r>
            <a:r>
              <a:rPr lang="fr-CA" sz="1100"/>
              <a:t> [En ligne]. Québec : INSPQ; 2025 [consulté le 3 sept 2025]. Disponible : https://www.inspq.qc.ca/indicateur/maladies-chroniques/hypertension-artérielle</a:t>
            </a:r>
            <a:endParaRPr lang="fr-CA" sz="1600">
              <a:cs typeface="Arial" panose="020B0604020202020204"/>
            </a:endParaRPr>
          </a:p>
        </p:txBody>
      </p:sp>
    </p:spTree>
    <p:extLst>
      <p:ext uri="{BB962C8B-B14F-4D97-AF65-F5344CB8AC3E}">
        <p14:creationId xmlns:p14="http://schemas.microsoft.com/office/powerpoint/2010/main" val="27996943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3A3A9-AB9A-0DB4-9F74-E55357ABFB5F}"/>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9F7611A-363C-7AD8-486E-B483EE30F955}"/>
              </a:ext>
            </a:extLst>
          </p:cNvPr>
          <p:cNvSpPr>
            <a:spLocks noGrp="1"/>
          </p:cNvSpPr>
          <p:nvPr>
            <p:ph type="title"/>
            <p:custDataLst>
              <p:tags r:id="rId1"/>
            </p:custDataLst>
          </p:nvPr>
        </p:nvSpPr>
        <p:spPr/>
        <p:txBody>
          <a:bodyPr/>
          <a:lstStyle/>
          <a:p>
            <a:r>
              <a:rPr lang="fr-CA"/>
              <a:t>Références</a:t>
            </a:r>
          </a:p>
        </p:txBody>
      </p:sp>
      <p:sp>
        <p:nvSpPr>
          <p:cNvPr id="3" name="Espace réservé du pied de page 2">
            <a:extLst>
              <a:ext uri="{FF2B5EF4-FFF2-40B4-BE49-F238E27FC236}">
                <a16:creationId xmlns:a16="http://schemas.microsoft.com/office/drawing/2014/main" id="{345BDD6F-CEDA-63F4-A392-505AB7D7D0EB}"/>
              </a:ext>
            </a:extLst>
          </p:cNvPr>
          <p:cNvSpPr>
            <a:spLocks noGrp="1"/>
          </p:cNvSpPr>
          <p:nvPr>
            <p:ph type="ftr" sz="quarter" idx="10"/>
            <p:custDataLst>
              <p:tags r:id="rId2"/>
            </p:custDataLst>
          </p:nvPr>
        </p:nvSpPr>
        <p:spPr/>
        <p:txBody>
          <a:bodyPr/>
          <a:lstStyle/>
          <a:p>
            <a:pPr algn="l"/>
            <a:r>
              <a:rPr lang="fr-CA"/>
              <a:t>AQPP  |  Du patient à l'entente</a:t>
            </a:r>
            <a:endParaRPr lang="en-US"/>
          </a:p>
        </p:txBody>
      </p:sp>
      <p:sp>
        <p:nvSpPr>
          <p:cNvPr id="4" name="Espace réservé du numéro de diapositive 3">
            <a:extLst>
              <a:ext uri="{FF2B5EF4-FFF2-40B4-BE49-F238E27FC236}">
                <a16:creationId xmlns:a16="http://schemas.microsoft.com/office/drawing/2014/main" id="{23418D56-0880-0FB6-77E3-09877183FE77}"/>
              </a:ext>
            </a:extLst>
          </p:cNvPr>
          <p:cNvSpPr>
            <a:spLocks noGrp="1"/>
          </p:cNvSpPr>
          <p:nvPr>
            <p:ph type="sldNum" sz="quarter" idx="11"/>
            <p:custDataLst>
              <p:tags r:id="rId3"/>
            </p:custDataLst>
          </p:nvPr>
        </p:nvSpPr>
        <p:spPr/>
        <p:txBody>
          <a:bodyPr/>
          <a:lstStyle/>
          <a:p>
            <a:fld id="{91882AA3-08DC-0043-8CA8-8CA69DA2397E}" type="slidenum">
              <a:rPr lang="en-US" smtClean="0"/>
              <a:pPr/>
              <a:t>56</a:t>
            </a:fld>
            <a:endParaRPr lang="en-US"/>
          </a:p>
        </p:txBody>
      </p:sp>
      <p:sp>
        <p:nvSpPr>
          <p:cNvPr id="5" name="Espace réservé du texte 4">
            <a:extLst>
              <a:ext uri="{FF2B5EF4-FFF2-40B4-BE49-F238E27FC236}">
                <a16:creationId xmlns:a16="http://schemas.microsoft.com/office/drawing/2014/main" id="{7B4C8406-4C43-51C5-E89C-7EA25403D4BD}"/>
              </a:ext>
            </a:extLst>
          </p:cNvPr>
          <p:cNvSpPr>
            <a:spLocks noGrp="1"/>
          </p:cNvSpPr>
          <p:nvPr>
            <p:ph type="body" sz="quarter" idx="12"/>
            <p:custDataLst>
              <p:tags r:id="rId4"/>
            </p:custDataLst>
          </p:nvPr>
        </p:nvSpPr>
        <p:spPr>
          <a:xfrm>
            <a:off x="617621" y="1082842"/>
            <a:ext cx="10837778" cy="4893805"/>
          </a:xfrm>
        </p:spPr>
        <p:txBody>
          <a:bodyPr lIns="0" tIns="0" rIns="0" bIns="0" anchor="t"/>
          <a:lstStyle/>
          <a:p>
            <a:pPr algn="l"/>
            <a:r>
              <a:rPr lang="fr-CA" sz="1100" b="1"/>
              <a:t>Institut national de santé publique du Québec. </a:t>
            </a:r>
            <a:r>
              <a:rPr lang="fr-CA" sz="1100" i="1"/>
              <a:t>Indicateur de santé publique : Prévalence de la maladie pulmonaire obstructive chronique (MPOC)</a:t>
            </a:r>
            <a:r>
              <a:rPr lang="fr-CA" sz="1100"/>
              <a:t> [En ligne]. Québec : INSPQ; 2025 [consulté le 3 sept 2025]. Disponible : https://www.inspq.qc.ca/indicateur/maladies-chroniques/prevalence-mpoc</a:t>
            </a:r>
          </a:p>
          <a:p>
            <a:pPr algn="l"/>
            <a:r>
              <a:rPr lang="fr-CA" sz="1100" b="1"/>
              <a:t>Institut national de santé publique du Québec. </a:t>
            </a:r>
            <a:r>
              <a:rPr lang="fr-CA" sz="1100" i="1"/>
              <a:t>Indicateur de santé publique : Prévalence du diabète</a:t>
            </a:r>
            <a:r>
              <a:rPr lang="fr-CA" sz="1100"/>
              <a:t> [En ligne]. Québec : INSPQ; 2025 [consulté le 3 sept 2025]. Disponible : https://www.inspq.qc.ca/indicateur/maladies-chroniques/</a:t>
            </a:r>
            <a:r>
              <a:rPr lang="fr-CA" sz="1100" err="1"/>
              <a:t>prevalence</a:t>
            </a:r>
            <a:r>
              <a:rPr lang="fr-CA" sz="1100"/>
              <a:t>-diabète</a:t>
            </a:r>
          </a:p>
          <a:p>
            <a:pPr algn="l"/>
            <a:r>
              <a:rPr lang="fr-CA" sz="1100" b="1"/>
              <a:t>Ministère de la Santé et des Services sociaux</a:t>
            </a:r>
            <a:r>
              <a:rPr lang="fr-CA" sz="1100"/>
              <a:t>. </a:t>
            </a:r>
            <a:r>
              <a:rPr lang="fr-CA" sz="1100" i="1"/>
              <a:t>Prévalence de l’obésité abdominale chez les adultes québécois</a:t>
            </a:r>
            <a:r>
              <a:rPr lang="fr-CA" sz="1100"/>
              <a:t> [En ligne]. Québec : MSSS; 2021 [consulté le 3 sept 2025]. Disponible : https://publications.msss.gouv.qc.ca/msss/fichiers/2021/21-947-05W.pdf</a:t>
            </a:r>
          </a:p>
          <a:p>
            <a:pPr algn="l"/>
            <a:r>
              <a:rPr lang="fr-CA" sz="1100" b="1"/>
              <a:t>Ministère de la Santé et des Services sociaux. </a:t>
            </a:r>
            <a:r>
              <a:rPr lang="fr-CA" sz="1100" i="1"/>
              <a:t>Statistiques de santé et de bien-être selon le sexe – Prévalence de l’asthme</a:t>
            </a:r>
            <a:r>
              <a:rPr lang="fr-CA" sz="1100"/>
              <a:t> [En ligne]. Québec : MSSS; 2025 [consulté le 3 sept 2025]. Disponible : https://www.msss.gouv.qc.ca/professionnels/statistiques-donnees-sante-bien-etre/statistiques-de-sante-et-de-bien-etre-selon-le-sexe-volet-national/taux-de-prevalence-de-l-asthme/</a:t>
            </a:r>
          </a:p>
          <a:p>
            <a:pPr algn="l"/>
            <a:r>
              <a:rPr lang="fr-CA" sz="1100" b="1">
                <a:solidFill>
                  <a:srgbClr val="424242"/>
                </a:solidFill>
                <a:ea typeface="+mn-lt"/>
                <a:cs typeface="+mn-lt"/>
              </a:rPr>
              <a:t>Ministère de la Santé et des Services sociaux.</a:t>
            </a:r>
            <a:r>
              <a:rPr lang="fr-CA" sz="1100">
                <a:solidFill>
                  <a:srgbClr val="424242"/>
                </a:solidFill>
                <a:ea typeface="+mn-lt"/>
                <a:cs typeface="+mn-lt"/>
              </a:rPr>
              <a:t> </a:t>
            </a:r>
            <a:r>
              <a:rPr lang="fr-CA" sz="1100" i="1">
                <a:solidFill>
                  <a:srgbClr val="424242"/>
                </a:solidFill>
                <a:ea typeface="+mn-lt"/>
                <a:cs typeface="+mn-lt"/>
              </a:rPr>
              <a:t>Traitement accéléré des partenaires (TAP) pour les infections à Chlamydia trachomatis (CT) et à Neisseria gonorrhoeae (NG) – Aide-mémoire pour les pharmaciens</a:t>
            </a:r>
            <a:r>
              <a:rPr lang="fr-CA" sz="1100">
                <a:solidFill>
                  <a:srgbClr val="424242"/>
                </a:solidFill>
                <a:ea typeface="+mn-lt"/>
                <a:cs typeface="+mn-lt"/>
              </a:rPr>
              <a:t> [En ligne]. Québec : Gouvernement du Québec; 2019 [consulté le 3 sept 2025]. Disponible : https://publications.msss.gouv.qc.ca/msss/fichiers/2021/21-328-03W.pdf</a:t>
            </a:r>
            <a:endParaRPr lang="fr-CA" sz="1100"/>
          </a:p>
          <a:p>
            <a:pPr algn="l"/>
            <a:r>
              <a:rPr lang="fr-CA" sz="1100" b="1"/>
              <a:t>Ordre des pharmaciens du Québec.</a:t>
            </a:r>
            <a:r>
              <a:rPr lang="fr-CA" sz="1100"/>
              <a:t> </a:t>
            </a:r>
            <a:r>
              <a:rPr lang="fr-CA" sz="1100" i="1"/>
              <a:t>L’approche vigie</a:t>
            </a:r>
            <a:r>
              <a:rPr lang="fr-CA" sz="1100"/>
              <a:t> [En ligne]. Montréal : Ordre des pharmaciens du Québec; [consulté le 3 sept 2025]. Disponible : https://www.opq.org/approche-vigie/</a:t>
            </a:r>
          </a:p>
          <a:p>
            <a:pPr algn="l"/>
            <a:r>
              <a:rPr lang="fr-CA" sz="1100" b="1">
                <a:solidFill>
                  <a:srgbClr val="424242"/>
                </a:solidFill>
                <a:ea typeface="+mn-lt"/>
                <a:cs typeface="+mn-lt"/>
              </a:rPr>
              <a:t>Ordre des pharmaciens du Québec.</a:t>
            </a:r>
            <a:r>
              <a:rPr lang="fr-CA" sz="1100">
                <a:solidFill>
                  <a:srgbClr val="424242"/>
                </a:solidFill>
                <a:ea typeface="+mn-lt"/>
                <a:cs typeface="+mn-lt"/>
              </a:rPr>
              <a:t> </a:t>
            </a:r>
            <a:r>
              <a:rPr lang="fr-CA" sz="1100" i="1">
                <a:solidFill>
                  <a:srgbClr val="424242"/>
                </a:solidFill>
                <a:ea typeface="+mn-lt"/>
                <a:cs typeface="+mn-lt"/>
              </a:rPr>
              <a:t>L’Express – Programme TAP</a:t>
            </a:r>
            <a:r>
              <a:rPr lang="fr-CA" sz="1100">
                <a:solidFill>
                  <a:srgbClr val="424242"/>
                </a:solidFill>
                <a:ea typeface="+mn-lt"/>
                <a:cs typeface="+mn-lt"/>
              </a:rPr>
              <a:t> [En ligne]. Montréal : Ordre des pharmaciens du Québec; 2020 [consulté le 3 sept 2025]. Disponible : </a:t>
            </a:r>
            <a:r>
              <a:rPr lang="fr-CA" sz="1100">
                <a:solidFill>
                  <a:srgbClr val="424242"/>
                </a:solidFill>
                <a:ea typeface="+mn-lt"/>
                <a:cs typeface="+mn-lt"/>
                <a:hlinkClick r:id="rId7"/>
              </a:rPr>
              <a:t>https://www.opq.org/wp-content/uploads/2020/08/5211_38_fr-CA_0_L_Express___Programme_TAP.html</a:t>
            </a:r>
            <a:endParaRPr lang="fr-FR" sz="1100"/>
          </a:p>
          <a:p>
            <a:pPr algn="l"/>
            <a:r>
              <a:rPr lang="fr-CA" sz="1100" b="1">
                <a:solidFill>
                  <a:srgbClr val="424242"/>
                </a:solidFill>
                <a:ea typeface="+mn-lt"/>
                <a:cs typeface="+mn-lt"/>
              </a:rPr>
              <a:t>Ordre des pharmaciens du Québec.</a:t>
            </a:r>
            <a:r>
              <a:rPr lang="fr-CA" sz="1100">
                <a:solidFill>
                  <a:srgbClr val="424242"/>
                </a:solidFill>
                <a:ea typeface="+mn-lt"/>
                <a:cs typeface="+mn-lt"/>
              </a:rPr>
              <a:t> </a:t>
            </a:r>
            <a:r>
              <a:rPr lang="fr-CA" sz="1100" i="1">
                <a:solidFill>
                  <a:srgbClr val="424242"/>
                </a:solidFill>
                <a:ea typeface="+mn-lt"/>
                <a:cs typeface="+mn-lt"/>
              </a:rPr>
              <a:t>Guide d’exercice – Les activités professionnelles du pharmacien</a:t>
            </a:r>
            <a:r>
              <a:rPr lang="fr-CA" sz="1100">
                <a:solidFill>
                  <a:srgbClr val="424242"/>
                </a:solidFill>
                <a:ea typeface="+mn-lt"/>
                <a:cs typeface="+mn-lt"/>
              </a:rPr>
              <a:t> [En ligne]. Montréal : Ordre des pharmaciens du Québec; 2020 [consulté le 3 sept 2025]. Disponible : https://www.opq.org/wp-content/uploads/2020/12/Guide_exercice_nouv_act_fev_2022.pdf</a:t>
            </a:r>
          </a:p>
          <a:p>
            <a:pPr algn="l"/>
            <a:r>
              <a:rPr lang="fr-CA" sz="1100" b="1"/>
              <a:t>Ramage-Morin PL, </a:t>
            </a:r>
            <a:r>
              <a:rPr lang="fr-CA" sz="1100" b="1" err="1"/>
              <a:t>Gilmour</a:t>
            </a:r>
            <a:r>
              <a:rPr lang="fr-CA" sz="1100" b="1"/>
              <a:t> H. </a:t>
            </a:r>
            <a:r>
              <a:rPr lang="fr-CA" sz="1100" i="1"/>
              <a:t>Prévalence de la migraine chez la population à domicile au Canada</a:t>
            </a:r>
            <a:r>
              <a:rPr lang="fr-CA" sz="1100"/>
              <a:t> [En ligne]. Ottawa : Statistique Canada; 2014 [consulté le 3 sept 2025]. Disponible : https://www150.statcan.gc.ca/n1/pub/82-003-x/2014006/article/14033-fra.pdf</a:t>
            </a:r>
          </a:p>
          <a:p>
            <a:pPr algn="l"/>
            <a:r>
              <a:rPr lang="fr-CA" sz="1100" b="1" err="1"/>
              <a:t>Spohn</a:t>
            </a:r>
            <a:r>
              <a:rPr lang="fr-CA" sz="1100" b="1"/>
              <a:t> O, </a:t>
            </a:r>
            <a:r>
              <a:rPr lang="fr-CA" sz="1100" b="1" err="1"/>
              <a:t>Morkem</a:t>
            </a:r>
            <a:r>
              <a:rPr lang="fr-CA" sz="1100" b="1"/>
              <a:t> R, Singer AG, Barber D. </a:t>
            </a:r>
            <a:r>
              <a:rPr lang="fr-CA" sz="1100" i="1" err="1"/>
              <a:t>Prevalence</a:t>
            </a:r>
            <a:r>
              <a:rPr lang="fr-CA" sz="1100" i="1"/>
              <a:t> and management of </a:t>
            </a:r>
            <a:r>
              <a:rPr lang="fr-CA" sz="1100" i="1" err="1"/>
              <a:t>dyslipidemia</a:t>
            </a:r>
            <a:r>
              <a:rPr lang="fr-CA" sz="1100" i="1"/>
              <a:t> in </a:t>
            </a:r>
            <a:r>
              <a:rPr lang="fr-CA" sz="1100" i="1" err="1"/>
              <a:t>primary</a:t>
            </a:r>
            <a:r>
              <a:rPr lang="fr-CA" sz="1100" i="1"/>
              <a:t> care practices in Canada</a:t>
            </a:r>
            <a:r>
              <a:rPr lang="fr-CA" sz="1100"/>
              <a:t> [En ligne]. Can Fam </a:t>
            </a:r>
            <a:r>
              <a:rPr lang="fr-CA" sz="1100" err="1"/>
              <a:t>Physician</a:t>
            </a:r>
            <a:r>
              <a:rPr lang="fr-CA" sz="1100"/>
              <a:t>. 2024;70(3):187-196 [consulté le 3 sept 2025]. Disponible : https://www.cfp.ca/content/70/3/187</a:t>
            </a:r>
          </a:p>
          <a:p>
            <a:endParaRPr lang="fr-CA" sz="1100">
              <a:cs typeface="Arial" panose="020B0604020202020204"/>
            </a:endParaRPr>
          </a:p>
        </p:txBody>
      </p:sp>
    </p:spTree>
    <p:extLst>
      <p:ext uri="{BB962C8B-B14F-4D97-AF65-F5344CB8AC3E}">
        <p14:creationId xmlns:p14="http://schemas.microsoft.com/office/powerpoint/2010/main" val="20092224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6ACD0904-967A-9D8E-F2C1-F4A4C63D542D}"/>
              </a:ext>
            </a:extLst>
          </p:cNvPr>
          <p:cNvSpPr>
            <a:spLocks noGrp="1"/>
          </p:cNvSpPr>
          <p:nvPr>
            <p:ph type="title"/>
            <p:custDataLst>
              <p:tags r:id="rId1"/>
            </p:custDataLst>
          </p:nvPr>
        </p:nvSpPr>
        <p:spPr/>
        <p:txBody>
          <a:bodyPr/>
          <a:lstStyle/>
          <a:p>
            <a:r>
              <a:rPr lang="fr-CA"/>
              <a:t>Merci!</a:t>
            </a:r>
          </a:p>
        </p:txBody>
      </p:sp>
      <p:sp>
        <p:nvSpPr>
          <p:cNvPr id="8" name="Espace réservé du texte 7">
            <a:extLst>
              <a:ext uri="{FF2B5EF4-FFF2-40B4-BE49-F238E27FC236}">
                <a16:creationId xmlns:a16="http://schemas.microsoft.com/office/drawing/2014/main" id="{5E8F9F25-C7D5-39B9-6690-88956FFC6BA3}"/>
              </a:ext>
            </a:extLst>
          </p:cNvPr>
          <p:cNvSpPr>
            <a:spLocks noGrp="1"/>
          </p:cNvSpPr>
          <p:nvPr>
            <p:ph type="body" sz="quarter" idx="12"/>
            <p:custDataLst>
              <p:tags r:id="rId2"/>
            </p:custDataLst>
          </p:nvPr>
        </p:nvSpPr>
        <p:spPr>
          <a:xfrm>
            <a:off x="5761972" y="997527"/>
            <a:ext cx="6062597" cy="5029200"/>
          </a:xfrm>
        </p:spPr>
        <p:txBody>
          <a:bodyPr/>
          <a:lstStyle/>
          <a:p>
            <a:r>
              <a:rPr lang="fr-CA" dirty="0">
                <a:solidFill>
                  <a:schemeClr val="accent1"/>
                </a:solidFill>
              </a:rPr>
              <a:t>Questions ?</a:t>
            </a:r>
          </a:p>
          <a:p>
            <a:endParaRPr lang="fr-CA" dirty="0">
              <a:solidFill>
                <a:schemeClr val="accent1"/>
              </a:solidFill>
            </a:endParaRPr>
          </a:p>
          <a:p>
            <a:r>
              <a:rPr lang="fr-CA" sz="2800" dirty="0">
                <a:solidFill>
                  <a:schemeClr val="accent1"/>
                </a:solidFill>
              </a:rPr>
              <a:t>affairespharmaceutiques@aqpp.qc.ca</a:t>
            </a:r>
          </a:p>
        </p:txBody>
      </p:sp>
    </p:spTree>
    <p:extLst>
      <p:ext uri="{BB962C8B-B14F-4D97-AF65-F5344CB8AC3E}">
        <p14:creationId xmlns:p14="http://schemas.microsoft.com/office/powerpoint/2010/main" val="21433803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3D99D7FB-0405-5AD9-5155-50CBA404F614}"/>
              </a:ext>
            </a:extLst>
          </p:cNvPr>
          <p:cNvSpPr>
            <a:spLocks noGrp="1"/>
          </p:cNvSpPr>
          <p:nvPr>
            <p:ph type="title"/>
            <p:custDataLst>
              <p:tags r:id="rId1"/>
            </p:custDataLst>
          </p:nvPr>
        </p:nvSpPr>
        <p:spPr/>
        <p:txBody>
          <a:bodyPr/>
          <a:lstStyle/>
          <a:p>
            <a:r>
              <a:rPr lang="fr-CA"/>
              <a:t>Pourquoi parler de facturation aujourd’hui?</a:t>
            </a:r>
            <a:br>
              <a:rPr lang="fr-CA"/>
            </a:br>
            <a:endParaRPr lang="fr-CA"/>
          </a:p>
        </p:txBody>
      </p:sp>
      <p:sp>
        <p:nvSpPr>
          <p:cNvPr id="11" name="Espace réservé du texte 10">
            <a:extLst>
              <a:ext uri="{FF2B5EF4-FFF2-40B4-BE49-F238E27FC236}">
                <a16:creationId xmlns:a16="http://schemas.microsoft.com/office/drawing/2014/main" id="{194A0D9F-2149-348C-D5C3-F9CD0C00DFE5}"/>
              </a:ext>
            </a:extLst>
          </p:cNvPr>
          <p:cNvSpPr>
            <a:spLocks noGrp="1"/>
          </p:cNvSpPr>
          <p:nvPr>
            <p:ph type="body" sz="quarter" idx="13"/>
            <p:custDataLst>
              <p:tags r:id="rId2"/>
            </p:custDataLst>
          </p:nvPr>
        </p:nvSpPr>
        <p:spPr/>
        <p:txBody>
          <a:bodyPr/>
          <a:lstStyle/>
          <a:p>
            <a:r>
              <a:rPr lang="fr-CA"/>
              <a:t>Mise en contexte</a:t>
            </a:r>
          </a:p>
        </p:txBody>
      </p:sp>
      <p:sp>
        <p:nvSpPr>
          <p:cNvPr id="12" name="Espace réservé du texte 11">
            <a:extLst>
              <a:ext uri="{FF2B5EF4-FFF2-40B4-BE49-F238E27FC236}">
                <a16:creationId xmlns:a16="http://schemas.microsoft.com/office/drawing/2014/main" id="{78A5969E-C9E2-DEF1-BECF-57369768956C}"/>
              </a:ext>
            </a:extLst>
          </p:cNvPr>
          <p:cNvSpPr>
            <a:spLocks noGrp="1"/>
          </p:cNvSpPr>
          <p:nvPr>
            <p:ph type="body" sz="quarter" idx="14"/>
            <p:custDataLst>
              <p:tags r:id="rId3"/>
            </p:custDataLst>
          </p:nvPr>
        </p:nvSpPr>
        <p:spPr/>
        <p:txBody>
          <a:bodyPr/>
          <a:lstStyle/>
          <a:p>
            <a:endParaRPr lang="fr-CA"/>
          </a:p>
        </p:txBody>
      </p:sp>
      <p:sp>
        <p:nvSpPr>
          <p:cNvPr id="4" name="Espace réservé du numéro de diapositive 3">
            <a:extLst>
              <a:ext uri="{FF2B5EF4-FFF2-40B4-BE49-F238E27FC236}">
                <a16:creationId xmlns:a16="http://schemas.microsoft.com/office/drawing/2014/main" id="{5B3778D9-1180-1CA6-C16B-F43AA88AA019}"/>
              </a:ext>
            </a:extLst>
          </p:cNvPr>
          <p:cNvSpPr>
            <a:spLocks noGrp="1"/>
          </p:cNvSpPr>
          <p:nvPr>
            <p:ph type="sldNum" sz="quarter" idx="4294967295"/>
            <p:custDataLst>
              <p:tags r:id="rId4"/>
            </p:custDataLst>
          </p:nvPr>
        </p:nvSpPr>
        <p:spPr>
          <a:xfrm>
            <a:off x="11455400" y="6442075"/>
            <a:ext cx="736600" cy="365125"/>
          </a:xfrm>
          <a:prstGeom prst="rect">
            <a:avLst/>
          </a:prstGeom>
        </p:spPr>
        <p:txBody>
          <a:bodyPr/>
          <a:lstStyle/>
          <a:p>
            <a:fld id="{91882AA3-08DC-0043-8CA8-8CA69DA2397E}" type="slidenum">
              <a:rPr lang="en-US" smtClean="0"/>
              <a:pPr/>
              <a:t>6</a:t>
            </a:fld>
            <a:endParaRPr lang="en-US"/>
          </a:p>
        </p:txBody>
      </p:sp>
      <p:sp>
        <p:nvSpPr>
          <p:cNvPr id="2" name="Espace réservé du pied de page 3">
            <a:extLst>
              <a:ext uri="{FF2B5EF4-FFF2-40B4-BE49-F238E27FC236}">
                <a16:creationId xmlns:a16="http://schemas.microsoft.com/office/drawing/2014/main" id="{DC917C17-43CA-089D-6ACE-03A1FC757862}"/>
              </a:ext>
            </a:extLst>
          </p:cNvPr>
          <p:cNvSpPr txBox="1">
            <a:spLocks/>
          </p:cNvSpPr>
          <p:nvPr>
            <p:custDataLst>
              <p:tags r:id="rId5"/>
            </p:custDataLst>
          </p:nvPr>
        </p:nvSpPr>
        <p:spPr>
          <a:xfrm>
            <a:off x="609600" y="6324600"/>
            <a:ext cx="9601200" cy="365125"/>
          </a:xfrm>
          <a:prstGeom prst="rect">
            <a:avLst/>
          </a:prstGeom>
        </p:spPr>
        <p:txBody>
          <a:bodyPr/>
          <a:lstStyle>
            <a:defPPr>
              <a:defRPr kern="0"/>
            </a:defPPr>
          </a:lstStyle>
          <a:p>
            <a:pPr algn="l"/>
            <a:r>
              <a:rPr lang="fr-CA" sz="1100"/>
              <a:t>AQPP  |  Du patient à l'entente</a:t>
            </a:r>
            <a:endParaRPr lang="en-US" sz="1100"/>
          </a:p>
        </p:txBody>
      </p:sp>
    </p:spTree>
    <p:extLst>
      <p:ext uri="{BB962C8B-B14F-4D97-AF65-F5344CB8AC3E}">
        <p14:creationId xmlns:p14="http://schemas.microsoft.com/office/powerpoint/2010/main" val="1472982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AFCEFC-16C0-0A32-E4EB-4F81EB8129AB}"/>
              </a:ext>
            </a:extLst>
          </p:cNvPr>
          <p:cNvSpPr>
            <a:spLocks noGrp="1"/>
          </p:cNvSpPr>
          <p:nvPr>
            <p:ph type="title"/>
            <p:custDataLst>
              <p:tags r:id="rId1"/>
            </p:custDataLst>
          </p:nvPr>
        </p:nvSpPr>
        <p:spPr>
          <a:xfrm>
            <a:off x="609600" y="533401"/>
            <a:ext cx="9337792" cy="990600"/>
          </a:xfrm>
        </p:spPr>
        <p:txBody>
          <a:bodyPr/>
          <a:lstStyle/>
          <a:p>
            <a:r>
              <a:rPr lang="fr-CA" dirty="0"/>
              <a:t>Besoins des pharmaciens propriétaires pour l’élargissement du champ de pratique   </a:t>
            </a:r>
            <a:br>
              <a:rPr lang="fr-CA" dirty="0"/>
            </a:br>
            <a:endParaRPr lang="fr-CA" dirty="0"/>
          </a:p>
        </p:txBody>
      </p:sp>
      <p:sp>
        <p:nvSpPr>
          <p:cNvPr id="3" name="Espace réservé du pied de page 2">
            <a:extLst>
              <a:ext uri="{FF2B5EF4-FFF2-40B4-BE49-F238E27FC236}">
                <a16:creationId xmlns:a16="http://schemas.microsoft.com/office/drawing/2014/main" id="{9E71EC9E-29C1-62F7-8FC8-484FECAD5B86}"/>
              </a:ext>
            </a:extLst>
          </p:cNvPr>
          <p:cNvSpPr>
            <a:spLocks noGrp="1"/>
          </p:cNvSpPr>
          <p:nvPr>
            <p:ph type="ftr" sz="quarter" idx="10"/>
            <p:custDataLst>
              <p:tags r:id="rId2"/>
            </p:custDataLst>
          </p:nvPr>
        </p:nvSpPr>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fr-CA" sz="1100" b="0" i="0" u="none" strike="noStrike" kern="1200" cap="none" spc="0" normalizeH="0" baseline="0" noProof="0">
                <a:ln>
                  <a:noFill/>
                </a:ln>
                <a:solidFill>
                  <a:srgbClr val="454547"/>
                </a:solidFill>
                <a:effectLst/>
                <a:uLnTx/>
                <a:uFillTx/>
                <a:latin typeface="Arial" panose="020B0604020202020204"/>
                <a:ea typeface="+mn-ea"/>
                <a:cs typeface="+mn-cs"/>
              </a:rPr>
              <a:t>AQPP  |  Du patient à l'entente</a:t>
            </a:r>
            <a:endParaRPr kumimoji="0" lang="en-US" sz="1100" b="0" i="0" u="none" strike="noStrike" kern="1200" cap="none" spc="0" normalizeH="0" baseline="0" noProof="0">
              <a:ln>
                <a:noFill/>
              </a:ln>
              <a:solidFill>
                <a:srgbClr val="454547"/>
              </a:solidFill>
              <a:effectLst/>
              <a:uLnTx/>
              <a:uFillTx/>
              <a:latin typeface="Arial" panose="020B0604020202020204"/>
              <a:ea typeface="+mn-ea"/>
              <a:cs typeface="+mn-cs"/>
            </a:endParaRPr>
          </a:p>
        </p:txBody>
      </p:sp>
      <p:sp>
        <p:nvSpPr>
          <p:cNvPr id="4" name="Espace réservé du numéro de diapositive 3">
            <a:extLst>
              <a:ext uri="{FF2B5EF4-FFF2-40B4-BE49-F238E27FC236}">
                <a16:creationId xmlns:a16="http://schemas.microsoft.com/office/drawing/2014/main" id="{24ABD48B-A046-79A3-CA05-632D1E664B0E}"/>
              </a:ext>
            </a:extLst>
          </p:cNvPr>
          <p:cNvSpPr>
            <a:spLocks noGrp="1"/>
          </p:cNvSpPr>
          <p:nvPr>
            <p:ph type="sldNum" sz="quarter" idx="11"/>
            <p:custDataLst>
              <p:tags r:id="rId3"/>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1882AA3-08DC-0043-8CA8-8CA69DA2397E}" type="slidenum">
              <a:rPr kumimoji="0" lang="en-US" sz="1200" b="1" i="0" u="none" strike="noStrike" kern="1200" cap="none" spc="0" normalizeH="0" baseline="0" noProof="0" smtClean="0">
                <a:ln>
                  <a:noFill/>
                </a:ln>
                <a:solidFill>
                  <a:srgbClr val="454547"/>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200" b="1" i="0" u="none" strike="noStrike" kern="1200" cap="none" spc="0" normalizeH="0" baseline="0" noProof="0">
              <a:ln>
                <a:noFill/>
              </a:ln>
              <a:solidFill>
                <a:srgbClr val="454547"/>
              </a:solidFill>
              <a:effectLst/>
              <a:uLnTx/>
              <a:uFillTx/>
              <a:latin typeface="Arial" panose="020B0604020202020204"/>
              <a:ea typeface="+mn-ea"/>
              <a:cs typeface="+mn-cs"/>
            </a:endParaRPr>
          </a:p>
        </p:txBody>
      </p:sp>
      <p:sp>
        <p:nvSpPr>
          <p:cNvPr id="5" name="Espace réservé du texte 4">
            <a:extLst>
              <a:ext uri="{FF2B5EF4-FFF2-40B4-BE49-F238E27FC236}">
                <a16:creationId xmlns:a16="http://schemas.microsoft.com/office/drawing/2014/main" id="{F9F8A3D1-5E33-B32E-4C8B-8C401FBEE4C9}"/>
              </a:ext>
            </a:extLst>
          </p:cNvPr>
          <p:cNvSpPr>
            <a:spLocks noGrp="1"/>
          </p:cNvSpPr>
          <p:nvPr>
            <p:ph type="body" sz="quarter" idx="12"/>
            <p:custDataLst>
              <p:tags r:id="rId4"/>
            </p:custDataLst>
          </p:nvPr>
        </p:nvSpPr>
        <p:spPr/>
        <p:txBody>
          <a:bodyPr/>
          <a:lstStyle/>
          <a:p>
            <a:pPr marL="342900" indent="-342900">
              <a:buFont typeface="+mj-lt"/>
              <a:buAutoNum type="arabicPeriod"/>
            </a:pPr>
            <a:r>
              <a:rPr lang="fr-CA" sz="2800" dirty="0"/>
              <a:t>Besoin d’une </a:t>
            </a:r>
            <a:r>
              <a:rPr lang="fr-CA" sz="2800" b="1" dirty="0"/>
              <a:t>rémunération</a:t>
            </a:r>
            <a:r>
              <a:rPr lang="fr-CA" sz="2800" dirty="0"/>
              <a:t> adéquate des services pour assurer la santé financière de la pharmacie. </a:t>
            </a:r>
          </a:p>
          <a:p>
            <a:pPr marL="342900" indent="-342900">
              <a:buFont typeface="+mj-lt"/>
              <a:buAutoNum type="arabicPeriod"/>
            </a:pPr>
            <a:r>
              <a:rPr lang="fr-CA" sz="2800" dirty="0"/>
              <a:t>Besoin de </a:t>
            </a:r>
            <a:r>
              <a:rPr lang="fr-CA" sz="2800" b="1" dirty="0"/>
              <a:t>pharmaciens supplémentaires</a:t>
            </a:r>
            <a:r>
              <a:rPr lang="fr-CA" sz="2800" dirty="0"/>
              <a:t>.</a:t>
            </a:r>
          </a:p>
          <a:p>
            <a:pPr marL="342900" indent="-342900">
              <a:buFont typeface="+mj-lt"/>
              <a:buAutoNum type="arabicPeriod"/>
            </a:pPr>
            <a:r>
              <a:rPr lang="fr-CA" sz="2800" dirty="0"/>
              <a:t>Besoin de revoir certains </a:t>
            </a:r>
            <a:r>
              <a:rPr lang="fr-CA" sz="2800" b="1" dirty="0"/>
              <a:t>processus clés </a:t>
            </a:r>
            <a:r>
              <a:rPr lang="fr-CA" sz="2800" dirty="0"/>
              <a:t>pour être plus efficaces.</a:t>
            </a:r>
          </a:p>
          <a:p>
            <a:pPr marL="342900" indent="-342900">
              <a:buFont typeface="+mj-lt"/>
              <a:buAutoNum type="arabicPeriod"/>
            </a:pPr>
            <a:r>
              <a:rPr lang="fr-CA" sz="2800" dirty="0"/>
              <a:t>Besoin de protéger notre droit de propriété pour renforcer notre indépendance professionnelle</a:t>
            </a:r>
          </a:p>
          <a:p>
            <a:pPr marL="914400" lvl="1" indent="-457200"/>
            <a:r>
              <a:rPr lang="fr-CA" sz="2800" dirty="0"/>
              <a:t>Regagner confiance envers le processus disciplinaire.</a:t>
            </a:r>
          </a:p>
          <a:p>
            <a:endParaRPr lang="fr-CA" dirty="0"/>
          </a:p>
        </p:txBody>
      </p:sp>
    </p:spTree>
    <p:extLst>
      <p:ext uri="{BB962C8B-B14F-4D97-AF65-F5344CB8AC3E}">
        <p14:creationId xmlns:p14="http://schemas.microsoft.com/office/powerpoint/2010/main" val="2412370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79BA24CF-B1AE-C8E7-B130-E00CFCFBBF68}"/>
              </a:ext>
            </a:extLst>
          </p:cNvPr>
          <p:cNvGrpSpPr/>
          <p:nvPr/>
        </p:nvGrpSpPr>
        <p:grpSpPr>
          <a:xfrm>
            <a:off x="3393491" y="343353"/>
            <a:ext cx="8798509" cy="6442075"/>
            <a:chOff x="627031" y="1218440"/>
            <a:chExt cx="6839905" cy="4851036"/>
          </a:xfrm>
        </p:grpSpPr>
        <p:pic>
          <p:nvPicPr>
            <p:cNvPr id="13" name="Image 12">
              <a:extLst>
                <a:ext uri="{FF2B5EF4-FFF2-40B4-BE49-F238E27FC236}">
                  <a16:creationId xmlns:a16="http://schemas.microsoft.com/office/drawing/2014/main" id="{0F4A2C62-7C2D-848C-56C3-F95ACC28F2BB}"/>
                </a:ext>
              </a:extLst>
            </p:cNvPr>
            <p:cNvPicPr>
              <a:picLocks noChangeAspect="1"/>
            </p:cNvPicPr>
            <p:nvPr>
              <p:custDataLst>
                <p:tags r:id="rId6"/>
              </p:custDataLst>
            </p:nvPr>
          </p:nvPicPr>
          <p:blipFill>
            <a:blip r:embed="rId10"/>
            <a:stretch>
              <a:fillRect/>
            </a:stretch>
          </p:blipFill>
          <p:spPr>
            <a:xfrm>
              <a:off x="627031" y="1220574"/>
              <a:ext cx="6839905" cy="4848902"/>
            </a:xfrm>
            <a:prstGeom prst="rect">
              <a:avLst/>
            </a:prstGeom>
          </p:spPr>
        </p:pic>
        <p:sp>
          <p:nvSpPr>
            <p:cNvPr id="9" name="Rectangle 8">
              <a:extLst>
                <a:ext uri="{FF2B5EF4-FFF2-40B4-BE49-F238E27FC236}">
                  <a16:creationId xmlns:a16="http://schemas.microsoft.com/office/drawing/2014/main" id="{4240FEA2-D3E1-178F-F98B-44A02D8D3045}"/>
                </a:ext>
              </a:extLst>
            </p:cNvPr>
            <p:cNvSpPr/>
            <p:nvPr>
              <p:custDataLst>
                <p:tags r:id="rId7"/>
              </p:custDataLst>
            </p:nvPr>
          </p:nvSpPr>
          <p:spPr>
            <a:xfrm>
              <a:off x="6353410" y="1218440"/>
              <a:ext cx="1113526" cy="686560"/>
            </a:xfrm>
            <a:prstGeom prst="rect">
              <a:avLst/>
            </a:prstGeom>
            <a:noFill/>
            <a:ln>
              <a:solidFill>
                <a:schemeClr val="accent5"/>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CA"/>
            </a:p>
          </p:txBody>
        </p:sp>
      </p:grpSp>
      <p:sp>
        <p:nvSpPr>
          <p:cNvPr id="5" name="Titre 4">
            <a:extLst>
              <a:ext uri="{FF2B5EF4-FFF2-40B4-BE49-F238E27FC236}">
                <a16:creationId xmlns:a16="http://schemas.microsoft.com/office/drawing/2014/main" id="{EFF0BF1B-359C-EE10-09FB-7CEFE06C58FF}"/>
              </a:ext>
            </a:extLst>
          </p:cNvPr>
          <p:cNvSpPr>
            <a:spLocks noGrp="1"/>
          </p:cNvSpPr>
          <p:nvPr>
            <p:ph type="title"/>
            <p:custDataLst>
              <p:tags r:id="rId1"/>
            </p:custDataLst>
          </p:nvPr>
        </p:nvSpPr>
        <p:spPr>
          <a:xfrm>
            <a:off x="332792" y="555171"/>
            <a:ext cx="3255818" cy="961933"/>
          </a:xfrm>
        </p:spPr>
        <p:txBody>
          <a:bodyPr/>
          <a:lstStyle/>
          <a:p>
            <a:r>
              <a:rPr lang="fr-CA" dirty="0"/>
              <a:t>Étapes clés du virage clinique</a:t>
            </a:r>
            <a:endParaRPr lang="fr-CA" dirty="0">
              <a:cs typeface="Arial"/>
            </a:endParaRPr>
          </a:p>
        </p:txBody>
      </p:sp>
      <p:sp>
        <p:nvSpPr>
          <p:cNvPr id="6" name="Espace réservé du texte 5">
            <a:extLst>
              <a:ext uri="{FF2B5EF4-FFF2-40B4-BE49-F238E27FC236}">
                <a16:creationId xmlns:a16="http://schemas.microsoft.com/office/drawing/2014/main" id="{05550616-B615-BD2F-1D14-D09BE9EE7EC2}"/>
              </a:ext>
            </a:extLst>
          </p:cNvPr>
          <p:cNvSpPr>
            <a:spLocks noGrp="1"/>
          </p:cNvSpPr>
          <p:nvPr>
            <p:ph type="body" sz="quarter" idx="12"/>
            <p:custDataLst>
              <p:tags r:id="rId2"/>
            </p:custDataLst>
          </p:nvPr>
        </p:nvSpPr>
        <p:spPr>
          <a:xfrm>
            <a:off x="332792" y="1875741"/>
            <a:ext cx="2998237" cy="4154946"/>
          </a:xfrm>
        </p:spPr>
        <p:txBody>
          <a:bodyPr lIns="0" tIns="0" rIns="0" bIns="0" anchor="t"/>
          <a:lstStyle/>
          <a:p>
            <a:r>
              <a:rPr lang="fr-CA" dirty="0"/>
              <a:t>GUIDE DE PRÉPARATION AU PL 67 :</a:t>
            </a:r>
          </a:p>
          <a:p>
            <a:r>
              <a:rPr lang="fr-CA" dirty="0"/>
              <a:t>Comprendre la facturation actuelle est la clé dans l’optimisation du processus clinique.</a:t>
            </a:r>
          </a:p>
          <a:p>
            <a:endParaRPr lang="fr-CA" dirty="0"/>
          </a:p>
          <a:p>
            <a:r>
              <a:rPr lang="fr-CA" dirty="0"/>
              <a:t>Partir du patient et ses besoins! </a:t>
            </a:r>
          </a:p>
          <a:p>
            <a:endParaRPr lang="fr-CA" dirty="0"/>
          </a:p>
          <a:p>
            <a:endParaRPr lang="fr-CA" dirty="0"/>
          </a:p>
        </p:txBody>
      </p:sp>
      <p:sp>
        <p:nvSpPr>
          <p:cNvPr id="2" name="Espace réservé du pied de page 1">
            <a:extLst>
              <a:ext uri="{FF2B5EF4-FFF2-40B4-BE49-F238E27FC236}">
                <a16:creationId xmlns:a16="http://schemas.microsoft.com/office/drawing/2014/main" id="{237A670A-EC1F-C112-A883-324AC58DBFD3}"/>
              </a:ext>
            </a:extLst>
          </p:cNvPr>
          <p:cNvSpPr>
            <a:spLocks noGrp="1"/>
          </p:cNvSpPr>
          <p:nvPr>
            <p:ph type="ftr" sz="quarter" idx="10"/>
            <p:custDataLst>
              <p:tags r:id="rId3"/>
            </p:custDataLst>
          </p:nvPr>
        </p:nvSpPr>
        <p:spPr/>
        <p:txBody>
          <a:bodyPr/>
          <a:lstStyle/>
          <a:p>
            <a:pPr algn="l"/>
            <a:r>
              <a:rPr lang="fr-CA"/>
              <a:t>AQPP  |  Du patient à l'entente</a:t>
            </a:r>
            <a:endParaRPr lang="en-US"/>
          </a:p>
        </p:txBody>
      </p:sp>
      <p:sp>
        <p:nvSpPr>
          <p:cNvPr id="15" name="ZoneTexte 14">
            <a:extLst>
              <a:ext uri="{FF2B5EF4-FFF2-40B4-BE49-F238E27FC236}">
                <a16:creationId xmlns:a16="http://schemas.microsoft.com/office/drawing/2014/main" id="{28FA7D41-9CF1-37DF-92BD-A7CE6BBD8BA8}"/>
              </a:ext>
            </a:extLst>
          </p:cNvPr>
          <p:cNvSpPr txBox="1"/>
          <p:nvPr>
            <p:custDataLst>
              <p:tags r:id="rId4"/>
            </p:custDataLst>
          </p:nvPr>
        </p:nvSpPr>
        <p:spPr>
          <a:xfrm>
            <a:off x="6389915" y="6539466"/>
            <a:ext cx="5660571" cy="261610"/>
          </a:xfrm>
          <a:prstGeom prst="rect">
            <a:avLst/>
          </a:prstGeom>
          <a:noFill/>
        </p:spPr>
        <p:txBody>
          <a:bodyPr wrap="square">
            <a:spAutoFit/>
          </a:bodyPr>
          <a:lstStyle/>
          <a:p>
            <a:r>
              <a:rPr lang="fr-CA" sz="1100" dirty="0"/>
              <a:t>Crédit : CRESCENDO PHARMA</a:t>
            </a:r>
          </a:p>
        </p:txBody>
      </p:sp>
      <p:sp>
        <p:nvSpPr>
          <p:cNvPr id="3" name="Espace réservé du numéro de diapositive 2">
            <a:extLst>
              <a:ext uri="{FF2B5EF4-FFF2-40B4-BE49-F238E27FC236}">
                <a16:creationId xmlns:a16="http://schemas.microsoft.com/office/drawing/2014/main" id="{569F0CB4-D745-CC38-FDB4-4683F1BF8B13}"/>
              </a:ext>
            </a:extLst>
          </p:cNvPr>
          <p:cNvSpPr>
            <a:spLocks noGrp="1"/>
          </p:cNvSpPr>
          <p:nvPr>
            <p:ph type="sldNum" sz="quarter" idx="11"/>
            <p:custDataLst>
              <p:tags r:id="rId5"/>
            </p:custDataLst>
          </p:nvPr>
        </p:nvSpPr>
        <p:spPr/>
        <p:txBody>
          <a:bodyPr/>
          <a:lstStyle/>
          <a:p>
            <a:fld id="{91882AA3-08DC-0043-8CA8-8CA69DA2397E}" type="slidenum">
              <a:rPr lang="en-US" smtClean="0"/>
              <a:pPr/>
              <a:t>8</a:t>
            </a:fld>
            <a:endParaRPr lang="en-US"/>
          </a:p>
        </p:txBody>
      </p:sp>
    </p:spTree>
    <p:extLst>
      <p:ext uri="{BB962C8B-B14F-4D97-AF65-F5344CB8AC3E}">
        <p14:creationId xmlns:p14="http://schemas.microsoft.com/office/powerpoint/2010/main" val="10626305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DFE13B-58D1-DEDC-22AB-12A3E2EE4DA6}"/>
            </a:ext>
          </a:extLst>
        </p:cNvPr>
        <p:cNvGrpSpPr/>
        <p:nvPr/>
      </p:nvGrpSpPr>
      <p:grpSpPr>
        <a:xfrm>
          <a:off x="0" y="0"/>
          <a:ext cx="0" cy="0"/>
          <a:chOff x="0" y="0"/>
          <a:chExt cx="0" cy="0"/>
        </a:xfrm>
      </p:grpSpPr>
      <p:sp>
        <p:nvSpPr>
          <p:cNvPr id="6" name="Titre 5">
            <a:extLst>
              <a:ext uri="{FF2B5EF4-FFF2-40B4-BE49-F238E27FC236}">
                <a16:creationId xmlns:a16="http://schemas.microsoft.com/office/drawing/2014/main" id="{508B5C20-0DA5-C260-6AED-04798CE571AE}"/>
              </a:ext>
            </a:extLst>
          </p:cNvPr>
          <p:cNvSpPr>
            <a:spLocks noGrp="1"/>
          </p:cNvSpPr>
          <p:nvPr>
            <p:ph type="title"/>
            <p:custDataLst>
              <p:tags r:id="rId1"/>
            </p:custDataLst>
          </p:nvPr>
        </p:nvSpPr>
        <p:spPr>
          <a:xfrm>
            <a:off x="4223792" y="2744924"/>
            <a:ext cx="7488832" cy="1368152"/>
          </a:xfrm>
        </p:spPr>
        <p:txBody>
          <a:bodyPr/>
          <a:lstStyle/>
          <a:p>
            <a:r>
              <a:rPr lang="fr-CA"/>
              <a:t>Comprendre les fondements des ententes</a:t>
            </a:r>
            <a:br>
              <a:rPr lang="fr-CA"/>
            </a:br>
            <a:endParaRPr lang="fr-CA"/>
          </a:p>
        </p:txBody>
      </p:sp>
      <p:sp>
        <p:nvSpPr>
          <p:cNvPr id="12" name="Espace réservé du texte 11">
            <a:extLst>
              <a:ext uri="{FF2B5EF4-FFF2-40B4-BE49-F238E27FC236}">
                <a16:creationId xmlns:a16="http://schemas.microsoft.com/office/drawing/2014/main" id="{9525CF6F-A324-8027-7494-42E4BF84F753}"/>
              </a:ext>
            </a:extLst>
          </p:cNvPr>
          <p:cNvSpPr>
            <a:spLocks noGrp="1"/>
          </p:cNvSpPr>
          <p:nvPr>
            <p:ph type="body" sz="quarter" idx="14"/>
            <p:custDataLst>
              <p:tags r:id="rId2"/>
            </p:custDataLst>
          </p:nvPr>
        </p:nvSpPr>
        <p:spPr/>
        <p:txBody>
          <a:bodyPr/>
          <a:lstStyle/>
          <a:p>
            <a:endParaRPr lang="fr-CA"/>
          </a:p>
        </p:txBody>
      </p:sp>
      <p:sp>
        <p:nvSpPr>
          <p:cNvPr id="4" name="Espace réservé du numéro de diapositive 3">
            <a:extLst>
              <a:ext uri="{FF2B5EF4-FFF2-40B4-BE49-F238E27FC236}">
                <a16:creationId xmlns:a16="http://schemas.microsoft.com/office/drawing/2014/main" id="{6338BD8A-EA2A-ADFE-BD74-8B829CC5B08B}"/>
              </a:ext>
            </a:extLst>
          </p:cNvPr>
          <p:cNvSpPr>
            <a:spLocks noGrp="1"/>
          </p:cNvSpPr>
          <p:nvPr>
            <p:ph type="sldNum" sz="quarter" idx="4294967295"/>
            <p:custDataLst>
              <p:tags r:id="rId3"/>
            </p:custDataLst>
          </p:nvPr>
        </p:nvSpPr>
        <p:spPr>
          <a:xfrm>
            <a:off x="11455400" y="6442075"/>
            <a:ext cx="736600" cy="365125"/>
          </a:xfrm>
          <a:prstGeom prst="rect">
            <a:avLst/>
          </a:prstGeom>
        </p:spPr>
        <p:txBody>
          <a:bodyPr/>
          <a:lstStyle/>
          <a:p>
            <a:fld id="{91882AA3-08DC-0043-8CA8-8CA69DA2397E}" type="slidenum">
              <a:rPr lang="en-US" smtClean="0"/>
              <a:pPr/>
              <a:t>9</a:t>
            </a:fld>
            <a:endParaRPr lang="en-US"/>
          </a:p>
        </p:txBody>
      </p:sp>
      <p:sp>
        <p:nvSpPr>
          <p:cNvPr id="2" name="Espace réservé du pied de page 3">
            <a:extLst>
              <a:ext uri="{FF2B5EF4-FFF2-40B4-BE49-F238E27FC236}">
                <a16:creationId xmlns:a16="http://schemas.microsoft.com/office/drawing/2014/main" id="{A0F03F63-7404-A69D-41C5-7A1ED653886D}"/>
              </a:ext>
            </a:extLst>
          </p:cNvPr>
          <p:cNvSpPr txBox="1">
            <a:spLocks/>
          </p:cNvSpPr>
          <p:nvPr>
            <p:custDataLst>
              <p:tags r:id="rId4"/>
            </p:custDataLst>
          </p:nvPr>
        </p:nvSpPr>
        <p:spPr>
          <a:xfrm>
            <a:off x="609600" y="6324600"/>
            <a:ext cx="9601200" cy="365125"/>
          </a:xfrm>
          <a:prstGeom prst="rect">
            <a:avLst/>
          </a:prstGeom>
        </p:spPr>
        <p:txBody>
          <a:bodyPr/>
          <a:lstStyle>
            <a:defPPr>
              <a:defRPr kern="0"/>
            </a:defPPr>
          </a:lstStyle>
          <a:p>
            <a:pPr algn="l"/>
            <a:r>
              <a:rPr lang="fr-CA" sz="1100"/>
              <a:t>AQPP  |  Du patient à l'entente</a:t>
            </a:r>
            <a:endParaRPr lang="en-US" sz="1100"/>
          </a:p>
        </p:txBody>
      </p:sp>
    </p:spTree>
    <p:extLst>
      <p:ext uri="{BB962C8B-B14F-4D97-AF65-F5344CB8AC3E}">
        <p14:creationId xmlns:p14="http://schemas.microsoft.com/office/powerpoint/2010/main" val="4198769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00.xml><?xml version="1.0" encoding="utf-8"?>
<p:tagLst xmlns:a="http://schemas.openxmlformats.org/drawingml/2006/main" xmlns:r="http://schemas.openxmlformats.org/officeDocument/2006/relationships" xmlns:p="http://schemas.openxmlformats.org/presentationml/2006/main">
  <p:tag name="NUM" val="3"/>
</p:tagLst>
</file>

<file path=ppt/tags/tag101.xml><?xml version="1.0" encoding="utf-8"?>
<p:tagLst xmlns:a="http://schemas.openxmlformats.org/drawingml/2006/main" xmlns:r="http://schemas.openxmlformats.org/officeDocument/2006/relationships" xmlns:p="http://schemas.openxmlformats.org/presentationml/2006/main">
  <p:tag name="NUM" val="4"/>
</p:tagLst>
</file>

<file path=ppt/tags/tag102.xml><?xml version="1.0" encoding="utf-8"?>
<p:tagLst xmlns:a="http://schemas.openxmlformats.org/drawingml/2006/main" xmlns:r="http://schemas.openxmlformats.org/officeDocument/2006/relationships" xmlns:p="http://schemas.openxmlformats.org/presentationml/2006/main">
  <p:tag name="NUM" val="5"/>
</p:tagLst>
</file>

<file path=ppt/tags/tag103.xml><?xml version="1.0" encoding="utf-8"?>
<p:tagLst xmlns:a="http://schemas.openxmlformats.org/drawingml/2006/main" xmlns:r="http://schemas.openxmlformats.org/officeDocument/2006/relationships" xmlns:p="http://schemas.openxmlformats.org/presentationml/2006/main">
  <p:tag name="NUM" val="6"/>
</p:tagLst>
</file>

<file path=ppt/tags/tag104.xml><?xml version="1.0" encoding="utf-8"?>
<p:tagLst xmlns:a="http://schemas.openxmlformats.org/drawingml/2006/main" xmlns:r="http://schemas.openxmlformats.org/officeDocument/2006/relationships" xmlns:p="http://schemas.openxmlformats.org/presentationml/2006/main">
  <p:tag name="NUM" val="7"/>
</p:tagLst>
</file>

<file path=ppt/tags/tag105.xml><?xml version="1.0" encoding="utf-8"?>
<p:tagLst xmlns:a="http://schemas.openxmlformats.org/drawingml/2006/main" xmlns:r="http://schemas.openxmlformats.org/officeDocument/2006/relationships" xmlns:p="http://schemas.openxmlformats.org/presentationml/2006/main">
  <p:tag name="NUM" val="2"/>
</p:tagLst>
</file>

<file path=ppt/tags/tag106.xml><?xml version="1.0" encoding="utf-8"?>
<p:tagLst xmlns:a="http://schemas.openxmlformats.org/drawingml/2006/main" xmlns:r="http://schemas.openxmlformats.org/officeDocument/2006/relationships" xmlns:p="http://schemas.openxmlformats.org/presentationml/2006/main">
  <p:tag name="NUM" val="3"/>
</p:tagLst>
</file>

<file path=ppt/tags/tag107.xml><?xml version="1.0" encoding="utf-8"?>
<p:tagLst xmlns:a="http://schemas.openxmlformats.org/drawingml/2006/main" xmlns:r="http://schemas.openxmlformats.org/officeDocument/2006/relationships" xmlns:p="http://schemas.openxmlformats.org/presentationml/2006/main">
  <p:tag name="NUM" val="4"/>
</p:tagLst>
</file>

<file path=ppt/tags/tag108.xml><?xml version="1.0" encoding="utf-8"?>
<p:tagLst xmlns:a="http://schemas.openxmlformats.org/drawingml/2006/main" xmlns:r="http://schemas.openxmlformats.org/officeDocument/2006/relationships" xmlns:p="http://schemas.openxmlformats.org/presentationml/2006/main">
  <p:tag name="NUM" val="1"/>
</p:tagLst>
</file>

<file path=ppt/tags/tag109.xml><?xml version="1.0" encoding="utf-8"?>
<p:tagLst xmlns:a="http://schemas.openxmlformats.org/drawingml/2006/main" xmlns:r="http://schemas.openxmlformats.org/officeDocument/2006/relationships" xmlns:p="http://schemas.openxmlformats.org/presentationml/2006/main">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10.xml><?xml version="1.0" encoding="utf-8"?>
<p:tagLst xmlns:a="http://schemas.openxmlformats.org/drawingml/2006/main" xmlns:r="http://schemas.openxmlformats.org/officeDocument/2006/relationships" xmlns:p="http://schemas.openxmlformats.org/presentationml/2006/main">
  <p:tag name="NUM" val="3"/>
</p:tagLst>
</file>

<file path=ppt/tags/tag111.xml><?xml version="1.0" encoding="utf-8"?>
<p:tagLst xmlns:a="http://schemas.openxmlformats.org/drawingml/2006/main" xmlns:r="http://schemas.openxmlformats.org/officeDocument/2006/relationships" xmlns:p="http://schemas.openxmlformats.org/presentationml/2006/main">
  <p:tag name="NUM" val="4"/>
</p:tagLst>
</file>

<file path=ppt/tags/tag112.xml><?xml version="1.0" encoding="utf-8"?>
<p:tagLst xmlns:a="http://schemas.openxmlformats.org/drawingml/2006/main" xmlns:r="http://schemas.openxmlformats.org/officeDocument/2006/relationships" xmlns:p="http://schemas.openxmlformats.org/presentationml/2006/main">
  <p:tag name="NUM" val="5"/>
</p:tagLst>
</file>

<file path=ppt/tags/tag113.xml><?xml version="1.0" encoding="utf-8"?>
<p:tagLst xmlns:a="http://schemas.openxmlformats.org/drawingml/2006/main" xmlns:r="http://schemas.openxmlformats.org/officeDocument/2006/relationships" xmlns:p="http://schemas.openxmlformats.org/presentationml/2006/main">
  <p:tag name="NUM" val="6"/>
</p:tagLst>
</file>

<file path=ppt/tags/tag114.xml><?xml version="1.0" encoding="utf-8"?>
<p:tagLst xmlns:a="http://schemas.openxmlformats.org/drawingml/2006/main" xmlns:r="http://schemas.openxmlformats.org/officeDocument/2006/relationships" xmlns:p="http://schemas.openxmlformats.org/presentationml/2006/main">
  <p:tag name="NUM" val="7"/>
</p:tagLst>
</file>

<file path=ppt/tags/tag115.xml><?xml version="1.0" encoding="utf-8"?>
<p:tagLst xmlns:a="http://schemas.openxmlformats.org/drawingml/2006/main" xmlns:r="http://schemas.openxmlformats.org/officeDocument/2006/relationships" xmlns:p="http://schemas.openxmlformats.org/presentationml/2006/main">
  <p:tag name="NUM" val="1"/>
</p:tagLst>
</file>

<file path=ppt/tags/tag116.xml><?xml version="1.0" encoding="utf-8"?>
<p:tagLst xmlns:a="http://schemas.openxmlformats.org/drawingml/2006/main" xmlns:r="http://schemas.openxmlformats.org/officeDocument/2006/relationships" xmlns:p="http://schemas.openxmlformats.org/presentationml/2006/main">
  <p:tag name="NUM" val="2"/>
</p:tagLst>
</file>

<file path=ppt/tags/tag117.xml><?xml version="1.0" encoding="utf-8"?>
<p:tagLst xmlns:a="http://schemas.openxmlformats.org/drawingml/2006/main" xmlns:r="http://schemas.openxmlformats.org/officeDocument/2006/relationships" xmlns:p="http://schemas.openxmlformats.org/presentationml/2006/main">
  <p:tag name="NUM" val="3"/>
</p:tagLst>
</file>

<file path=ppt/tags/tag118.xml><?xml version="1.0" encoding="utf-8"?>
<p:tagLst xmlns:a="http://schemas.openxmlformats.org/drawingml/2006/main" xmlns:r="http://schemas.openxmlformats.org/officeDocument/2006/relationships" xmlns:p="http://schemas.openxmlformats.org/presentationml/2006/main">
  <p:tag name="NUM" val="4"/>
</p:tagLst>
</file>

<file path=ppt/tags/tag119.xml><?xml version="1.0" encoding="utf-8"?>
<p:tagLst xmlns:a="http://schemas.openxmlformats.org/drawingml/2006/main" xmlns:r="http://schemas.openxmlformats.org/officeDocument/2006/relationships" xmlns:p="http://schemas.openxmlformats.org/presentationml/2006/main">
  <p:tag name="NUM" val="5"/>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NUM" val="6"/>
</p:tagLst>
</file>

<file path=ppt/tags/tag121.xml><?xml version="1.0" encoding="utf-8"?>
<p:tagLst xmlns:a="http://schemas.openxmlformats.org/drawingml/2006/main" xmlns:r="http://schemas.openxmlformats.org/officeDocument/2006/relationships" xmlns:p="http://schemas.openxmlformats.org/presentationml/2006/main">
  <p:tag name="NUM" val="1"/>
</p:tagLst>
</file>

<file path=ppt/tags/tag122.xml><?xml version="1.0" encoding="utf-8"?>
<p:tagLst xmlns:a="http://schemas.openxmlformats.org/drawingml/2006/main" xmlns:r="http://schemas.openxmlformats.org/officeDocument/2006/relationships" xmlns:p="http://schemas.openxmlformats.org/presentationml/2006/main">
  <p:tag name="NUM" val="2"/>
</p:tagLst>
</file>

<file path=ppt/tags/tag123.xml><?xml version="1.0" encoding="utf-8"?>
<p:tagLst xmlns:a="http://schemas.openxmlformats.org/drawingml/2006/main" xmlns:r="http://schemas.openxmlformats.org/officeDocument/2006/relationships" xmlns:p="http://schemas.openxmlformats.org/presentationml/2006/main">
  <p:tag name="NUM" val="3"/>
</p:tagLst>
</file>

<file path=ppt/tags/tag124.xml><?xml version="1.0" encoding="utf-8"?>
<p:tagLst xmlns:a="http://schemas.openxmlformats.org/drawingml/2006/main" xmlns:r="http://schemas.openxmlformats.org/officeDocument/2006/relationships" xmlns:p="http://schemas.openxmlformats.org/presentationml/2006/main">
  <p:tag name="NUM" val="4"/>
</p:tagLst>
</file>

<file path=ppt/tags/tag125.xml><?xml version="1.0" encoding="utf-8"?>
<p:tagLst xmlns:a="http://schemas.openxmlformats.org/drawingml/2006/main" xmlns:r="http://schemas.openxmlformats.org/officeDocument/2006/relationships" xmlns:p="http://schemas.openxmlformats.org/presentationml/2006/main">
  <p:tag name="NUM" val="5"/>
</p:tagLst>
</file>

<file path=ppt/tags/tag126.xml><?xml version="1.0" encoding="utf-8"?>
<p:tagLst xmlns:a="http://schemas.openxmlformats.org/drawingml/2006/main" xmlns:r="http://schemas.openxmlformats.org/officeDocument/2006/relationships" xmlns:p="http://schemas.openxmlformats.org/presentationml/2006/main">
  <p:tag name="NUM" val="6"/>
</p:tagLst>
</file>

<file path=ppt/tags/tag127.xml><?xml version="1.0" encoding="utf-8"?>
<p:tagLst xmlns:a="http://schemas.openxmlformats.org/drawingml/2006/main" xmlns:r="http://schemas.openxmlformats.org/officeDocument/2006/relationships" xmlns:p="http://schemas.openxmlformats.org/presentationml/2006/main">
  <p:tag name="NUM" val="7"/>
</p:tagLst>
</file>

<file path=ppt/tags/tag128.xml><?xml version="1.0" encoding="utf-8"?>
<p:tagLst xmlns:a="http://schemas.openxmlformats.org/drawingml/2006/main" xmlns:r="http://schemas.openxmlformats.org/officeDocument/2006/relationships" xmlns:p="http://schemas.openxmlformats.org/presentationml/2006/main">
  <p:tag name="NUM" val="1"/>
</p:tagLst>
</file>

<file path=ppt/tags/tag129.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30.xml><?xml version="1.0" encoding="utf-8"?>
<p:tagLst xmlns:a="http://schemas.openxmlformats.org/drawingml/2006/main" xmlns:r="http://schemas.openxmlformats.org/officeDocument/2006/relationships" xmlns:p="http://schemas.openxmlformats.org/presentationml/2006/main">
  <p:tag name="NUM" val="3"/>
</p:tagLst>
</file>

<file path=ppt/tags/tag131.xml><?xml version="1.0" encoding="utf-8"?>
<p:tagLst xmlns:a="http://schemas.openxmlformats.org/drawingml/2006/main" xmlns:r="http://schemas.openxmlformats.org/officeDocument/2006/relationships" xmlns:p="http://schemas.openxmlformats.org/presentationml/2006/main">
  <p:tag name="NUM" val="1"/>
</p:tagLst>
</file>

<file path=ppt/tags/tag132.xml><?xml version="1.0" encoding="utf-8"?>
<p:tagLst xmlns:a="http://schemas.openxmlformats.org/drawingml/2006/main" xmlns:r="http://schemas.openxmlformats.org/officeDocument/2006/relationships" xmlns:p="http://schemas.openxmlformats.org/presentationml/2006/main">
  <p:tag name="NUM" val="2"/>
</p:tagLst>
</file>

<file path=ppt/tags/tag133.xml><?xml version="1.0" encoding="utf-8"?>
<p:tagLst xmlns:a="http://schemas.openxmlformats.org/drawingml/2006/main" xmlns:r="http://schemas.openxmlformats.org/officeDocument/2006/relationships" xmlns:p="http://schemas.openxmlformats.org/presentationml/2006/main">
  <p:tag name="NUM" val="3"/>
</p:tagLst>
</file>

<file path=ppt/tags/tag134.xml><?xml version="1.0" encoding="utf-8"?>
<p:tagLst xmlns:a="http://schemas.openxmlformats.org/drawingml/2006/main" xmlns:r="http://schemas.openxmlformats.org/officeDocument/2006/relationships" xmlns:p="http://schemas.openxmlformats.org/presentationml/2006/main">
  <p:tag name="NUM" val="4"/>
</p:tagLst>
</file>

<file path=ppt/tags/tag135.xml><?xml version="1.0" encoding="utf-8"?>
<p:tagLst xmlns:a="http://schemas.openxmlformats.org/drawingml/2006/main" xmlns:r="http://schemas.openxmlformats.org/officeDocument/2006/relationships" xmlns:p="http://schemas.openxmlformats.org/presentationml/2006/main">
  <p:tag name="NUM" val="5"/>
</p:tagLst>
</file>

<file path=ppt/tags/tag136.xml><?xml version="1.0" encoding="utf-8"?>
<p:tagLst xmlns:a="http://schemas.openxmlformats.org/drawingml/2006/main" xmlns:r="http://schemas.openxmlformats.org/officeDocument/2006/relationships" xmlns:p="http://schemas.openxmlformats.org/presentationml/2006/main">
  <p:tag name="NUM" val="6"/>
</p:tagLst>
</file>

<file path=ppt/tags/tag137.xml><?xml version="1.0" encoding="utf-8"?>
<p:tagLst xmlns:a="http://schemas.openxmlformats.org/drawingml/2006/main" xmlns:r="http://schemas.openxmlformats.org/officeDocument/2006/relationships" xmlns:p="http://schemas.openxmlformats.org/presentationml/2006/main">
  <p:tag name="NUM" val="7"/>
</p:tagLst>
</file>

<file path=ppt/tags/tag138.xml><?xml version="1.0" encoding="utf-8"?>
<p:tagLst xmlns:a="http://schemas.openxmlformats.org/drawingml/2006/main" xmlns:r="http://schemas.openxmlformats.org/officeDocument/2006/relationships" xmlns:p="http://schemas.openxmlformats.org/presentationml/2006/main">
  <p:tag name="NUM" val="1"/>
</p:tagLst>
</file>

<file path=ppt/tags/tag139.xml><?xml version="1.0" encoding="utf-8"?>
<p:tagLst xmlns:a="http://schemas.openxmlformats.org/drawingml/2006/main" xmlns:r="http://schemas.openxmlformats.org/officeDocument/2006/relationships" xmlns:p="http://schemas.openxmlformats.org/presentationml/2006/main">
  <p:tag name="NUM" val="2"/>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40.xml><?xml version="1.0" encoding="utf-8"?>
<p:tagLst xmlns:a="http://schemas.openxmlformats.org/drawingml/2006/main" xmlns:r="http://schemas.openxmlformats.org/officeDocument/2006/relationships" xmlns:p="http://schemas.openxmlformats.org/presentationml/2006/main">
  <p:tag name="NUM" val="3"/>
</p:tagLst>
</file>

<file path=ppt/tags/tag141.xml><?xml version="1.0" encoding="utf-8"?>
<p:tagLst xmlns:a="http://schemas.openxmlformats.org/drawingml/2006/main" xmlns:r="http://schemas.openxmlformats.org/officeDocument/2006/relationships" xmlns:p="http://schemas.openxmlformats.org/presentationml/2006/main">
  <p:tag name="NUM" val="4"/>
</p:tagLst>
</file>

<file path=ppt/tags/tag142.xml><?xml version="1.0" encoding="utf-8"?>
<p:tagLst xmlns:a="http://schemas.openxmlformats.org/drawingml/2006/main" xmlns:r="http://schemas.openxmlformats.org/officeDocument/2006/relationships" xmlns:p="http://schemas.openxmlformats.org/presentationml/2006/main">
  <p:tag name="NUM" val="5"/>
</p:tagLst>
</file>

<file path=ppt/tags/tag143.xml><?xml version="1.0" encoding="utf-8"?>
<p:tagLst xmlns:a="http://schemas.openxmlformats.org/drawingml/2006/main" xmlns:r="http://schemas.openxmlformats.org/officeDocument/2006/relationships" xmlns:p="http://schemas.openxmlformats.org/presentationml/2006/main">
  <p:tag name="NUM" val="1"/>
</p:tagLst>
</file>

<file path=ppt/tags/tag144.xml><?xml version="1.0" encoding="utf-8"?>
<p:tagLst xmlns:a="http://schemas.openxmlformats.org/drawingml/2006/main" xmlns:r="http://schemas.openxmlformats.org/officeDocument/2006/relationships" xmlns:p="http://schemas.openxmlformats.org/presentationml/2006/main">
  <p:tag name="NUM" val="2"/>
</p:tagLst>
</file>

<file path=ppt/tags/tag145.xml><?xml version="1.0" encoding="utf-8"?>
<p:tagLst xmlns:a="http://schemas.openxmlformats.org/drawingml/2006/main" xmlns:r="http://schemas.openxmlformats.org/officeDocument/2006/relationships" xmlns:p="http://schemas.openxmlformats.org/presentationml/2006/main">
  <p:tag name="NUM" val="3"/>
</p:tagLst>
</file>

<file path=ppt/tags/tag146.xml><?xml version="1.0" encoding="utf-8"?>
<p:tagLst xmlns:a="http://schemas.openxmlformats.org/drawingml/2006/main" xmlns:r="http://schemas.openxmlformats.org/officeDocument/2006/relationships" xmlns:p="http://schemas.openxmlformats.org/presentationml/2006/main">
  <p:tag name="NUM" val="4"/>
</p:tagLst>
</file>

<file path=ppt/tags/tag147.xml><?xml version="1.0" encoding="utf-8"?>
<p:tagLst xmlns:a="http://schemas.openxmlformats.org/drawingml/2006/main" xmlns:r="http://schemas.openxmlformats.org/officeDocument/2006/relationships" xmlns:p="http://schemas.openxmlformats.org/presentationml/2006/main">
  <p:tag name="NUM" val="5"/>
</p:tagLst>
</file>

<file path=ppt/tags/tag148.xml><?xml version="1.0" encoding="utf-8"?>
<p:tagLst xmlns:a="http://schemas.openxmlformats.org/drawingml/2006/main" xmlns:r="http://schemas.openxmlformats.org/officeDocument/2006/relationships" xmlns:p="http://schemas.openxmlformats.org/presentationml/2006/main">
  <p:tag name="NUM" val="1"/>
</p:tagLst>
</file>

<file path=ppt/tags/tag149.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50.xml><?xml version="1.0" encoding="utf-8"?>
<p:tagLst xmlns:a="http://schemas.openxmlformats.org/drawingml/2006/main" xmlns:r="http://schemas.openxmlformats.org/officeDocument/2006/relationships" xmlns:p="http://schemas.openxmlformats.org/presentationml/2006/main">
  <p:tag name="NUM" val="3"/>
</p:tagLst>
</file>

<file path=ppt/tags/tag151.xml><?xml version="1.0" encoding="utf-8"?>
<p:tagLst xmlns:a="http://schemas.openxmlformats.org/drawingml/2006/main" xmlns:r="http://schemas.openxmlformats.org/officeDocument/2006/relationships" xmlns:p="http://schemas.openxmlformats.org/presentationml/2006/main">
  <p:tag name="NUM" val="4"/>
</p:tagLst>
</file>

<file path=ppt/tags/tag152.xml><?xml version="1.0" encoding="utf-8"?>
<p:tagLst xmlns:a="http://schemas.openxmlformats.org/drawingml/2006/main" xmlns:r="http://schemas.openxmlformats.org/officeDocument/2006/relationships" xmlns:p="http://schemas.openxmlformats.org/presentationml/2006/main">
  <p:tag name="NUM" val="5"/>
</p:tagLst>
</file>

<file path=ppt/tags/tag153.xml><?xml version="1.0" encoding="utf-8"?>
<p:tagLst xmlns:a="http://schemas.openxmlformats.org/drawingml/2006/main" xmlns:r="http://schemas.openxmlformats.org/officeDocument/2006/relationships" xmlns:p="http://schemas.openxmlformats.org/presentationml/2006/main">
  <p:tag name="NUM" val="1"/>
</p:tagLst>
</file>

<file path=ppt/tags/tag154.xml><?xml version="1.0" encoding="utf-8"?>
<p:tagLst xmlns:a="http://schemas.openxmlformats.org/drawingml/2006/main" xmlns:r="http://schemas.openxmlformats.org/officeDocument/2006/relationships" xmlns:p="http://schemas.openxmlformats.org/presentationml/2006/main">
  <p:tag name="NUM" val="2"/>
</p:tagLst>
</file>

<file path=ppt/tags/tag155.xml><?xml version="1.0" encoding="utf-8"?>
<p:tagLst xmlns:a="http://schemas.openxmlformats.org/drawingml/2006/main" xmlns:r="http://schemas.openxmlformats.org/officeDocument/2006/relationships" xmlns:p="http://schemas.openxmlformats.org/presentationml/2006/main">
  <p:tag name="NUM" val="3"/>
</p:tagLst>
</file>

<file path=ppt/tags/tag156.xml><?xml version="1.0" encoding="utf-8"?>
<p:tagLst xmlns:a="http://schemas.openxmlformats.org/drawingml/2006/main" xmlns:r="http://schemas.openxmlformats.org/officeDocument/2006/relationships" xmlns:p="http://schemas.openxmlformats.org/presentationml/2006/main">
  <p:tag name="NUM" val="4"/>
</p:tagLst>
</file>

<file path=ppt/tags/tag157.xml><?xml version="1.0" encoding="utf-8"?>
<p:tagLst xmlns:a="http://schemas.openxmlformats.org/drawingml/2006/main" xmlns:r="http://schemas.openxmlformats.org/officeDocument/2006/relationships" xmlns:p="http://schemas.openxmlformats.org/presentationml/2006/main">
  <p:tag name="NUM" val="5"/>
</p:tagLst>
</file>

<file path=ppt/tags/tag158.xml><?xml version="1.0" encoding="utf-8"?>
<p:tagLst xmlns:a="http://schemas.openxmlformats.org/drawingml/2006/main" xmlns:r="http://schemas.openxmlformats.org/officeDocument/2006/relationships" xmlns:p="http://schemas.openxmlformats.org/presentationml/2006/main">
  <p:tag name="NUM" val="6"/>
</p:tagLst>
</file>

<file path=ppt/tags/tag159.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4"/>
</p:tagLst>
</file>

<file path=ppt/tags/tag160.xml><?xml version="1.0" encoding="utf-8"?>
<p:tagLst xmlns:a="http://schemas.openxmlformats.org/drawingml/2006/main" xmlns:r="http://schemas.openxmlformats.org/officeDocument/2006/relationships" xmlns:p="http://schemas.openxmlformats.org/presentationml/2006/main">
  <p:tag name="NUM" val="8"/>
</p:tagLst>
</file>

<file path=ppt/tags/tag161.xml><?xml version="1.0" encoding="utf-8"?>
<p:tagLst xmlns:a="http://schemas.openxmlformats.org/drawingml/2006/main" xmlns:r="http://schemas.openxmlformats.org/officeDocument/2006/relationships" xmlns:p="http://schemas.openxmlformats.org/presentationml/2006/main">
  <p:tag name="NUM" val="9"/>
</p:tagLst>
</file>

<file path=ppt/tags/tag162.xml><?xml version="1.0" encoding="utf-8"?>
<p:tagLst xmlns:a="http://schemas.openxmlformats.org/drawingml/2006/main" xmlns:r="http://schemas.openxmlformats.org/officeDocument/2006/relationships" xmlns:p="http://schemas.openxmlformats.org/presentationml/2006/main">
  <p:tag name="NUM" val="1"/>
</p:tagLst>
</file>

<file path=ppt/tags/tag163.xml><?xml version="1.0" encoding="utf-8"?>
<p:tagLst xmlns:a="http://schemas.openxmlformats.org/drawingml/2006/main" xmlns:r="http://schemas.openxmlformats.org/officeDocument/2006/relationships" xmlns:p="http://schemas.openxmlformats.org/presentationml/2006/main">
  <p:tag name="NUM" val="2"/>
</p:tagLst>
</file>

<file path=ppt/tags/tag164.xml><?xml version="1.0" encoding="utf-8"?>
<p:tagLst xmlns:a="http://schemas.openxmlformats.org/drawingml/2006/main" xmlns:r="http://schemas.openxmlformats.org/officeDocument/2006/relationships" xmlns:p="http://schemas.openxmlformats.org/presentationml/2006/main">
  <p:tag name="NUM" val="3"/>
</p:tagLst>
</file>

<file path=ppt/tags/tag165.xml><?xml version="1.0" encoding="utf-8"?>
<p:tagLst xmlns:a="http://schemas.openxmlformats.org/drawingml/2006/main" xmlns:r="http://schemas.openxmlformats.org/officeDocument/2006/relationships" xmlns:p="http://schemas.openxmlformats.org/presentationml/2006/main">
  <p:tag name="NUM" val="4"/>
</p:tagLst>
</file>

<file path=ppt/tags/tag166.xml><?xml version="1.0" encoding="utf-8"?>
<p:tagLst xmlns:a="http://schemas.openxmlformats.org/drawingml/2006/main" xmlns:r="http://schemas.openxmlformats.org/officeDocument/2006/relationships" xmlns:p="http://schemas.openxmlformats.org/presentationml/2006/main">
  <p:tag name="NUM" val="1"/>
</p:tagLst>
</file>

<file path=ppt/tags/tag167.xml><?xml version="1.0" encoding="utf-8"?>
<p:tagLst xmlns:a="http://schemas.openxmlformats.org/drawingml/2006/main" xmlns:r="http://schemas.openxmlformats.org/officeDocument/2006/relationships" xmlns:p="http://schemas.openxmlformats.org/presentationml/2006/main">
  <p:tag name="NUM" val="2"/>
</p:tagLst>
</file>

<file path=ppt/tags/tag168.xml><?xml version="1.0" encoding="utf-8"?>
<p:tagLst xmlns:a="http://schemas.openxmlformats.org/drawingml/2006/main" xmlns:r="http://schemas.openxmlformats.org/officeDocument/2006/relationships" xmlns:p="http://schemas.openxmlformats.org/presentationml/2006/main">
  <p:tag name="NUM" val="3"/>
</p:tagLst>
</file>

<file path=ppt/tags/tag169.xml><?xml version="1.0" encoding="utf-8"?>
<p:tagLst xmlns:a="http://schemas.openxmlformats.org/drawingml/2006/main" xmlns:r="http://schemas.openxmlformats.org/officeDocument/2006/relationships" xmlns:p="http://schemas.openxmlformats.org/presentationml/2006/main">
  <p:tag name="NUM" val="4"/>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70.xml><?xml version="1.0" encoding="utf-8"?>
<p:tagLst xmlns:a="http://schemas.openxmlformats.org/drawingml/2006/main" xmlns:r="http://schemas.openxmlformats.org/officeDocument/2006/relationships" xmlns:p="http://schemas.openxmlformats.org/presentationml/2006/main">
  <p:tag name="NUM" val="1"/>
</p:tagLst>
</file>

<file path=ppt/tags/tag171.xml><?xml version="1.0" encoding="utf-8"?>
<p:tagLst xmlns:a="http://schemas.openxmlformats.org/drawingml/2006/main" xmlns:r="http://schemas.openxmlformats.org/officeDocument/2006/relationships" xmlns:p="http://schemas.openxmlformats.org/presentationml/2006/main">
  <p:tag name="NUM" val="2"/>
</p:tagLst>
</file>

<file path=ppt/tags/tag172.xml><?xml version="1.0" encoding="utf-8"?>
<p:tagLst xmlns:a="http://schemas.openxmlformats.org/drawingml/2006/main" xmlns:r="http://schemas.openxmlformats.org/officeDocument/2006/relationships" xmlns:p="http://schemas.openxmlformats.org/presentationml/2006/main">
  <p:tag name="NUM" val="3"/>
</p:tagLst>
</file>

<file path=ppt/tags/tag173.xml><?xml version="1.0" encoding="utf-8"?>
<p:tagLst xmlns:a="http://schemas.openxmlformats.org/drawingml/2006/main" xmlns:r="http://schemas.openxmlformats.org/officeDocument/2006/relationships" xmlns:p="http://schemas.openxmlformats.org/presentationml/2006/main">
  <p:tag name="NUM" val="4"/>
</p:tagLst>
</file>

<file path=ppt/tags/tag174.xml><?xml version="1.0" encoding="utf-8"?>
<p:tagLst xmlns:a="http://schemas.openxmlformats.org/drawingml/2006/main" xmlns:r="http://schemas.openxmlformats.org/officeDocument/2006/relationships" xmlns:p="http://schemas.openxmlformats.org/presentationml/2006/main">
  <p:tag name="NUM" val="5"/>
</p:tagLst>
</file>

<file path=ppt/tags/tag175.xml><?xml version="1.0" encoding="utf-8"?>
<p:tagLst xmlns:a="http://schemas.openxmlformats.org/drawingml/2006/main" xmlns:r="http://schemas.openxmlformats.org/officeDocument/2006/relationships" xmlns:p="http://schemas.openxmlformats.org/presentationml/2006/main">
  <p:tag name="NUM" val="6"/>
</p:tagLst>
</file>

<file path=ppt/tags/tag176.xml><?xml version="1.0" encoding="utf-8"?>
<p:tagLst xmlns:a="http://schemas.openxmlformats.org/drawingml/2006/main" xmlns:r="http://schemas.openxmlformats.org/officeDocument/2006/relationships" xmlns:p="http://schemas.openxmlformats.org/presentationml/2006/main">
  <p:tag name="NUM" val="1"/>
</p:tagLst>
</file>

<file path=ppt/tags/tag177.xml><?xml version="1.0" encoding="utf-8"?>
<p:tagLst xmlns:a="http://schemas.openxmlformats.org/drawingml/2006/main" xmlns:r="http://schemas.openxmlformats.org/officeDocument/2006/relationships" xmlns:p="http://schemas.openxmlformats.org/presentationml/2006/main">
  <p:tag name="NUM" val="2"/>
</p:tagLst>
</file>

<file path=ppt/tags/tag178.xml><?xml version="1.0" encoding="utf-8"?>
<p:tagLst xmlns:a="http://schemas.openxmlformats.org/drawingml/2006/main" xmlns:r="http://schemas.openxmlformats.org/officeDocument/2006/relationships" xmlns:p="http://schemas.openxmlformats.org/presentationml/2006/main">
  <p:tag name="NUM" val="3"/>
</p:tagLst>
</file>

<file path=ppt/tags/tag179.xml><?xml version="1.0" encoding="utf-8"?>
<p:tagLst xmlns:a="http://schemas.openxmlformats.org/drawingml/2006/main" xmlns:r="http://schemas.openxmlformats.org/officeDocument/2006/relationships" xmlns:p="http://schemas.openxmlformats.org/presentationml/2006/main">
  <p:tag name="NUM" val="4"/>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80.xml><?xml version="1.0" encoding="utf-8"?>
<p:tagLst xmlns:a="http://schemas.openxmlformats.org/drawingml/2006/main" xmlns:r="http://schemas.openxmlformats.org/officeDocument/2006/relationships" xmlns:p="http://schemas.openxmlformats.org/presentationml/2006/main">
  <p:tag name="NUM" val="5"/>
</p:tagLst>
</file>

<file path=ppt/tags/tag181.xml><?xml version="1.0" encoding="utf-8"?>
<p:tagLst xmlns:a="http://schemas.openxmlformats.org/drawingml/2006/main" xmlns:r="http://schemas.openxmlformats.org/officeDocument/2006/relationships" xmlns:p="http://schemas.openxmlformats.org/presentationml/2006/main">
  <p:tag name="NUM" val="6"/>
</p:tagLst>
</file>

<file path=ppt/tags/tag182.xml><?xml version="1.0" encoding="utf-8"?>
<p:tagLst xmlns:a="http://schemas.openxmlformats.org/drawingml/2006/main" xmlns:r="http://schemas.openxmlformats.org/officeDocument/2006/relationships" xmlns:p="http://schemas.openxmlformats.org/presentationml/2006/main">
  <p:tag name="NUM" val="7"/>
</p:tagLst>
</file>

<file path=ppt/tags/tag183.xml><?xml version="1.0" encoding="utf-8"?>
<p:tagLst xmlns:a="http://schemas.openxmlformats.org/drawingml/2006/main" xmlns:r="http://schemas.openxmlformats.org/officeDocument/2006/relationships" xmlns:p="http://schemas.openxmlformats.org/presentationml/2006/main">
  <p:tag name="NUM" val="1"/>
</p:tagLst>
</file>

<file path=ppt/tags/tag184.xml><?xml version="1.0" encoding="utf-8"?>
<p:tagLst xmlns:a="http://schemas.openxmlformats.org/drawingml/2006/main" xmlns:r="http://schemas.openxmlformats.org/officeDocument/2006/relationships" xmlns:p="http://schemas.openxmlformats.org/presentationml/2006/main">
  <p:tag name="NUM" val="2"/>
</p:tagLst>
</file>

<file path=ppt/tags/tag185.xml><?xml version="1.0" encoding="utf-8"?>
<p:tagLst xmlns:a="http://schemas.openxmlformats.org/drawingml/2006/main" xmlns:r="http://schemas.openxmlformats.org/officeDocument/2006/relationships" xmlns:p="http://schemas.openxmlformats.org/presentationml/2006/main">
  <p:tag name="NUM" val="3"/>
</p:tagLst>
</file>

<file path=ppt/tags/tag186.xml><?xml version="1.0" encoding="utf-8"?>
<p:tagLst xmlns:a="http://schemas.openxmlformats.org/drawingml/2006/main" xmlns:r="http://schemas.openxmlformats.org/officeDocument/2006/relationships" xmlns:p="http://schemas.openxmlformats.org/presentationml/2006/main">
  <p:tag name="NUM" val="1"/>
</p:tagLst>
</file>

<file path=ppt/tags/tag187.xml><?xml version="1.0" encoding="utf-8"?>
<p:tagLst xmlns:a="http://schemas.openxmlformats.org/drawingml/2006/main" xmlns:r="http://schemas.openxmlformats.org/officeDocument/2006/relationships" xmlns:p="http://schemas.openxmlformats.org/presentationml/2006/main">
  <p:tag name="NUM" val="2"/>
</p:tagLst>
</file>

<file path=ppt/tags/tag188.xml><?xml version="1.0" encoding="utf-8"?>
<p:tagLst xmlns:a="http://schemas.openxmlformats.org/drawingml/2006/main" xmlns:r="http://schemas.openxmlformats.org/officeDocument/2006/relationships" xmlns:p="http://schemas.openxmlformats.org/presentationml/2006/main">
  <p:tag name="NUM" val="3"/>
</p:tagLst>
</file>

<file path=ppt/tags/tag189.xml><?xml version="1.0" encoding="utf-8"?>
<p:tagLst xmlns:a="http://schemas.openxmlformats.org/drawingml/2006/main" xmlns:r="http://schemas.openxmlformats.org/officeDocument/2006/relationships" xmlns:p="http://schemas.openxmlformats.org/presentationml/2006/main">
  <p:tag name="NUM" val="4"/>
</p:tagLst>
</file>

<file path=ppt/tags/tag19.xml><?xml version="1.0" encoding="utf-8"?>
<p:tagLst xmlns:a="http://schemas.openxmlformats.org/drawingml/2006/main" xmlns:r="http://schemas.openxmlformats.org/officeDocument/2006/relationships" xmlns:p="http://schemas.openxmlformats.org/presentationml/2006/main">
  <p:tag name="NUM" val="3"/>
</p:tagLst>
</file>

<file path=ppt/tags/tag190.xml><?xml version="1.0" encoding="utf-8"?>
<p:tagLst xmlns:a="http://schemas.openxmlformats.org/drawingml/2006/main" xmlns:r="http://schemas.openxmlformats.org/officeDocument/2006/relationships" xmlns:p="http://schemas.openxmlformats.org/presentationml/2006/main">
  <p:tag name="NUM" val="5"/>
</p:tagLst>
</file>

<file path=ppt/tags/tag191.xml><?xml version="1.0" encoding="utf-8"?>
<p:tagLst xmlns:a="http://schemas.openxmlformats.org/drawingml/2006/main" xmlns:r="http://schemas.openxmlformats.org/officeDocument/2006/relationships" xmlns:p="http://schemas.openxmlformats.org/presentationml/2006/main">
  <p:tag name="NUM" val="6"/>
</p:tagLst>
</file>

<file path=ppt/tags/tag192.xml><?xml version="1.0" encoding="utf-8"?>
<p:tagLst xmlns:a="http://schemas.openxmlformats.org/drawingml/2006/main" xmlns:r="http://schemas.openxmlformats.org/officeDocument/2006/relationships" xmlns:p="http://schemas.openxmlformats.org/presentationml/2006/main">
  <p:tag name="NUM" val="7"/>
</p:tagLst>
</file>

<file path=ppt/tags/tag193.xml><?xml version="1.0" encoding="utf-8"?>
<p:tagLst xmlns:a="http://schemas.openxmlformats.org/drawingml/2006/main" xmlns:r="http://schemas.openxmlformats.org/officeDocument/2006/relationships" xmlns:p="http://schemas.openxmlformats.org/presentationml/2006/main">
  <p:tag name="NUM" val="8"/>
</p:tagLst>
</file>

<file path=ppt/tags/tag194.xml><?xml version="1.0" encoding="utf-8"?>
<p:tagLst xmlns:a="http://schemas.openxmlformats.org/drawingml/2006/main" xmlns:r="http://schemas.openxmlformats.org/officeDocument/2006/relationships" xmlns:p="http://schemas.openxmlformats.org/presentationml/2006/main">
  <p:tag name="NUM" val="9"/>
</p:tagLst>
</file>

<file path=ppt/tags/tag195.xml><?xml version="1.0" encoding="utf-8"?>
<p:tagLst xmlns:a="http://schemas.openxmlformats.org/drawingml/2006/main" xmlns:r="http://schemas.openxmlformats.org/officeDocument/2006/relationships" xmlns:p="http://schemas.openxmlformats.org/presentationml/2006/main">
  <p:tag name="NUM" val="10"/>
</p:tagLst>
</file>

<file path=ppt/tags/tag196.xml><?xml version="1.0" encoding="utf-8"?>
<p:tagLst xmlns:a="http://schemas.openxmlformats.org/drawingml/2006/main" xmlns:r="http://schemas.openxmlformats.org/officeDocument/2006/relationships" xmlns:p="http://schemas.openxmlformats.org/presentationml/2006/main">
  <p:tag name="NUM" val="11"/>
</p:tagLst>
</file>

<file path=ppt/tags/tag197.xml><?xml version="1.0" encoding="utf-8"?>
<p:tagLst xmlns:a="http://schemas.openxmlformats.org/drawingml/2006/main" xmlns:r="http://schemas.openxmlformats.org/officeDocument/2006/relationships" xmlns:p="http://schemas.openxmlformats.org/presentationml/2006/main">
  <p:tag name="NUM" val="12"/>
</p:tagLst>
</file>

<file path=ppt/tags/tag198.xml><?xml version="1.0" encoding="utf-8"?>
<p:tagLst xmlns:a="http://schemas.openxmlformats.org/drawingml/2006/main" xmlns:r="http://schemas.openxmlformats.org/officeDocument/2006/relationships" xmlns:p="http://schemas.openxmlformats.org/presentationml/2006/main">
  <p:tag name="NUM" val="13"/>
</p:tagLst>
</file>

<file path=ppt/tags/tag199.xml><?xml version="1.0" encoding="utf-8"?>
<p:tagLst xmlns:a="http://schemas.openxmlformats.org/drawingml/2006/main" xmlns:r="http://schemas.openxmlformats.org/officeDocument/2006/relationships" xmlns:p="http://schemas.openxmlformats.org/presentationml/2006/main">
  <p:tag name="NUM" val="14"/>
</p:tagLst>
</file>

<file path=ppt/tags/tag2.xml><?xml version="1.0" encoding="utf-8"?>
<p:tagLst xmlns:a="http://schemas.openxmlformats.org/drawingml/2006/main" xmlns:r="http://schemas.openxmlformats.org/officeDocument/2006/relationships" xmlns:p="http://schemas.openxmlformats.org/presentationml/2006/main">
  <p:tag name="NUM" val="1"/>
</p:tagLst>
</file>

<file path=ppt/tags/tag20.xml><?xml version="1.0" encoding="utf-8"?>
<p:tagLst xmlns:a="http://schemas.openxmlformats.org/drawingml/2006/main" xmlns:r="http://schemas.openxmlformats.org/officeDocument/2006/relationships" xmlns:p="http://schemas.openxmlformats.org/presentationml/2006/main">
  <p:tag name="NUM" val="4"/>
</p:tagLst>
</file>

<file path=ppt/tags/tag200.xml><?xml version="1.0" encoding="utf-8"?>
<p:tagLst xmlns:a="http://schemas.openxmlformats.org/drawingml/2006/main" xmlns:r="http://schemas.openxmlformats.org/officeDocument/2006/relationships" xmlns:p="http://schemas.openxmlformats.org/presentationml/2006/main">
  <p:tag name="NUM" val="15"/>
</p:tagLst>
</file>

<file path=ppt/tags/tag201.xml><?xml version="1.0" encoding="utf-8"?>
<p:tagLst xmlns:a="http://schemas.openxmlformats.org/drawingml/2006/main" xmlns:r="http://schemas.openxmlformats.org/officeDocument/2006/relationships" xmlns:p="http://schemas.openxmlformats.org/presentationml/2006/main">
  <p:tag name="NUM" val="16"/>
</p:tagLst>
</file>

<file path=ppt/tags/tag202.xml><?xml version="1.0" encoding="utf-8"?>
<p:tagLst xmlns:a="http://schemas.openxmlformats.org/drawingml/2006/main" xmlns:r="http://schemas.openxmlformats.org/officeDocument/2006/relationships" xmlns:p="http://schemas.openxmlformats.org/presentationml/2006/main">
  <p:tag name="NUM" val="17"/>
</p:tagLst>
</file>

<file path=ppt/tags/tag203.xml><?xml version="1.0" encoding="utf-8"?>
<p:tagLst xmlns:a="http://schemas.openxmlformats.org/drawingml/2006/main" xmlns:r="http://schemas.openxmlformats.org/officeDocument/2006/relationships" xmlns:p="http://schemas.openxmlformats.org/presentationml/2006/main">
  <p:tag name="NUM" val="18"/>
</p:tagLst>
</file>

<file path=ppt/tags/tag204.xml><?xml version="1.0" encoding="utf-8"?>
<p:tagLst xmlns:a="http://schemas.openxmlformats.org/drawingml/2006/main" xmlns:r="http://schemas.openxmlformats.org/officeDocument/2006/relationships" xmlns:p="http://schemas.openxmlformats.org/presentationml/2006/main">
  <p:tag name="NUM" val="19"/>
</p:tagLst>
</file>

<file path=ppt/tags/tag205.xml><?xml version="1.0" encoding="utf-8"?>
<p:tagLst xmlns:a="http://schemas.openxmlformats.org/drawingml/2006/main" xmlns:r="http://schemas.openxmlformats.org/officeDocument/2006/relationships" xmlns:p="http://schemas.openxmlformats.org/presentationml/2006/main">
  <p:tag name="NUM" val="20"/>
</p:tagLst>
</file>

<file path=ppt/tags/tag206.xml><?xml version="1.0" encoding="utf-8"?>
<p:tagLst xmlns:a="http://schemas.openxmlformats.org/drawingml/2006/main" xmlns:r="http://schemas.openxmlformats.org/officeDocument/2006/relationships" xmlns:p="http://schemas.openxmlformats.org/presentationml/2006/main">
  <p:tag name="NUM" val="21"/>
</p:tagLst>
</file>

<file path=ppt/tags/tag207.xml><?xml version="1.0" encoding="utf-8"?>
<p:tagLst xmlns:a="http://schemas.openxmlformats.org/drawingml/2006/main" xmlns:r="http://schemas.openxmlformats.org/officeDocument/2006/relationships" xmlns:p="http://schemas.openxmlformats.org/presentationml/2006/main">
  <p:tag name="NUM" val="22"/>
</p:tagLst>
</file>

<file path=ppt/tags/tag208.xml><?xml version="1.0" encoding="utf-8"?>
<p:tagLst xmlns:a="http://schemas.openxmlformats.org/drawingml/2006/main" xmlns:r="http://schemas.openxmlformats.org/officeDocument/2006/relationships" xmlns:p="http://schemas.openxmlformats.org/presentationml/2006/main">
  <p:tag name="NUM" val="23"/>
</p:tagLst>
</file>

<file path=ppt/tags/tag209.xml><?xml version="1.0" encoding="utf-8"?>
<p:tagLst xmlns:a="http://schemas.openxmlformats.org/drawingml/2006/main" xmlns:r="http://schemas.openxmlformats.org/officeDocument/2006/relationships" xmlns:p="http://schemas.openxmlformats.org/presentationml/2006/main">
  <p:tag name="NUM" val="24"/>
</p:tagLst>
</file>

<file path=ppt/tags/tag21.xml><?xml version="1.0" encoding="utf-8"?>
<p:tagLst xmlns:a="http://schemas.openxmlformats.org/drawingml/2006/main" xmlns:r="http://schemas.openxmlformats.org/officeDocument/2006/relationships" xmlns:p="http://schemas.openxmlformats.org/presentationml/2006/main">
  <p:tag name="NUM" val="5"/>
</p:tagLst>
</file>

<file path=ppt/tags/tag210.xml><?xml version="1.0" encoding="utf-8"?>
<p:tagLst xmlns:a="http://schemas.openxmlformats.org/drawingml/2006/main" xmlns:r="http://schemas.openxmlformats.org/officeDocument/2006/relationships" xmlns:p="http://schemas.openxmlformats.org/presentationml/2006/main">
  <p:tag name="NUM" val="25"/>
</p:tagLst>
</file>

<file path=ppt/tags/tag211.xml><?xml version="1.0" encoding="utf-8"?>
<p:tagLst xmlns:a="http://schemas.openxmlformats.org/drawingml/2006/main" xmlns:r="http://schemas.openxmlformats.org/officeDocument/2006/relationships" xmlns:p="http://schemas.openxmlformats.org/presentationml/2006/main">
  <p:tag name="NUM" val="26"/>
</p:tagLst>
</file>

<file path=ppt/tags/tag212.xml><?xml version="1.0" encoding="utf-8"?>
<p:tagLst xmlns:a="http://schemas.openxmlformats.org/drawingml/2006/main" xmlns:r="http://schemas.openxmlformats.org/officeDocument/2006/relationships" xmlns:p="http://schemas.openxmlformats.org/presentationml/2006/main">
  <p:tag name="NUM" val="27"/>
</p:tagLst>
</file>

<file path=ppt/tags/tag213.xml><?xml version="1.0" encoding="utf-8"?>
<p:tagLst xmlns:a="http://schemas.openxmlformats.org/drawingml/2006/main" xmlns:r="http://schemas.openxmlformats.org/officeDocument/2006/relationships" xmlns:p="http://schemas.openxmlformats.org/presentationml/2006/main">
  <p:tag name="NUM" val="28"/>
</p:tagLst>
</file>

<file path=ppt/tags/tag214.xml><?xml version="1.0" encoding="utf-8"?>
<p:tagLst xmlns:a="http://schemas.openxmlformats.org/drawingml/2006/main" xmlns:r="http://schemas.openxmlformats.org/officeDocument/2006/relationships" xmlns:p="http://schemas.openxmlformats.org/presentationml/2006/main">
  <p:tag name="NUM" val="29"/>
</p:tagLst>
</file>

<file path=ppt/tags/tag215.xml><?xml version="1.0" encoding="utf-8"?>
<p:tagLst xmlns:a="http://schemas.openxmlformats.org/drawingml/2006/main" xmlns:r="http://schemas.openxmlformats.org/officeDocument/2006/relationships" xmlns:p="http://schemas.openxmlformats.org/presentationml/2006/main">
  <p:tag name="NUM" val="30"/>
</p:tagLst>
</file>

<file path=ppt/tags/tag216.xml><?xml version="1.0" encoding="utf-8"?>
<p:tagLst xmlns:a="http://schemas.openxmlformats.org/drawingml/2006/main" xmlns:r="http://schemas.openxmlformats.org/officeDocument/2006/relationships" xmlns:p="http://schemas.openxmlformats.org/presentationml/2006/main">
  <p:tag name="NUM" val="31"/>
</p:tagLst>
</file>

<file path=ppt/tags/tag217.xml><?xml version="1.0" encoding="utf-8"?>
<p:tagLst xmlns:a="http://schemas.openxmlformats.org/drawingml/2006/main" xmlns:r="http://schemas.openxmlformats.org/officeDocument/2006/relationships" xmlns:p="http://schemas.openxmlformats.org/presentationml/2006/main">
  <p:tag name="NUM" val="32"/>
</p:tagLst>
</file>

<file path=ppt/tags/tag218.xml><?xml version="1.0" encoding="utf-8"?>
<p:tagLst xmlns:a="http://schemas.openxmlformats.org/drawingml/2006/main" xmlns:r="http://schemas.openxmlformats.org/officeDocument/2006/relationships" xmlns:p="http://schemas.openxmlformats.org/presentationml/2006/main">
  <p:tag name="NUM" val="33"/>
</p:tagLst>
</file>

<file path=ppt/tags/tag219.xml><?xml version="1.0" encoding="utf-8"?>
<p:tagLst xmlns:a="http://schemas.openxmlformats.org/drawingml/2006/main" xmlns:r="http://schemas.openxmlformats.org/officeDocument/2006/relationships" xmlns:p="http://schemas.openxmlformats.org/presentationml/2006/main">
  <p:tag name="NUM" val="34"/>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20.xml><?xml version="1.0" encoding="utf-8"?>
<p:tagLst xmlns:a="http://schemas.openxmlformats.org/drawingml/2006/main" xmlns:r="http://schemas.openxmlformats.org/officeDocument/2006/relationships" xmlns:p="http://schemas.openxmlformats.org/presentationml/2006/main">
  <p:tag name="NUM" val="35"/>
</p:tagLst>
</file>

<file path=ppt/tags/tag221.xml><?xml version="1.0" encoding="utf-8"?>
<p:tagLst xmlns:a="http://schemas.openxmlformats.org/drawingml/2006/main" xmlns:r="http://schemas.openxmlformats.org/officeDocument/2006/relationships" xmlns:p="http://schemas.openxmlformats.org/presentationml/2006/main">
  <p:tag name="NUM" val="36"/>
</p:tagLst>
</file>

<file path=ppt/tags/tag222.xml><?xml version="1.0" encoding="utf-8"?>
<p:tagLst xmlns:a="http://schemas.openxmlformats.org/drawingml/2006/main" xmlns:r="http://schemas.openxmlformats.org/officeDocument/2006/relationships" xmlns:p="http://schemas.openxmlformats.org/presentationml/2006/main">
  <p:tag name="NUM" val="37"/>
</p:tagLst>
</file>

<file path=ppt/tags/tag223.xml><?xml version="1.0" encoding="utf-8"?>
<p:tagLst xmlns:a="http://schemas.openxmlformats.org/drawingml/2006/main" xmlns:r="http://schemas.openxmlformats.org/officeDocument/2006/relationships" xmlns:p="http://schemas.openxmlformats.org/presentationml/2006/main">
  <p:tag name="NUM" val="38"/>
</p:tagLst>
</file>

<file path=ppt/tags/tag224.xml><?xml version="1.0" encoding="utf-8"?>
<p:tagLst xmlns:a="http://schemas.openxmlformats.org/drawingml/2006/main" xmlns:r="http://schemas.openxmlformats.org/officeDocument/2006/relationships" xmlns:p="http://schemas.openxmlformats.org/presentationml/2006/main">
  <p:tag name="NUM" val="39"/>
</p:tagLst>
</file>

<file path=ppt/tags/tag225.xml><?xml version="1.0" encoding="utf-8"?>
<p:tagLst xmlns:a="http://schemas.openxmlformats.org/drawingml/2006/main" xmlns:r="http://schemas.openxmlformats.org/officeDocument/2006/relationships" xmlns:p="http://schemas.openxmlformats.org/presentationml/2006/main">
  <p:tag name="NUM" val="40"/>
</p:tagLst>
</file>

<file path=ppt/tags/tag226.xml><?xml version="1.0" encoding="utf-8"?>
<p:tagLst xmlns:a="http://schemas.openxmlformats.org/drawingml/2006/main" xmlns:r="http://schemas.openxmlformats.org/officeDocument/2006/relationships" xmlns:p="http://schemas.openxmlformats.org/presentationml/2006/main">
  <p:tag name="NUM" val="41"/>
</p:tagLst>
</file>

<file path=ppt/tags/tag227.xml><?xml version="1.0" encoding="utf-8"?>
<p:tagLst xmlns:a="http://schemas.openxmlformats.org/drawingml/2006/main" xmlns:r="http://schemas.openxmlformats.org/officeDocument/2006/relationships" xmlns:p="http://schemas.openxmlformats.org/presentationml/2006/main">
  <p:tag name="NUM" val="42"/>
</p:tagLst>
</file>

<file path=ppt/tags/tag228.xml><?xml version="1.0" encoding="utf-8"?>
<p:tagLst xmlns:a="http://schemas.openxmlformats.org/drawingml/2006/main" xmlns:r="http://schemas.openxmlformats.org/officeDocument/2006/relationships" xmlns:p="http://schemas.openxmlformats.org/presentationml/2006/main">
  <p:tag name="NUM" val="43"/>
</p:tagLst>
</file>

<file path=ppt/tags/tag229.xml><?xml version="1.0" encoding="utf-8"?>
<p:tagLst xmlns:a="http://schemas.openxmlformats.org/drawingml/2006/main" xmlns:r="http://schemas.openxmlformats.org/officeDocument/2006/relationships" xmlns:p="http://schemas.openxmlformats.org/presentationml/2006/main">
  <p:tag name="NUM" val="44"/>
</p:tagLst>
</file>

<file path=ppt/tags/tag23.xml><?xml version="1.0" encoding="utf-8"?>
<p:tagLst xmlns:a="http://schemas.openxmlformats.org/drawingml/2006/main" xmlns:r="http://schemas.openxmlformats.org/officeDocument/2006/relationships" xmlns:p="http://schemas.openxmlformats.org/presentationml/2006/main">
  <p:tag name="NUM" val="2"/>
</p:tagLst>
</file>

<file path=ppt/tags/tag230.xml><?xml version="1.0" encoding="utf-8"?>
<p:tagLst xmlns:a="http://schemas.openxmlformats.org/drawingml/2006/main" xmlns:r="http://schemas.openxmlformats.org/officeDocument/2006/relationships" xmlns:p="http://schemas.openxmlformats.org/presentationml/2006/main">
  <p:tag name="NUM" val="45"/>
</p:tagLst>
</file>

<file path=ppt/tags/tag231.xml><?xml version="1.0" encoding="utf-8"?>
<p:tagLst xmlns:a="http://schemas.openxmlformats.org/drawingml/2006/main" xmlns:r="http://schemas.openxmlformats.org/officeDocument/2006/relationships" xmlns:p="http://schemas.openxmlformats.org/presentationml/2006/main">
  <p:tag name="NUM" val="46"/>
</p:tagLst>
</file>

<file path=ppt/tags/tag232.xml><?xml version="1.0" encoding="utf-8"?>
<p:tagLst xmlns:a="http://schemas.openxmlformats.org/drawingml/2006/main" xmlns:r="http://schemas.openxmlformats.org/officeDocument/2006/relationships" xmlns:p="http://schemas.openxmlformats.org/presentationml/2006/main">
  <p:tag name="NUM" val="47"/>
</p:tagLst>
</file>

<file path=ppt/tags/tag233.xml><?xml version="1.0" encoding="utf-8"?>
<p:tagLst xmlns:a="http://schemas.openxmlformats.org/drawingml/2006/main" xmlns:r="http://schemas.openxmlformats.org/officeDocument/2006/relationships" xmlns:p="http://schemas.openxmlformats.org/presentationml/2006/main">
  <p:tag name="NUM" val="48"/>
</p:tagLst>
</file>

<file path=ppt/tags/tag234.xml><?xml version="1.0" encoding="utf-8"?>
<p:tagLst xmlns:a="http://schemas.openxmlformats.org/drawingml/2006/main" xmlns:r="http://schemas.openxmlformats.org/officeDocument/2006/relationships" xmlns:p="http://schemas.openxmlformats.org/presentationml/2006/main">
  <p:tag name="NUM" val="49"/>
</p:tagLst>
</file>

<file path=ppt/tags/tag235.xml><?xml version="1.0" encoding="utf-8"?>
<p:tagLst xmlns:a="http://schemas.openxmlformats.org/drawingml/2006/main" xmlns:r="http://schemas.openxmlformats.org/officeDocument/2006/relationships" xmlns:p="http://schemas.openxmlformats.org/presentationml/2006/main">
  <p:tag name="NUM" val="50"/>
</p:tagLst>
</file>

<file path=ppt/tags/tag236.xml><?xml version="1.0" encoding="utf-8"?>
<p:tagLst xmlns:a="http://schemas.openxmlformats.org/drawingml/2006/main" xmlns:r="http://schemas.openxmlformats.org/officeDocument/2006/relationships" xmlns:p="http://schemas.openxmlformats.org/presentationml/2006/main">
  <p:tag name="NUM" val="51"/>
</p:tagLst>
</file>

<file path=ppt/tags/tag237.xml><?xml version="1.0" encoding="utf-8"?>
<p:tagLst xmlns:a="http://schemas.openxmlformats.org/drawingml/2006/main" xmlns:r="http://schemas.openxmlformats.org/officeDocument/2006/relationships" xmlns:p="http://schemas.openxmlformats.org/presentationml/2006/main">
  <p:tag name="NUM" val="52"/>
</p:tagLst>
</file>

<file path=ppt/tags/tag238.xml><?xml version="1.0" encoding="utf-8"?>
<p:tagLst xmlns:a="http://schemas.openxmlformats.org/drawingml/2006/main" xmlns:r="http://schemas.openxmlformats.org/officeDocument/2006/relationships" xmlns:p="http://schemas.openxmlformats.org/presentationml/2006/main">
  <p:tag name="NUM" val="53"/>
</p:tagLst>
</file>

<file path=ppt/tags/tag239.xml><?xml version="1.0" encoding="utf-8"?>
<p:tagLst xmlns:a="http://schemas.openxmlformats.org/drawingml/2006/main" xmlns:r="http://schemas.openxmlformats.org/officeDocument/2006/relationships" xmlns:p="http://schemas.openxmlformats.org/presentationml/2006/main">
  <p:tag name="NUM" val="54"/>
</p:tagLst>
</file>

<file path=ppt/tags/tag24.xml><?xml version="1.0" encoding="utf-8"?>
<p:tagLst xmlns:a="http://schemas.openxmlformats.org/drawingml/2006/main" xmlns:r="http://schemas.openxmlformats.org/officeDocument/2006/relationships" xmlns:p="http://schemas.openxmlformats.org/presentationml/2006/main">
  <p:tag name="NUM" val="3"/>
</p:tagLst>
</file>

<file path=ppt/tags/tag240.xml><?xml version="1.0" encoding="utf-8"?>
<p:tagLst xmlns:a="http://schemas.openxmlformats.org/drawingml/2006/main" xmlns:r="http://schemas.openxmlformats.org/officeDocument/2006/relationships" xmlns:p="http://schemas.openxmlformats.org/presentationml/2006/main">
  <p:tag name="NUM" val="55"/>
</p:tagLst>
</file>

<file path=ppt/tags/tag241.xml><?xml version="1.0" encoding="utf-8"?>
<p:tagLst xmlns:a="http://schemas.openxmlformats.org/drawingml/2006/main" xmlns:r="http://schemas.openxmlformats.org/officeDocument/2006/relationships" xmlns:p="http://schemas.openxmlformats.org/presentationml/2006/main">
  <p:tag name="NUM" val="56"/>
</p:tagLst>
</file>

<file path=ppt/tags/tag242.xml><?xml version="1.0" encoding="utf-8"?>
<p:tagLst xmlns:a="http://schemas.openxmlformats.org/drawingml/2006/main" xmlns:r="http://schemas.openxmlformats.org/officeDocument/2006/relationships" xmlns:p="http://schemas.openxmlformats.org/presentationml/2006/main">
  <p:tag name="NUM" val="57"/>
</p:tagLst>
</file>

<file path=ppt/tags/tag243.xml><?xml version="1.0" encoding="utf-8"?>
<p:tagLst xmlns:a="http://schemas.openxmlformats.org/drawingml/2006/main" xmlns:r="http://schemas.openxmlformats.org/officeDocument/2006/relationships" xmlns:p="http://schemas.openxmlformats.org/presentationml/2006/main">
  <p:tag name="NUM" val="58"/>
</p:tagLst>
</file>

<file path=ppt/tags/tag244.xml><?xml version="1.0" encoding="utf-8"?>
<p:tagLst xmlns:a="http://schemas.openxmlformats.org/drawingml/2006/main" xmlns:r="http://schemas.openxmlformats.org/officeDocument/2006/relationships" xmlns:p="http://schemas.openxmlformats.org/presentationml/2006/main">
  <p:tag name="NUM" val="59"/>
</p:tagLst>
</file>

<file path=ppt/tags/tag245.xml><?xml version="1.0" encoding="utf-8"?>
<p:tagLst xmlns:a="http://schemas.openxmlformats.org/drawingml/2006/main" xmlns:r="http://schemas.openxmlformats.org/officeDocument/2006/relationships" xmlns:p="http://schemas.openxmlformats.org/presentationml/2006/main">
  <p:tag name="NUM" val="60"/>
</p:tagLst>
</file>

<file path=ppt/tags/tag246.xml><?xml version="1.0" encoding="utf-8"?>
<p:tagLst xmlns:a="http://schemas.openxmlformats.org/drawingml/2006/main" xmlns:r="http://schemas.openxmlformats.org/officeDocument/2006/relationships" xmlns:p="http://schemas.openxmlformats.org/presentationml/2006/main">
  <p:tag name="NUM" val="61"/>
</p:tagLst>
</file>

<file path=ppt/tags/tag247.xml><?xml version="1.0" encoding="utf-8"?>
<p:tagLst xmlns:a="http://schemas.openxmlformats.org/drawingml/2006/main" xmlns:r="http://schemas.openxmlformats.org/officeDocument/2006/relationships" xmlns:p="http://schemas.openxmlformats.org/presentationml/2006/main">
  <p:tag name="NUM" val="62"/>
</p:tagLst>
</file>

<file path=ppt/tags/tag248.xml><?xml version="1.0" encoding="utf-8"?>
<p:tagLst xmlns:a="http://schemas.openxmlformats.org/drawingml/2006/main" xmlns:r="http://schemas.openxmlformats.org/officeDocument/2006/relationships" xmlns:p="http://schemas.openxmlformats.org/presentationml/2006/main">
  <p:tag name="NUM" val="63"/>
</p:tagLst>
</file>

<file path=ppt/tags/tag249.xml><?xml version="1.0" encoding="utf-8"?>
<p:tagLst xmlns:a="http://schemas.openxmlformats.org/drawingml/2006/main" xmlns:r="http://schemas.openxmlformats.org/officeDocument/2006/relationships" xmlns:p="http://schemas.openxmlformats.org/presentationml/2006/main">
  <p:tag name="NUM" val="64"/>
</p:tagLst>
</file>

<file path=ppt/tags/tag25.xml><?xml version="1.0" encoding="utf-8"?>
<p:tagLst xmlns:a="http://schemas.openxmlformats.org/drawingml/2006/main" xmlns:r="http://schemas.openxmlformats.org/officeDocument/2006/relationships" xmlns:p="http://schemas.openxmlformats.org/presentationml/2006/main">
  <p:tag name="NUM" val="4"/>
</p:tagLst>
</file>

<file path=ppt/tags/tag250.xml><?xml version="1.0" encoding="utf-8"?>
<p:tagLst xmlns:a="http://schemas.openxmlformats.org/drawingml/2006/main" xmlns:r="http://schemas.openxmlformats.org/officeDocument/2006/relationships" xmlns:p="http://schemas.openxmlformats.org/presentationml/2006/main">
  <p:tag name="NUM" val="65"/>
</p:tagLst>
</file>

<file path=ppt/tags/tag251.xml><?xml version="1.0" encoding="utf-8"?>
<p:tagLst xmlns:a="http://schemas.openxmlformats.org/drawingml/2006/main" xmlns:r="http://schemas.openxmlformats.org/officeDocument/2006/relationships" xmlns:p="http://schemas.openxmlformats.org/presentationml/2006/main">
  <p:tag name="NUM" val="66"/>
</p:tagLst>
</file>

<file path=ppt/tags/tag252.xml><?xml version="1.0" encoding="utf-8"?>
<p:tagLst xmlns:a="http://schemas.openxmlformats.org/drawingml/2006/main" xmlns:r="http://schemas.openxmlformats.org/officeDocument/2006/relationships" xmlns:p="http://schemas.openxmlformats.org/presentationml/2006/main">
  <p:tag name="NUM" val="67"/>
</p:tagLst>
</file>

<file path=ppt/tags/tag253.xml><?xml version="1.0" encoding="utf-8"?>
<p:tagLst xmlns:a="http://schemas.openxmlformats.org/drawingml/2006/main" xmlns:r="http://schemas.openxmlformats.org/officeDocument/2006/relationships" xmlns:p="http://schemas.openxmlformats.org/presentationml/2006/main">
  <p:tag name="NUM" val="68"/>
</p:tagLst>
</file>

<file path=ppt/tags/tag254.xml><?xml version="1.0" encoding="utf-8"?>
<p:tagLst xmlns:a="http://schemas.openxmlformats.org/drawingml/2006/main" xmlns:r="http://schemas.openxmlformats.org/officeDocument/2006/relationships" xmlns:p="http://schemas.openxmlformats.org/presentationml/2006/main">
  <p:tag name="NUM" val="69"/>
</p:tagLst>
</file>

<file path=ppt/tags/tag255.xml><?xml version="1.0" encoding="utf-8"?>
<p:tagLst xmlns:a="http://schemas.openxmlformats.org/drawingml/2006/main" xmlns:r="http://schemas.openxmlformats.org/officeDocument/2006/relationships" xmlns:p="http://schemas.openxmlformats.org/presentationml/2006/main">
  <p:tag name="NUM" val="70"/>
</p:tagLst>
</file>

<file path=ppt/tags/tag256.xml><?xml version="1.0" encoding="utf-8"?>
<p:tagLst xmlns:a="http://schemas.openxmlformats.org/drawingml/2006/main" xmlns:r="http://schemas.openxmlformats.org/officeDocument/2006/relationships" xmlns:p="http://schemas.openxmlformats.org/presentationml/2006/main">
  <p:tag name="NUM" val="71"/>
</p:tagLst>
</file>

<file path=ppt/tags/tag257.xml><?xml version="1.0" encoding="utf-8"?>
<p:tagLst xmlns:a="http://schemas.openxmlformats.org/drawingml/2006/main" xmlns:r="http://schemas.openxmlformats.org/officeDocument/2006/relationships" xmlns:p="http://schemas.openxmlformats.org/presentationml/2006/main">
  <p:tag name="NUM" val="72"/>
</p:tagLst>
</file>

<file path=ppt/tags/tag258.xml><?xml version="1.0" encoding="utf-8"?>
<p:tagLst xmlns:a="http://schemas.openxmlformats.org/drawingml/2006/main" xmlns:r="http://schemas.openxmlformats.org/officeDocument/2006/relationships" xmlns:p="http://schemas.openxmlformats.org/presentationml/2006/main">
  <p:tag name="NUM" val="73"/>
</p:tagLst>
</file>

<file path=ppt/tags/tag259.xml><?xml version="1.0" encoding="utf-8"?>
<p:tagLst xmlns:a="http://schemas.openxmlformats.org/drawingml/2006/main" xmlns:r="http://schemas.openxmlformats.org/officeDocument/2006/relationships" xmlns:p="http://schemas.openxmlformats.org/presentationml/2006/main">
  <p:tag name="NUM" val="74"/>
</p:tagLst>
</file>

<file path=ppt/tags/tag26.xml><?xml version="1.0" encoding="utf-8"?>
<p:tagLst xmlns:a="http://schemas.openxmlformats.org/drawingml/2006/main" xmlns:r="http://schemas.openxmlformats.org/officeDocument/2006/relationships" xmlns:p="http://schemas.openxmlformats.org/presentationml/2006/main">
  <p:tag name="NUM" val="1"/>
</p:tagLst>
</file>

<file path=ppt/tags/tag260.xml><?xml version="1.0" encoding="utf-8"?>
<p:tagLst xmlns:a="http://schemas.openxmlformats.org/drawingml/2006/main" xmlns:r="http://schemas.openxmlformats.org/officeDocument/2006/relationships" xmlns:p="http://schemas.openxmlformats.org/presentationml/2006/main">
  <p:tag name="NUM" val="1"/>
</p:tagLst>
</file>

<file path=ppt/tags/tag261.xml><?xml version="1.0" encoding="utf-8"?>
<p:tagLst xmlns:a="http://schemas.openxmlformats.org/drawingml/2006/main" xmlns:r="http://schemas.openxmlformats.org/officeDocument/2006/relationships" xmlns:p="http://schemas.openxmlformats.org/presentationml/2006/main">
  <p:tag name="NUM" val="2"/>
</p:tagLst>
</file>

<file path=ppt/tags/tag262.xml><?xml version="1.0" encoding="utf-8"?>
<p:tagLst xmlns:a="http://schemas.openxmlformats.org/drawingml/2006/main" xmlns:r="http://schemas.openxmlformats.org/officeDocument/2006/relationships" xmlns:p="http://schemas.openxmlformats.org/presentationml/2006/main">
  <p:tag name="NUM" val="3"/>
</p:tagLst>
</file>

<file path=ppt/tags/tag263.xml><?xml version="1.0" encoding="utf-8"?>
<p:tagLst xmlns:a="http://schemas.openxmlformats.org/drawingml/2006/main" xmlns:r="http://schemas.openxmlformats.org/officeDocument/2006/relationships" xmlns:p="http://schemas.openxmlformats.org/presentationml/2006/main">
  <p:tag name="NUM" val="4"/>
</p:tagLst>
</file>

<file path=ppt/tags/tag264.xml><?xml version="1.0" encoding="utf-8"?>
<p:tagLst xmlns:a="http://schemas.openxmlformats.org/drawingml/2006/main" xmlns:r="http://schemas.openxmlformats.org/officeDocument/2006/relationships" xmlns:p="http://schemas.openxmlformats.org/presentationml/2006/main">
  <p:tag name="NUM" val="5"/>
</p:tagLst>
</file>

<file path=ppt/tags/tag265.xml><?xml version="1.0" encoding="utf-8"?>
<p:tagLst xmlns:a="http://schemas.openxmlformats.org/drawingml/2006/main" xmlns:r="http://schemas.openxmlformats.org/officeDocument/2006/relationships" xmlns:p="http://schemas.openxmlformats.org/presentationml/2006/main">
  <p:tag name="NUM" val="6"/>
</p:tagLst>
</file>

<file path=ppt/tags/tag266.xml><?xml version="1.0" encoding="utf-8"?>
<p:tagLst xmlns:a="http://schemas.openxmlformats.org/drawingml/2006/main" xmlns:r="http://schemas.openxmlformats.org/officeDocument/2006/relationships" xmlns:p="http://schemas.openxmlformats.org/presentationml/2006/main">
  <p:tag name="NUM" val="7"/>
</p:tagLst>
</file>

<file path=ppt/tags/tag267.xml><?xml version="1.0" encoding="utf-8"?>
<p:tagLst xmlns:a="http://schemas.openxmlformats.org/drawingml/2006/main" xmlns:r="http://schemas.openxmlformats.org/officeDocument/2006/relationships" xmlns:p="http://schemas.openxmlformats.org/presentationml/2006/main">
  <p:tag name="NUM" val="8"/>
</p:tagLst>
</file>

<file path=ppt/tags/tag268.xml><?xml version="1.0" encoding="utf-8"?>
<p:tagLst xmlns:a="http://schemas.openxmlformats.org/drawingml/2006/main" xmlns:r="http://schemas.openxmlformats.org/officeDocument/2006/relationships" xmlns:p="http://schemas.openxmlformats.org/presentationml/2006/main">
  <p:tag name="NUM" val="9"/>
</p:tagLst>
</file>

<file path=ppt/tags/tag269.xml><?xml version="1.0" encoding="utf-8"?>
<p:tagLst xmlns:a="http://schemas.openxmlformats.org/drawingml/2006/main" xmlns:r="http://schemas.openxmlformats.org/officeDocument/2006/relationships" xmlns:p="http://schemas.openxmlformats.org/presentationml/2006/main">
  <p:tag name="NUM" val="10"/>
</p:tagLst>
</file>

<file path=ppt/tags/tag27.xml><?xml version="1.0" encoding="utf-8"?>
<p:tagLst xmlns:a="http://schemas.openxmlformats.org/drawingml/2006/main" xmlns:r="http://schemas.openxmlformats.org/officeDocument/2006/relationships" xmlns:p="http://schemas.openxmlformats.org/presentationml/2006/main">
  <p:tag name="NUM" val="2"/>
</p:tagLst>
</file>

<file path=ppt/tags/tag270.xml><?xml version="1.0" encoding="utf-8"?>
<p:tagLst xmlns:a="http://schemas.openxmlformats.org/drawingml/2006/main" xmlns:r="http://schemas.openxmlformats.org/officeDocument/2006/relationships" xmlns:p="http://schemas.openxmlformats.org/presentationml/2006/main">
  <p:tag name="NUM" val="11"/>
</p:tagLst>
</file>

<file path=ppt/tags/tag271.xml><?xml version="1.0" encoding="utf-8"?>
<p:tagLst xmlns:a="http://schemas.openxmlformats.org/drawingml/2006/main" xmlns:r="http://schemas.openxmlformats.org/officeDocument/2006/relationships" xmlns:p="http://schemas.openxmlformats.org/presentationml/2006/main">
  <p:tag name="NUM" val="1"/>
</p:tagLst>
</file>

<file path=ppt/tags/tag272.xml><?xml version="1.0" encoding="utf-8"?>
<p:tagLst xmlns:a="http://schemas.openxmlformats.org/drawingml/2006/main" xmlns:r="http://schemas.openxmlformats.org/officeDocument/2006/relationships" xmlns:p="http://schemas.openxmlformats.org/presentationml/2006/main">
  <p:tag name="NUM" val="2"/>
</p:tagLst>
</file>

<file path=ppt/tags/tag273.xml><?xml version="1.0" encoding="utf-8"?>
<p:tagLst xmlns:a="http://schemas.openxmlformats.org/drawingml/2006/main" xmlns:r="http://schemas.openxmlformats.org/officeDocument/2006/relationships" xmlns:p="http://schemas.openxmlformats.org/presentationml/2006/main">
  <p:tag name="NUM" val="3"/>
</p:tagLst>
</file>

<file path=ppt/tags/tag274.xml><?xml version="1.0" encoding="utf-8"?>
<p:tagLst xmlns:a="http://schemas.openxmlformats.org/drawingml/2006/main" xmlns:r="http://schemas.openxmlformats.org/officeDocument/2006/relationships" xmlns:p="http://schemas.openxmlformats.org/presentationml/2006/main">
  <p:tag name="NUM" val="1"/>
</p:tagLst>
</file>

<file path=ppt/tags/tag275.xml><?xml version="1.0" encoding="utf-8"?>
<p:tagLst xmlns:a="http://schemas.openxmlformats.org/drawingml/2006/main" xmlns:r="http://schemas.openxmlformats.org/officeDocument/2006/relationships" xmlns:p="http://schemas.openxmlformats.org/presentationml/2006/main">
  <p:tag name="NUM" val="2"/>
</p:tagLst>
</file>

<file path=ppt/tags/tag276.xml><?xml version="1.0" encoding="utf-8"?>
<p:tagLst xmlns:a="http://schemas.openxmlformats.org/drawingml/2006/main" xmlns:r="http://schemas.openxmlformats.org/officeDocument/2006/relationships" xmlns:p="http://schemas.openxmlformats.org/presentationml/2006/main">
  <p:tag name="NUM" val="3"/>
</p:tagLst>
</file>

<file path=ppt/tags/tag277.xml><?xml version="1.0" encoding="utf-8"?>
<p:tagLst xmlns:a="http://schemas.openxmlformats.org/drawingml/2006/main" xmlns:r="http://schemas.openxmlformats.org/officeDocument/2006/relationships" xmlns:p="http://schemas.openxmlformats.org/presentationml/2006/main">
  <p:tag name="NUM" val="4"/>
</p:tagLst>
</file>

<file path=ppt/tags/tag278.xml><?xml version="1.0" encoding="utf-8"?>
<p:tagLst xmlns:a="http://schemas.openxmlformats.org/drawingml/2006/main" xmlns:r="http://schemas.openxmlformats.org/officeDocument/2006/relationships" xmlns:p="http://schemas.openxmlformats.org/presentationml/2006/main">
  <p:tag name="NUM" val="5"/>
</p:tagLst>
</file>

<file path=ppt/tags/tag279.xml><?xml version="1.0" encoding="utf-8"?>
<p:tagLst xmlns:a="http://schemas.openxmlformats.org/drawingml/2006/main" xmlns:r="http://schemas.openxmlformats.org/officeDocument/2006/relationships" xmlns:p="http://schemas.openxmlformats.org/presentationml/2006/main">
  <p:tag name="NUM" val="6"/>
</p:tagLst>
</file>

<file path=ppt/tags/tag28.xml><?xml version="1.0" encoding="utf-8"?>
<p:tagLst xmlns:a="http://schemas.openxmlformats.org/drawingml/2006/main" xmlns:r="http://schemas.openxmlformats.org/officeDocument/2006/relationships" xmlns:p="http://schemas.openxmlformats.org/presentationml/2006/main">
  <p:tag name="NUM" val="3"/>
</p:tagLst>
</file>

<file path=ppt/tags/tag280.xml><?xml version="1.0" encoding="utf-8"?>
<p:tagLst xmlns:a="http://schemas.openxmlformats.org/drawingml/2006/main" xmlns:r="http://schemas.openxmlformats.org/officeDocument/2006/relationships" xmlns:p="http://schemas.openxmlformats.org/presentationml/2006/main">
  <p:tag name="NUM" val="7"/>
</p:tagLst>
</file>

<file path=ppt/tags/tag281.xml><?xml version="1.0" encoding="utf-8"?>
<p:tagLst xmlns:a="http://schemas.openxmlformats.org/drawingml/2006/main" xmlns:r="http://schemas.openxmlformats.org/officeDocument/2006/relationships" xmlns:p="http://schemas.openxmlformats.org/presentationml/2006/main">
  <p:tag name="NUM" val="1"/>
</p:tagLst>
</file>

<file path=ppt/tags/tag282.xml><?xml version="1.0" encoding="utf-8"?>
<p:tagLst xmlns:a="http://schemas.openxmlformats.org/drawingml/2006/main" xmlns:r="http://schemas.openxmlformats.org/officeDocument/2006/relationships" xmlns:p="http://schemas.openxmlformats.org/presentationml/2006/main">
  <p:tag name="NUM" val="2"/>
</p:tagLst>
</file>

<file path=ppt/tags/tag283.xml><?xml version="1.0" encoding="utf-8"?>
<p:tagLst xmlns:a="http://schemas.openxmlformats.org/drawingml/2006/main" xmlns:r="http://schemas.openxmlformats.org/officeDocument/2006/relationships" xmlns:p="http://schemas.openxmlformats.org/presentationml/2006/main">
  <p:tag name="NUM" val="3"/>
</p:tagLst>
</file>

<file path=ppt/tags/tag284.xml><?xml version="1.0" encoding="utf-8"?>
<p:tagLst xmlns:a="http://schemas.openxmlformats.org/drawingml/2006/main" xmlns:r="http://schemas.openxmlformats.org/officeDocument/2006/relationships" xmlns:p="http://schemas.openxmlformats.org/presentationml/2006/main">
  <p:tag name="NUM" val="4"/>
</p:tagLst>
</file>

<file path=ppt/tags/tag285.xml><?xml version="1.0" encoding="utf-8"?>
<p:tagLst xmlns:a="http://schemas.openxmlformats.org/drawingml/2006/main" xmlns:r="http://schemas.openxmlformats.org/officeDocument/2006/relationships" xmlns:p="http://schemas.openxmlformats.org/presentationml/2006/main">
  <p:tag name="NUM" val="5"/>
</p:tagLst>
</file>

<file path=ppt/tags/tag286.xml><?xml version="1.0" encoding="utf-8"?>
<p:tagLst xmlns:a="http://schemas.openxmlformats.org/drawingml/2006/main" xmlns:r="http://schemas.openxmlformats.org/officeDocument/2006/relationships" xmlns:p="http://schemas.openxmlformats.org/presentationml/2006/main">
  <p:tag name="NUM" val="6"/>
</p:tagLst>
</file>

<file path=ppt/tags/tag287.xml><?xml version="1.0" encoding="utf-8"?>
<p:tagLst xmlns:a="http://schemas.openxmlformats.org/drawingml/2006/main" xmlns:r="http://schemas.openxmlformats.org/officeDocument/2006/relationships" xmlns:p="http://schemas.openxmlformats.org/presentationml/2006/main">
  <p:tag name="NUM" val="7"/>
</p:tagLst>
</file>

<file path=ppt/tags/tag288.xml><?xml version="1.0" encoding="utf-8"?>
<p:tagLst xmlns:a="http://schemas.openxmlformats.org/drawingml/2006/main" xmlns:r="http://schemas.openxmlformats.org/officeDocument/2006/relationships" xmlns:p="http://schemas.openxmlformats.org/presentationml/2006/main">
  <p:tag name="NUM" val="8"/>
</p:tagLst>
</file>

<file path=ppt/tags/tag289.xml><?xml version="1.0" encoding="utf-8"?>
<p:tagLst xmlns:a="http://schemas.openxmlformats.org/drawingml/2006/main" xmlns:r="http://schemas.openxmlformats.org/officeDocument/2006/relationships" xmlns:p="http://schemas.openxmlformats.org/presentationml/2006/main">
  <p:tag name="NUM" val="1"/>
</p:tagLst>
</file>

<file path=ppt/tags/tag29.xml><?xml version="1.0" encoding="utf-8"?>
<p:tagLst xmlns:a="http://schemas.openxmlformats.org/drawingml/2006/main" xmlns:r="http://schemas.openxmlformats.org/officeDocument/2006/relationships" xmlns:p="http://schemas.openxmlformats.org/presentationml/2006/main">
  <p:tag name="NUM" val="6"/>
</p:tagLst>
</file>

<file path=ppt/tags/tag290.xml><?xml version="1.0" encoding="utf-8"?>
<p:tagLst xmlns:a="http://schemas.openxmlformats.org/drawingml/2006/main" xmlns:r="http://schemas.openxmlformats.org/officeDocument/2006/relationships" xmlns:p="http://schemas.openxmlformats.org/presentationml/2006/main">
  <p:tag name="NUM" val="2"/>
</p:tagLst>
</file>

<file path=ppt/tags/tag291.xml><?xml version="1.0" encoding="utf-8"?>
<p:tagLst xmlns:a="http://schemas.openxmlformats.org/drawingml/2006/main" xmlns:r="http://schemas.openxmlformats.org/officeDocument/2006/relationships" xmlns:p="http://schemas.openxmlformats.org/presentationml/2006/main">
  <p:tag name="NUM" val="3"/>
</p:tagLst>
</file>

<file path=ppt/tags/tag292.xml><?xml version="1.0" encoding="utf-8"?>
<p:tagLst xmlns:a="http://schemas.openxmlformats.org/drawingml/2006/main" xmlns:r="http://schemas.openxmlformats.org/officeDocument/2006/relationships" xmlns:p="http://schemas.openxmlformats.org/presentationml/2006/main">
  <p:tag name="NUM" val="4"/>
</p:tagLst>
</file>

<file path=ppt/tags/tag293.xml><?xml version="1.0" encoding="utf-8"?>
<p:tagLst xmlns:a="http://schemas.openxmlformats.org/drawingml/2006/main" xmlns:r="http://schemas.openxmlformats.org/officeDocument/2006/relationships" xmlns:p="http://schemas.openxmlformats.org/presentationml/2006/main">
  <p:tag name="NUM" val="5"/>
</p:tagLst>
</file>

<file path=ppt/tags/tag294.xml><?xml version="1.0" encoding="utf-8"?>
<p:tagLst xmlns:a="http://schemas.openxmlformats.org/drawingml/2006/main" xmlns:r="http://schemas.openxmlformats.org/officeDocument/2006/relationships" xmlns:p="http://schemas.openxmlformats.org/presentationml/2006/main">
  <p:tag name="NUM" val="6"/>
</p:tagLst>
</file>

<file path=ppt/tags/tag295.xml><?xml version="1.0" encoding="utf-8"?>
<p:tagLst xmlns:a="http://schemas.openxmlformats.org/drawingml/2006/main" xmlns:r="http://schemas.openxmlformats.org/officeDocument/2006/relationships" xmlns:p="http://schemas.openxmlformats.org/presentationml/2006/main">
  <p:tag name="NUM" val="7"/>
</p:tagLst>
</file>

<file path=ppt/tags/tag296.xml><?xml version="1.0" encoding="utf-8"?>
<p:tagLst xmlns:a="http://schemas.openxmlformats.org/drawingml/2006/main" xmlns:r="http://schemas.openxmlformats.org/officeDocument/2006/relationships" xmlns:p="http://schemas.openxmlformats.org/presentationml/2006/main">
  <p:tag name="NUM" val="8"/>
</p:tagLst>
</file>

<file path=ppt/tags/tag297.xml><?xml version="1.0" encoding="utf-8"?>
<p:tagLst xmlns:a="http://schemas.openxmlformats.org/drawingml/2006/main" xmlns:r="http://schemas.openxmlformats.org/officeDocument/2006/relationships" xmlns:p="http://schemas.openxmlformats.org/presentationml/2006/main">
  <p:tag name="NUM" val="1"/>
</p:tagLst>
</file>

<file path=ppt/tags/tag298.xml><?xml version="1.0" encoding="utf-8"?>
<p:tagLst xmlns:a="http://schemas.openxmlformats.org/drawingml/2006/main" xmlns:r="http://schemas.openxmlformats.org/officeDocument/2006/relationships" xmlns:p="http://schemas.openxmlformats.org/presentationml/2006/main">
  <p:tag name="NUM" val="2"/>
</p:tagLst>
</file>

<file path=ppt/tags/tag299.xml><?xml version="1.0" encoding="utf-8"?>
<p:tagLst xmlns:a="http://schemas.openxmlformats.org/drawingml/2006/main" xmlns:r="http://schemas.openxmlformats.org/officeDocument/2006/relationships" xmlns:p="http://schemas.openxmlformats.org/presentationml/2006/main">
  <p:tag name="NUM" val="3"/>
</p:tagLst>
</file>

<file path=ppt/tags/tag3.xml><?xml version="1.0" encoding="utf-8"?>
<p:tagLst xmlns:a="http://schemas.openxmlformats.org/drawingml/2006/main" xmlns:r="http://schemas.openxmlformats.org/officeDocument/2006/relationships" xmlns:p="http://schemas.openxmlformats.org/presentationml/2006/main">
  <p:tag name="NUM" val="2"/>
</p:tagLst>
</file>

<file path=ppt/tags/tag30.xml><?xml version="1.0" encoding="utf-8"?>
<p:tagLst xmlns:a="http://schemas.openxmlformats.org/drawingml/2006/main" xmlns:r="http://schemas.openxmlformats.org/officeDocument/2006/relationships" xmlns:p="http://schemas.openxmlformats.org/presentationml/2006/main">
  <p:tag name="NUM" val="4"/>
</p:tagLst>
</file>

<file path=ppt/tags/tag300.xml><?xml version="1.0" encoding="utf-8"?>
<p:tagLst xmlns:a="http://schemas.openxmlformats.org/drawingml/2006/main" xmlns:r="http://schemas.openxmlformats.org/officeDocument/2006/relationships" xmlns:p="http://schemas.openxmlformats.org/presentationml/2006/main">
  <p:tag name="NUM" val="4"/>
</p:tagLst>
</file>

<file path=ppt/tags/tag301.xml><?xml version="1.0" encoding="utf-8"?>
<p:tagLst xmlns:a="http://schemas.openxmlformats.org/drawingml/2006/main" xmlns:r="http://schemas.openxmlformats.org/officeDocument/2006/relationships" xmlns:p="http://schemas.openxmlformats.org/presentationml/2006/main">
  <p:tag name="NUM" val="5"/>
</p:tagLst>
</file>

<file path=ppt/tags/tag302.xml><?xml version="1.0" encoding="utf-8"?>
<p:tagLst xmlns:a="http://schemas.openxmlformats.org/drawingml/2006/main" xmlns:r="http://schemas.openxmlformats.org/officeDocument/2006/relationships" xmlns:p="http://schemas.openxmlformats.org/presentationml/2006/main">
  <p:tag name="NUM" val="6"/>
</p:tagLst>
</file>

<file path=ppt/tags/tag303.xml><?xml version="1.0" encoding="utf-8"?>
<p:tagLst xmlns:a="http://schemas.openxmlformats.org/drawingml/2006/main" xmlns:r="http://schemas.openxmlformats.org/officeDocument/2006/relationships" xmlns:p="http://schemas.openxmlformats.org/presentationml/2006/main">
  <p:tag name="NUM" val="7"/>
</p:tagLst>
</file>

<file path=ppt/tags/tag304.xml><?xml version="1.0" encoding="utf-8"?>
<p:tagLst xmlns:a="http://schemas.openxmlformats.org/drawingml/2006/main" xmlns:r="http://schemas.openxmlformats.org/officeDocument/2006/relationships" xmlns:p="http://schemas.openxmlformats.org/presentationml/2006/main">
  <p:tag name="NUM" val="1"/>
</p:tagLst>
</file>

<file path=ppt/tags/tag305.xml><?xml version="1.0" encoding="utf-8"?>
<p:tagLst xmlns:a="http://schemas.openxmlformats.org/drawingml/2006/main" xmlns:r="http://schemas.openxmlformats.org/officeDocument/2006/relationships" xmlns:p="http://schemas.openxmlformats.org/presentationml/2006/main">
  <p:tag name="NUM" val="2"/>
</p:tagLst>
</file>

<file path=ppt/tags/tag306.xml><?xml version="1.0" encoding="utf-8"?>
<p:tagLst xmlns:a="http://schemas.openxmlformats.org/drawingml/2006/main" xmlns:r="http://schemas.openxmlformats.org/officeDocument/2006/relationships" xmlns:p="http://schemas.openxmlformats.org/presentationml/2006/main">
  <p:tag name="NUM" val="3"/>
</p:tagLst>
</file>

<file path=ppt/tags/tag307.xml><?xml version="1.0" encoding="utf-8"?>
<p:tagLst xmlns:a="http://schemas.openxmlformats.org/drawingml/2006/main" xmlns:r="http://schemas.openxmlformats.org/officeDocument/2006/relationships" xmlns:p="http://schemas.openxmlformats.org/presentationml/2006/main">
  <p:tag name="NUM" val="4"/>
</p:tagLst>
</file>

<file path=ppt/tags/tag308.xml><?xml version="1.0" encoding="utf-8"?>
<p:tagLst xmlns:a="http://schemas.openxmlformats.org/drawingml/2006/main" xmlns:r="http://schemas.openxmlformats.org/officeDocument/2006/relationships" xmlns:p="http://schemas.openxmlformats.org/presentationml/2006/main">
  <p:tag name="NUM" val="5"/>
</p:tagLst>
</file>

<file path=ppt/tags/tag309.xml><?xml version="1.0" encoding="utf-8"?>
<p:tagLst xmlns:a="http://schemas.openxmlformats.org/drawingml/2006/main" xmlns:r="http://schemas.openxmlformats.org/officeDocument/2006/relationships" xmlns:p="http://schemas.openxmlformats.org/presentationml/2006/main">
  <p:tag name="NUM" val="6"/>
</p:tagLst>
</file>

<file path=ppt/tags/tag31.xml><?xml version="1.0" encoding="utf-8"?>
<p:tagLst xmlns:a="http://schemas.openxmlformats.org/drawingml/2006/main" xmlns:r="http://schemas.openxmlformats.org/officeDocument/2006/relationships" xmlns:p="http://schemas.openxmlformats.org/presentationml/2006/main">
  <p:tag name="NUM" val="5"/>
</p:tagLst>
</file>

<file path=ppt/tags/tag310.xml><?xml version="1.0" encoding="utf-8"?>
<p:tagLst xmlns:a="http://schemas.openxmlformats.org/drawingml/2006/main" xmlns:r="http://schemas.openxmlformats.org/officeDocument/2006/relationships" xmlns:p="http://schemas.openxmlformats.org/presentationml/2006/main">
  <p:tag name="NUM" val="7"/>
</p:tagLst>
</file>

<file path=ppt/tags/tag311.xml><?xml version="1.0" encoding="utf-8"?>
<p:tagLst xmlns:a="http://schemas.openxmlformats.org/drawingml/2006/main" xmlns:r="http://schemas.openxmlformats.org/officeDocument/2006/relationships" xmlns:p="http://schemas.openxmlformats.org/presentationml/2006/main">
  <p:tag name="NUM" val="1"/>
</p:tagLst>
</file>

<file path=ppt/tags/tag312.xml><?xml version="1.0" encoding="utf-8"?>
<p:tagLst xmlns:a="http://schemas.openxmlformats.org/drawingml/2006/main" xmlns:r="http://schemas.openxmlformats.org/officeDocument/2006/relationships" xmlns:p="http://schemas.openxmlformats.org/presentationml/2006/main">
  <p:tag name="NUM" val="2"/>
</p:tagLst>
</file>

<file path=ppt/tags/tag313.xml><?xml version="1.0" encoding="utf-8"?>
<p:tagLst xmlns:a="http://schemas.openxmlformats.org/drawingml/2006/main" xmlns:r="http://schemas.openxmlformats.org/officeDocument/2006/relationships" xmlns:p="http://schemas.openxmlformats.org/presentationml/2006/main">
  <p:tag name="NUM" val="3"/>
</p:tagLst>
</file>

<file path=ppt/tags/tag314.xml><?xml version="1.0" encoding="utf-8"?>
<p:tagLst xmlns:a="http://schemas.openxmlformats.org/drawingml/2006/main" xmlns:r="http://schemas.openxmlformats.org/officeDocument/2006/relationships" xmlns:p="http://schemas.openxmlformats.org/presentationml/2006/main">
  <p:tag name="NUM" val="4"/>
</p:tagLst>
</file>

<file path=ppt/tags/tag315.xml><?xml version="1.0" encoding="utf-8"?>
<p:tagLst xmlns:a="http://schemas.openxmlformats.org/drawingml/2006/main" xmlns:r="http://schemas.openxmlformats.org/officeDocument/2006/relationships" xmlns:p="http://schemas.openxmlformats.org/presentationml/2006/main">
  <p:tag name="NUM" val="1"/>
</p:tagLst>
</file>

<file path=ppt/tags/tag316.xml><?xml version="1.0" encoding="utf-8"?>
<p:tagLst xmlns:a="http://schemas.openxmlformats.org/drawingml/2006/main" xmlns:r="http://schemas.openxmlformats.org/officeDocument/2006/relationships" xmlns:p="http://schemas.openxmlformats.org/presentationml/2006/main">
  <p:tag name="NUM" val="2"/>
</p:tagLst>
</file>

<file path=ppt/tags/tag317.xml><?xml version="1.0" encoding="utf-8"?>
<p:tagLst xmlns:a="http://schemas.openxmlformats.org/drawingml/2006/main" xmlns:r="http://schemas.openxmlformats.org/officeDocument/2006/relationships" xmlns:p="http://schemas.openxmlformats.org/presentationml/2006/main">
  <p:tag name="NUM" val="3"/>
</p:tagLst>
</file>

<file path=ppt/tags/tag318.xml><?xml version="1.0" encoding="utf-8"?>
<p:tagLst xmlns:a="http://schemas.openxmlformats.org/drawingml/2006/main" xmlns:r="http://schemas.openxmlformats.org/officeDocument/2006/relationships" xmlns:p="http://schemas.openxmlformats.org/presentationml/2006/main">
  <p:tag name="NUM" val="4"/>
</p:tagLst>
</file>

<file path=ppt/tags/tag319.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7"/>
</p:tagLst>
</file>

<file path=ppt/tags/tag320.xml><?xml version="1.0" encoding="utf-8"?>
<p:tagLst xmlns:a="http://schemas.openxmlformats.org/drawingml/2006/main" xmlns:r="http://schemas.openxmlformats.org/officeDocument/2006/relationships" xmlns:p="http://schemas.openxmlformats.org/presentationml/2006/main">
  <p:tag name="NUM" val="2"/>
</p:tagLst>
</file>

<file path=ppt/tags/tag321.xml><?xml version="1.0" encoding="utf-8"?>
<p:tagLst xmlns:a="http://schemas.openxmlformats.org/drawingml/2006/main" xmlns:r="http://schemas.openxmlformats.org/officeDocument/2006/relationships" xmlns:p="http://schemas.openxmlformats.org/presentationml/2006/main">
  <p:tag name="NUM" val="3"/>
</p:tagLst>
</file>

<file path=ppt/tags/tag322.xml><?xml version="1.0" encoding="utf-8"?>
<p:tagLst xmlns:a="http://schemas.openxmlformats.org/drawingml/2006/main" xmlns:r="http://schemas.openxmlformats.org/officeDocument/2006/relationships" xmlns:p="http://schemas.openxmlformats.org/presentationml/2006/main">
  <p:tag name="NUM" val="1"/>
</p:tagLst>
</file>

<file path=ppt/tags/tag323.xml><?xml version="1.0" encoding="utf-8"?>
<p:tagLst xmlns:a="http://schemas.openxmlformats.org/drawingml/2006/main" xmlns:r="http://schemas.openxmlformats.org/officeDocument/2006/relationships" xmlns:p="http://schemas.openxmlformats.org/presentationml/2006/main">
  <p:tag name="NUM" val="2"/>
</p:tagLst>
</file>

<file path=ppt/tags/tag324.xml><?xml version="1.0" encoding="utf-8"?>
<p:tagLst xmlns:a="http://schemas.openxmlformats.org/drawingml/2006/main" xmlns:r="http://schemas.openxmlformats.org/officeDocument/2006/relationships" xmlns:p="http://schemas.openxmlformats.org/presentationml/2006/main">
  <p:tag name="NUM" val="3"/>
</p:tagLst>
</file>

<file path=ppt/tags/tag325.xml><?xml version="1.0" encoding="utf-8"?>
<p:tagLst xmlns:a="http://schemas.openxmlformats.org/drawingml/2006/main" xmlns:r="http://schemas.openxmlformats.org/officeDocument/2006/relationships" xmlns:p="http://schemas.openxmlformats.org/presentationml/2006/main">
  <p:tag name="NUM" val="4"/>
</p:tagLst>
</file>

<file path=ppt/tags/tag326.xml><?xml version="1.0" encoding="utf-8"?>
<p:tagLst xmlns:a="http://schemas.openxmlformats.org/drawingml/2006/main" xmlns:r="http://schemas.openxmlformats.org/officeDocument/2006/relationships" xmlns:p="http://schemas.openxmlformats.org/presentationml/2006/main">
  <p:tag name="NUM" val="5"/>
</p:tagLst>
</file>

<file path=ppt/tags/tag327.xml><?xml version="1.0" encoding="utf-8"?>
<p:tagLst xmlns:a="http://schemas.openxmlformats.org/drawingml/2006/main" xmlns:r="http://schemas.openxmlformats.org/officeDocument/2006/relationships" xmlns:p="http://schemas.openxmlformats.org/presentationml/2006/main">
  <p:tag name="NUM" val="6"/>
</p:tagLst>
</file>

<file path=ppt/tags/tag328.xml><?xml version="1.0" encoding="utf-8"?>
<p:tagLst xmlns:a="http://schemas.openxmlformats.org/drawingml/2006/main" xmlns:r="http://schemas.openxmlformats.org/officeDocument/2006/relationships" xmlns:p="http://schemas.openxmlformats.org/presentationml/2006/main">
  <p:tag name="NUM" val="7"/>
</p:tagLst>
</file>

<file path=ppt/tags/tag329.xml><?xml version="1.0" encoding="utf-8"?>
<p:tagLst xmlns:a="http://schemas.openxmlformats.org/drawingml/2006/main" xmlns:r="http://schemas.openxmlformats.org/officeDocument/2006/relationships" xmlns:p="http://schemas.openxmlformats.org/presentationml/2006/main">
  <p:tag name="NUM" val="8"/>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30.xml><?xml version="1.0" encoding="utf-8"?>
<p:tagLst xmlns:a="http://schemas.openxmlformats.org/drawingml/2006/main" xmlns:r="http://schemas.openxmlformats.org/officeDocument/2006/relationships" xmlns:p="http://schemas.openxmlformats.org/presentationml/2006/main">
  <p:tag name="NUM" val="1"/>
</p:tagLst>
</file>

<file path=ppt/tags/tag331.xml><?xml version="1.0" encoding="utf-8"?>
<p:tagLst xmlns:a="http://schemas.openxmlformats.org/drawingml/2006/main" xmlns:r="http://schemas.openxmlformats.org/officeDocument/2006/relationships" xmlns:p="http://schemas.openxmlformats.org/presentationml/2006/main">
  <p:tag name="NUM" val="2"/>
</p:tagLst>
</file>

<file path=ppt/tags/tag332.xml><?xml version="1.0" encoding="utf-8"?>
<p:tagLst xmlns:a="http://schemas.openxmlformats.org/drawingml/2006/main" xmlns:r="http://schemas.openxmlformats.org/officeDocument/2006/relationships" xmlns:p="http://schemas.openxmlformats.org/presentationml/2006/main">
  <p:tag name="NUM" val="3"/>
</p:tagLst>
</file>

<file path=ppt/tags/tag333.xml><?xml version="1.0" encoding="utf-8"?>
<p:tagLst xmlns:a="http://schemas.openxmlformats.org/drawingml/2006/main" xmlns:r="http://schemas.openxmlformats.org/officeDocument/2006/relationships" xmlns:p="http://schemas.openxmlformats.org/presentationml/2006/main">
  <p:tag name="NUM" val="4"/>
</p:tagLst>
</file>

<file path=ppt/tags/tag334.xml><?xml version="1.0" encoding="utf-8"?>
<p:tagLst xmlns:a="http://schemas.openxmlformats.org/drawingml/2006/main" xmlns:r="http://schemas.openxmlformats.org/officeDocument/2006/relationships" xmlns:p="http://schemas.openxmlformats.org/presentationml/2006/main">
  <p:tag name="NUM" val="1"/>
</p:tagLst>
</file>

<file path=ppt/tags/tag335.xml><?xml version="1.0" encoding="utf-8"?>
<p:tagLst xmlns:a="http://schemas.openxmlformats.org/drawingml/2006/main" xmlns:r="http://schemas.openxmlformats.org/officeDocument/2006/relationships" xmlns:p="http://schemas.openxmlformats.org/presentationml/2006/main">
  <p:tag name="NUM" val="2"/>
</p:tagLst>
</file>

<file path=ppt/tags/tag336.xml><?xml version="1.0" encoding="utf-8"?>
<p:tagLst xmlns:a="http://schemas.openxmlformats.org/drawingml/2006/main" xmlns:r="http://schemas.openxmlformats.org/officeDocument/2006/relationships" xmlns:p="http://schemas.openxmlformats.org/presentationml/2006/main">
  <p:tag name="NUM" val="3"/>
</p:tagLst>
</file>

<file path=ppt/tags/tag337.xml><?xml version="1.0" encoding="utf-8"?>
<p:tagLst xmlns:a="http://schemas.openxmlformats.org/drawingml/2006/main" xmlns:r="http://schemas.openxmlformats.org/officeDocument/2006/relationships" xmlns:p="http://schemas.openxmlformats.org/presentationml/2006/main">
  <p:tag name="NUM" val="4"/>
</p:tagLst>
</file>

<file path=ppt/tags/tag338.xml><?xml version="1.0" encoding="utf-8"?>
<p:tagLst xmlns:a="http://schemas.openxmlformats.org/drawingml/2006/main" xmlns:r="http://schemas.openxmlformats.org/officeDocument/2006/relationships" xmlns:p="http://schemas.openxmlformats.org/presentationml/2006/main">
  <p:tag name="NUM" val="5"/>
</p:tagLst>
</file>

<file path=ppt/tags/tag339.xml><?xml version="1.0" encoding="utf-8"?>
<p:tagLst xmlns:a="http://schemas.openxmlformats.org/drawingml/2006/main" xmlns:r="http://schemas.openxmlformats.org/officeDocument/2006/relationships" xmlns:p="http://schemas.openxmlformats.org/presentationml/2006/main">
  <p:tag name="NUM" val="6"/>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40.xml><?xml version="1.0" encoding="utf-8"?>
<p:tagLst xmlns:a="http://schemas.openxmlformats.org/drawingml/2006/main" xmlns:r="http://schemas.openxmlformats.org/officeDocument/2006/relationships" xmlns:p="http://schemas.openxmlformats.org/presentationml/2006/main">
  <p:tag name="NUM" val="7"/>
</p:tagLst>
</file>

<file path=ppt/tags/tag341.xml><?xml version="1.0" encoding="utf-8"?>
<p:tagLst xmlns:a="http://schemas.openxmlformats.org/drawingml/2006/main" xmlns:r="http://schemas.openxmlformats.org/officeDocument/2006/relationships" xmlns:p="http://schemas.openxmlformats.org/presentationml/2006/main">
  <p:tag name="NUM" val="8"/>
</p:tagLst>
</file>

<file path=ppt/tags/tag342.xml><?xml version="1.0" encoding="utf-8"?>
<p:tagLst xmlns:a="http://schemas.openxmlformats.org/drawingml/2006/main" xmlns:r="http://schemas.openxmlformats.org/officeDocument/2006/relationships" xmlns:p="http://schemas.openxmlformats.org/presentationml/2006/main">
  <p:tag name="NUM" val="9"/>
</p:tagLst>
</file>

<file path=ppt/tags/tag343.xml><?xml version="1.0" encoding="utf-8"?>
<p:tagLst xmlns:a="http://schemas.openxmlformats.org/drawingml/2006/main" xmlns:r="http://schemas.openxmlformats.org/officeDocument/2006/relationships" xmlns:p="http://schemas.openxmlformats.org/presentationml/2006/main">
  <p:tag name="NUM" val="10"/>
</p:tagLst>
</file>

<file path=ppt/tags/tag344.xml><?xml version="1.0" encoding="utf-8"?>
<p:tagLst xmlns:a="http://schemas.openxmlformats.org/drawingml/2006/main" xmlns:r="http://schemas.openxmlformats.org/officeDocument/2006/relationships" xmlns:p="http://schemas.openxmlformats.org/presentationml/2006/main">
  <p:tag name="NUM" val="11"/>
</p:tagLst>
</file>

<file path=ppt/tags/tag345.xml><?xml version="1.0" encoding="utf-8"?>
<p:tagLst xmlns:a="http://schemas.openxmlformats.org/drawingml/2006/main" xmlns:r="http://schemas.openxmlformats.org/officeDocument/2006/relationships" xmlns:p="http://schemas.openxmlformats.org/presentationml/2006/main">
  <p:tag name="NUM" val="12"/>
</p:tagLst>
</file>

<file path=ppt/tags/tag346.xml><?xml version="1.0" encoding="utf-8"?>
<p:tagLst xmlns:a="http://schemas.openxmlformats.org/drawingml/2006/main" xmlns:r="http://schemas.openxmlformats.org/officeDocument/2006/relationships" xmlns:p="http://schemas.openxmlformats.org/presentationml/2006/main">
  <p:tag name="NUM" val="13"/>
</p:tagLst>
</file>

<file path=ppt/tags/tag347.xml><?xml version="1.0" encoding="utf-8"?>
<p:tagLst xmlns:a="http://schemas.openxmlformats.org/drawingml/2006/main" xmlns:r="http://schemas.openxmlformats.org/officeDocument/2006/relationships" xmlns:p="http://schemas.openxmlformats.org/presentationml/2006/main">
  <p:tag name="NUM" val="14"/>
</p:tagLst>
</file>

<file path=ppt/tags/tag348.xml><?xml version="1.0" encoding="utf-8"?>
<p:tagLst xmlns:a="http://schemas.openxmlformats.org/drawingml/2006/main" xmlns:r="http://schemas.openxmlformats.org/officeDocument/2006/relationships" xmlns:p="http://schemas.openxmlformats.org/presentationml/2006/main">
  <p:tag name="NUM" val="15"/>
</p:tagLst>
</file>

<file path=ppt/tags/tag349.xml><?xml version="1.0" encoding="utf-8"?>
<p:tagLst xmlns:a="http://schemas.openxmlformats.org/drawingml/2006/main" xmlns:r="http://schemas.openxmlformats.org/officeDocument/2006/relationships" xmlns:p="http://schemas.openxmlformats.org/presentationml/2006/main">
  <p:tag name="NUM" val="16"/>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50.xml><?xml version="1.0" encoding="utf-8"?>
<p:tagLst xmlns:a="http://schemas.openxmlformats.org/drawingml/2006/main" xmlns:r="http://schemas.openxmlformats.org/officeDocument/2006/relationships" xmlns:p="http://schemas.openxmlformats.org/presentationml/2006/main">
  <p:tag name="NUM" val="17"/>
</p:tagLst>
</file>

<file path=ppt/tags/tag351.xml><?xml version="1.0" encoding="utf-8"?>
<p:tagLst xmlns:a="http://schemas.openxmlformats.org/drawingml/2006/main" xmlns:r="http://schemas.openxmlformats.org/officeDocument/2006/relationships" xmlns:p="http://schemas.openxmlformats.org/presentationml/2006/main">
  <p:tag name="NUM" val="1"/>
</p:tagLst>
</file>

<file path=ppt/tags/tag352.xml><?xml version="1.0" encoding="utf-8"?>
<p:tagLst xmlns:a="http://schemas.openxmlformats.org/drawingml/2006/main" xmlns:r="http://schemas.openxmlformats.org/officeDocument/2006/relationships" xmlns:p="http://schemas.openxmlformats.org/presentationml/2006/main">
  <p:tag name="NUM" val="2"/>
</p:tagLst>
</file>

<file path=ppt/tags/tag353.xml><?xml version="1.0" encoding="utf-8"?>
<p:tagLst xmlns:a="http://schemas.openxmlformats.org/drawingml/2006/main" xmlns:r="http://schemas.openxmlformats.org/officeDocument/2006/relationships" xmlns:p="http://schemas.openxmlformats.org/presentationml/2006/main">
  <p:tag name="NUM" val="3"/>
</p:tagLst>
</file>

<file path=ppt/tags/tag354.xml><?xml version="1.0" encoding="utf-8"?>
<p:tagLst xmlns:a="http://schemas.openxmlformats.org/drawingml/2006/main" xmlns:r="http://schemas.openxmlformats.org/officeDocument/2006/relationships" xmlns:p="http://schemas.openxmlformats.org/presentationml/2006/main">
  <p:tag name="NUM" val="4"/>
</p:tagLst>
</file>

<file path=ppt/tags/tag355.xml><?xml version="1.0" encoding="utf-8"?>
<p:tagLst xmlns:a="http://schemas.openxmlformats.org/drawingml/2006/main" xmlns:r="http://schemas.openxmlformats.org/officeDocument/2006/relationships" xmlns:p="http://schemas.openxmlformats.org/presentationml/2006/main">
  <p:tag name="NUM" val="5"/>
</p:tagLst>
</file>

<file path=ppt/tags/tag356.xml><?xml version="1.0" encoding="utf-8"?>
<p:tagLst xmlns:a="http://schemas.openxmlformats.org/drawingml/2006/main" xmlns:r="http://schemas.openxmlformats.org/officeDocument/2006/relationships" xmlns:p="http://schemas.openxmlformats.org/presentationml/2006/main">
  <p:tag name="NUM" val="7"/>
</p:tagLst>
</file>

<file path=ppt/tags/tag357.xml><?xml version="1.0" encoding="utf-8"?>
<p:tagLst xmlns:a="http://schemas.openxmlformats.org/drawingml/2006/main" xmlns:r="http://schemas.openxmlformats.org/officeDocument/2006/relationships" xmlns:p="http://schemas.openxmlformats.org/presentationml/2006/main">
  <p:tag name="NUM" val="6"/>
</p:tagLst>
</file>

<file path=ppt/tags/tag358.xml><?xml version="1.0" encoding="utf-8"?>
<p:tagLst xmlns:a="http://schemas.openxmlformats.org/drawingml/2006/main" xmlns:r="http://schemas.openxmlformats.org/officeDocument/2006/relationships" xmlns:p="http://schemas.openxmlformats.org/presentationml/2006/main">
  <p:tag name="NUM" val="1"/>
</p:tagLst>
</file>

<file path=ppt/tags/tag359.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60.xml><?xml version="1.0" encoding="utf-8"?>
<p:tagLst xmlns:a="http://schemas.openxmlformats.org/drawingml/2006/main" xmlns:r="http://schemas.openxmlformats.org/officeDocument/2006/relationships" xmlns:p="http://schemas.openxmlformats.org/presentationml/2006/main">
  <p:tag name="NUM" val="3"/>
</p:tagLst>
</file>

<file path=ppt/tags/tag361.xml><?xml version="1.0" encoding="utf-8"?>
<p:tagLst xmlns:a="http://schemas.openxmlformats.org/drawingml/2006/main" xmlns:r="http://schemas.openxmlformats.org/officeDocument/2006/relationships" xmlns:p="http://schemas.openxmlformats.org/presentationml/2006/main">
  <p:tag name="NUM" val="4"/>
</p:tagLst>
</file>

<file path=ppt/tags/tag362.xml><?xml version="1.0" encoding="utf-8"?>
<p:tagLst xmlns:a="http://schemas.openxmlformats.org/drawingml/2006/main" xmlns:r="http://schemas.openxmlformats.org/officeDocument/2006/relationships" xmlns:p="http://schemas.openxmlformats.org/presentationml/2006/main">
  <p:tag name="NUM" val="1"/>
</p:tagLst>
</file>

<file path=ppt/tags/tag363.xml><?xml version="1.0" encoding="utf-8"?>
<p:tagLst xmlns:a="http://schemas.openxmlformats.org/drawingml/2006/main" xmlns:r="http://schemas.openxmlformats.org/officeDocument/2006/relationships" xmlns:p="http://schemas.openxmlformats.org/presentationml/2006/main">
  <p:tag name="NUM" val="2"/>
</p:tagLst>
</file>

<file path=ppt/tags/tag364.xml><?xml version="1.0" encoding="utf-8"?>
<p:tagLst xmlns:a="http://schemas.openxmlformats.org/drawingml/2006/main" xmlns:r="http://schemas.openxmlformats.org/officeDocument/2006/relationships" xmlns:p="http://schemas.openxmlformats.org/presentationml/2006/main">
  <p:tag name="NUM" val="3"/>
</p:tagLst>
</file>

<file path=ppt/tags/tag365.xml><?xml version="1.0" encoding="utf-8"?>
<p:tagLst xmlns:a="http://schemas.openxmlformats.org/drawingml/2006/main" xmlns:r="http://schemas.openxmlformats.org/officeDocument/2006/relationships" xmlns:p="http://schemas.openxmlformats.org/presentationml/2006/main">
  <p:tag name="NUM" val="4"/>
</p:tagLst>
</file>

<file path=ppt/tags/tag366.xml><?xml version="1.0" encoding="utf-8"?>
<p:tagLst xmlns:a="http://schemas.openxmlformats.org/drawingml/2006/main" xmlns:r="http://schemas.openxmlformats.org/officeDocument/2006/relationships" xmlns:p="http://schemas.openxmlformats.org/presentationml/2006/main">
  <p:tag name="NUM" val="5"/>
</p:tagLst>
</file>

<file path=ppt/tags/tag367.xml><?xml version="1.0" encoding="utf-8"?>
<p:tagLst xmlns:a="http://schemas.openxmlformats.org/drawingml/2006/main" xmlns:r="http://schemas.openxmlformats.org/officeDocument/2006/relationships" xmlns:p="http://schemas.openxmlformats.org/presentationml/2006/main">
  <p:tag name="NUM" val="6"/>
</p:tagLst>
</file>

<file path=ppt/tags/tag368.xml><?xml version="1.0" encoding="utf-8"?>
<p:tagLst xmlns:a="http://schemas.openxmlformats.org/drawingml/2006/main" xmlns:r="http://schemas.openxmlformats.org/officeDocument/2006/relationships" xmlns:p="http://schemas.openxmlformats.org/presentationml/2006/main">
  <p:tag name="NUM" val="7"/>
</p:tagLst>
</file>

<file path=ppt/tags/tag369.xml><?xml version="1.0" encoding="utf-8"?>
<p:tagLst xmlns:a="http://schemas.openxmlformats.org/drawingml/2006/main" xmlns:r="http://schemas.openxmlformats.org/officeDocument/2006/relationships" xmlns:p="http://schemas.openxmlformats.org/presentationml/2006/main">
  <p:tag name="NUM" val="8"/>
</p:tagLst>
</file>

<file path=ppt/tags/tag37.xml><?xml version="1.0" encoding="utf-8"?>
<p:tagLst xmlns:a="http://schemas.openxmlformats.org/drawingml/2006/main" xmlns:r="http://schemas.openxmlformats.org/officeDocument/2006/relationships" xmlns:p="http://schemas.openxmlformats.org/presentationml/2006/main">
  <p:tag name="NUM" val="1"/>
</p:tagLst>
</file>

<file path=ppt/tags/tag370.xml><?xml version="1.0" encoding="utf-8"?>
<p:tagLst xmlns:a="http://schemas.openxmlformats.org/drawingml/2006/main" xmlns:r="http://schemas.openxmlformats.org/officeDocument/2006/relationships" xmlns:p="http://schemas.openxmlformats.org/presentationml/2006/main">
  <p:tag name="NUM" val="9"/>
</p:tagLst>
</file>

<file path=ppt/tags/tag371.xml><?xml version="1.0" encoding="utf-8"?>
<p:tagLst xmlns:a="http://schemas.openxmlformats.org/drawingml/2006/main" xmlns:r="http://schemas.openxmlformats.org/officeDocument/2006/relationships" xmlns:p="http://schemas.openxmlformats.org/presentationml/2006/main">
  <p:tag name="NUM" val="5"/>
</p:tagLst>
</file>

<file path=ppt/tags/tag372.xml><?xml version="1.0" encoding="utf-8"?>
<p:tagLst xmlns:a="http://schemas.openxmlformats.org/drawingml/2006/main" xmlns:r="http://schemas.openxmlformats.org/officeDocument/2006/relationships" xmlns:p="http://schemas.openxmlformats.org/presentationml/2006/main">
  <p:tag name="NUM" val="1"/>
</p:tagLst>
</file>

<file path=ppt/tags/tag373.xml><?xml version="1.0" encoding="utf-8"?>
<p:tagLst xmlns:a="http://schemas.openxmlformats.org/drawingml/2006/main" xmlns:r="http://schemas.openxmlformats.org/officeDocument/2006/relationships" xmlns:p="http://schemas.openxmlformats.org/presentationml/2006/main">
  <p:tag name="NUM" val="2"/>
</p:tagLst>
</file>

<file path=ppt/tags/tag374.xml><?xml version="1.0" encoding="utf-8"?>
<p:tagLst xmlns:a="http://schemas.openxmlformats.org/drawingml/2006/main" xmlns:r="http://schemas.openxmlformats.org/officeDocument/2006/relationships" xmlns:p="http://schemas.openxmlformats.org/presentationml/2006/main">
  <p:tag name="NUM" val="3"/>
</p:tagLst>
</file>

<file path=ppt/tags/tag375.xml><?xml version="1.0" encoding="utf-8"?>
<p:tagLst xmlns:a="http://schemas.openxmlformats.org/drawingml/2006/main" xmlns:r="http://schemas.openxmlformats.org/officeDocument/2006/relationships" xmlns:p="http://schemas.openxmlformats.org/presentationml/2006/main">
  <p:tag name="NUM" val="4"/>
</p:tagLst>
</file>

<file path=ppt/tags/tag376.xml><?xml version="1.0" encoding="utf-8"?>
<p:tagLst xmlns:a="http://schemas.openxmlformats.org/drawingml/2006/main" xmlns:r="http://schemas.openxmlformats.org/officeDocument/2006/relationships" xmlns:p="http://schemas.openxmlformats.org/presentationml/2006/main">
  <p:tag name="NUM" val="5"/>
</p:tagLst>
</file>

<file path=ppt/tags/tag377.xml><?xml version="1.0" encoding="utf-8"?>
<p:tagLst xmlns:a="http://schemas.openxmlformats.org/drawingml/2006/main" xmlns:r="http://schemas.openxmlformats.org/officeDocument/2006/relationships" xmlns:p="http://schemas.openxmlformats.org/presentationml/2006/main">
  <p:tag name="NUM" val="6"/>
</p:tagLst>
</file>

<file path=ppt/tags/tag378.xml><?xml version="1.0" encoding="utf-8"?>
<p:tagLst xmlns:a="http://schemas.openxmlformats.org/drawingml/2006/main" xmlns:r="http://schemas.openxmlformats.org/officeDocument/2006/relationships" xmlns:p="http://schemas.openxmlformats.org/presentationml/2006/main">
  <p:tag name="NUM" val="7"/>
</p:tagLst>
</file>

<file path=ppt/tags/tag379.xml><?xml version="1.0" encoding="utf-8"?>
<p:tagLst xmlns:a="http://schemas.openxmlformats.org/drawingml/2006/main" xmlns:r="http://schemas.openxmlformats.org/officeDocument/2006/relationships" xmlns:p="http://schemas.openxmlformats.org/presentationml/2006/main">
  <p:tag name="NUM" val="1"/>
</p:tagLst>
</file>

<file path=ppt/tags/tag38.xml><?xml version="1.0" encoding="utf-8"?>
<p:tagLst xmlns:a="http://schemas.openxmlformats.org/drawingml/2006/main" xmlns:r="http://schemas.openxmlformats.org/officeDocument/2006/relationships" xmlns:p="http://schemas.openxmlformats.org/presentationml/2006/main">
  <p:tag name="NUM" val="2"/>
</p:tagLst>
</file>

<file path=ppt/tags/tag380.xml><?xml version="1.0" encoding="utf-8"?>
<p:tagLst xmlns:a="http://schemas.openxmlformats.org/drawingml/2006/main" xmlns:r="http://schemas.openxmlformats.org/officeDocument/2006/relationships" xmlns:p="http://schemas.openxmlformats.org/presentationml/2006/main">
  <p:tag name="NUM" val="2"/>
</p:tagLst>
</file>

<file path=ppt/tags/tag381.xml><?xml version="1.0" encoding="utf-8"?>
<p:tagLst xmlns:a="http://schemas.openxmlformats.org/drawingml/2006/main" xmlns:r="http://schemas.openxmlformats.org/officeDocument/2006/relationships" xmlns:p="http://schemas.openxmlformats.org/presentationml/2006/main">
  <p:tag name="NUM" val="3"/>
</p:tagLst>
</file>

<file path=ppt/tags/tag382.xml><?xml version="1.0" encoding="utf-8"?>
<p:tagLst xmlns:a="http://schemas.openxmlformats.org/drawingml/2006/main" xmlns:r="http://schemas.openxmlformats.org/officeDocument/2006/relationships" xmlns:p="http://schemas.openxmlformats.org/presentationml/2006/main">
  <p:tag name="NUM" val="4"/>
</p:tagLst>
</file>

<file path=ppt/tags/tag383.xml><?xml version="1.0" encoding="utf-8"?>
<p:tagLst xmlns:a="http://schemas.openxmlformats.org/drawingml/2006/main" xmlns:r="http://schemas.openxmlformats.org/officeDocument/2006/relationships" xmlns:p="http://schemas.openxmlformats.org/presentationml/2006/main">
  <p:tag name="NUM" val="1"/>
</p:tagLst>
</file>

<file path=ppt/tags/tag384.xml><?xml version="1.0" encoding="utf-8"?>
<p:tagLst xmlns:a="http://schemas.openxmlformats.org/drawingml/2006/main" xmlns:r="http://schemas.openxmlformats.org/officeDocument/2006/relationships" xmlns:p="http://schemas.openxmlformats.org/presentationml/2006/main">
  <p:tag name="NUM" val="2"/>
</p:tagLst>
</file>

<file path=ppt/tags/tag385.xml><?xml version="1.0" encoding="utf-8"?>
<p:tagLst xmlns:a="http://schemas.openxmlformats.org/drawingml/2006/main" xmlns:r="http://schemas.openxmlformats.org/officeDocument/2006/relationships" xmlns:p="http://schemas.openxmlformats.org/presentationml/2006/main">
  <p:tag name="NUM" val="3"/>
</p:tagLst>
</file>

<file path=ppt/tags/tag386.xml><?xml version="1.0" encoding="utf-8"?>
<p:tagLst xmlns:a="http://schemas.openxmlformats.org/drawingml/2006/main" xmlns:r="http://schemas.openxmlformats.org/officeDocument/2006/relationships" xmlns:p="http://schemas.openxmlformats.org/presentationml/2006/main">
  <p:tag name="NUM" val="4"/>
</p:tagLst>
</file>

<file path=ppt/tags/tag387.xml><?xml version="1.0" encoding="utf-8"?>
<p:tagLst xmlns:a="http://schemas.openxmlformats.org/drawingml/2006/main" xmlns:r="http://schemas.openxmlformats.org/officeDocument/2006/relationships" xmlns:p="http://schemas.openxmlformats.org/presentationml/2006/main">
  <p:tag name="NUM" val="1"/>
</p:tagLst>
</file>

<file path=ppt/tags/tag388.xml><?xml version="1.0" encoding="utf-8"?>
<p:tagLst xmlns:a="http://schemas.openxmlformats.org/drawingml/2006/main" xmlns:r="http://schemas.openxmlformats.org/officeDocument/2006/relationships" xmlns:p="http://schemas.openxmlformats.org/presentationml/2006/main">
  <p:tag name="NUM" val="2"/>
</p:tagLst>
</file>

<file path=ppt/tags/tag39.xml><?xml version="1.0" encoding="utf-8"?>
<p:tagLst xmlns:a="http://schemas.openxmlformats.org/drawingml/2006/main" xmlns:r="http://schemas.openxmlformats.org/officeDocument/2006/relationships" xmlns:p="http://schemas.openxmlformats.org/presentationml/2006/main">
  <p:tag name="NUM" val="3"/>
</p:tagLst>
</file>

<file path=ppt/tags/tag4.xml><?xml version="1.0" encoding="utf-8"?>
<p:tagLst xmlns:a="http://schemas.openxmlformats.org/drawingml/2006/main" xmlns:r="http://schemas.openxmlformats.org/officeDocument/2006/relationships" xmlns:p="http://schemas.openxmlformats.org/presentationml/2006/main">
  <p:tag name="NUM" val="1"/>
</p:tagLst>
</file>

<file path=ppt/tags/tag40.xml><?xml version="1.0" encoding="utf-8"?>
<p:tagLst xmlns:a="http://schemas.openxmlformats.org/drawingml/2006/main" xmlns:r="http://schemas.openxmlformats.org/officeDocument/2006/relationships" xmlns:p="http://schemas.openxmlformats.org/presentationml/2006/main">
  <p:tag name="NUM" val="4"/>
</p:tagLst>
</file>

<file path=ppt/tags/tag41.xml><?xml version="1.0" encoding="utf-8"?>
<p:tagLst xmlns:a="http://schemas.openxmlformats.org/drawingml/2006/main" xmlns:r="http://schemas.openxmlformats.org/officeDocument/2006/relationships" xmlns:p="http://schemas.openxmlformats.org/presentationml/2006/main">
  <p:tag name="NUM" val="5"/>
</p:tagLst>
</file>

<file path=ppt/tags/tag42.xml><?xml version="1.0" encoding="utf-8"?>
<p:tagLst xmlns:a="http://schemas.openxmlformats.org/drawingml/2006/main" xmlns:r="http://schemas.openxmlformats.org/officeDocument/2006/relationships" xmlns:p="http://schemas.openxmlformats.org/presentationml/2006/main">
  <p:tag name="NUM" val="6"/>
</p:tagLst>
</file>

<file path=ppt/tags/tag43.xml><?xml version="1.0" encoding="utf-8"?>
<p:tagLst xmlns:a="http://schemas.openxmlformats.org/drawingml/2006/main" xmlns:r="http://schemas.openxmlformats.org/officeDocument/2006/relationships" xmlns:p="http://schemas.openxmlformats.org/presentationml/2006/main">
  <p:tag name="NUM" val="7"/>
</p:tagLst>
</file>

<file path=ppt/tags/tag44.xml><?xml version="1.0" encoding="utf-8"?>
<p:tagLst xmlns:a="http://schemas.openxmlformats.org/drawingml/2006/main" xmlns:r="http://schemas.openxmlformats.org/officeDocument/2006/relationships" xmlns:p="http://schemas.openxmlformats.org/presentationml/2006/main">
  <p:tag name="NUM" val="8"/>
</p:tagLst>
</file>

<file path=ppt/tags/tag45.xml><?xml version="1.0" encoding="utf-8"?>
<p:tagLst xmlns:a="http://schemas.openxmlformats.org/drawingml/2006/main" xmlns:r="http://schemas.openxmlformats.org/officeDocument/2006/relationships" xmlns:p="http://schemas.openxmlformats.org/presentationml/2006/main">
  <p:tag name="NUM" val="9"/>
</p:tagLst>
</file>

<file path=ppt/tags/tag46.xml><?xml version="1.0" encoding="utf-8"?>
<p:tagLst xmlns:a="http://schemas.openxmlformats.org/drawingml/2006/main" xmlns:r="http://schemas.openxmlformats.org/officeDocument/2006/relationships" xmlns:p="http://schemas.openxmlformats.org/presentationml/2006/main">
  <p:tag name="NUM" val="10"/>
</p:tagLst>
</file>

<file path=ppt/tags/tag47.xml><?xml version="1.0" encoding="utf-8"?>
<p:tagLst xmlns:a="http://schemas.openxmlformats.org/drawingml/2006/main" xmlns:r="http://schemas.openxmlformats.org/officeDocument/2006/relationships" xmlns:p="http://schemas.openxmlformats.org/presentationml/2006/main">
  <p:tag name="NUM" val="11"/>
</p:tagLst>
</file>

<file path=ppt/tags/tag48.xml><?xml version="1.0" encoding="utf-8"?>
<p:tagLst xmlns:a="http://schemas.openxmlformats.org/drawingml/2006/main" xmlns:r="http://schemas.openxmlformats.org/officeDocument/2006/relationships" xmlns:p="http://schemas.openxmlformats.org/presentationml/2006/main">
  <p:tag name="NUM" val="12"/>
</p:tagLst>
</file>

<file path=ppt/tags/tag49.xml><?xml version="1.0" encoding="utf-8"?>
<p:tagLst xmlns:a="http://schemas.openxmlformats.org/drawingml/2006/main" xmlns:r="http://schemas.openxmlformats.org/officeDocument/2006/relationships" xmlns:p="http://schemas.openxmlformats.org/presentationml/2006/main">
  <p:tag name="NUM" val="13"/>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50.xml><?xml version="1.0" encoding="utf-8"?>
<p:tagLst xmlns:a="http://schemas.openxmlformats.org/drawingml/2006/main" xmlns:r="http://schemas.openxmlformats.org/officeDocument/2006/relationships" xmlns:p="http://schemas.openxmlformats.org/presentationml/2006/main">
  <p:tag name="NUM" val="14"/>
</p:tagLst>
</file>

<file path=ppt/tags/tag51.xml><?xml version="1.0" encoding="utf-8"?>
<p:tagLst xmlns:a="http://schemas.openxmlformats.org/drawingml/2006/main" xmlns:r="http://schemas.openxmlformats.org/officeDocument/2006/relationships" xmlns:p="http://schemas.openxmlformats.org/presentationml/2006/main">
  <p:tag name="NUM" val="15"/>
</p:tagLst>
</file>

<file path=ppt/tags/tag52.xml><?xml version="1.0" encoding="utf-8"?>
<p:tagLst xmlns:a="http://schemas.openxmlformats.org/drawingml/2006/main" xmlns:r="http://schemas.openxmlformats.org/officeDocument/2006/relationships" xmlns:p="http://schemas.openxmlformats.org/presentationml/2006/main">
  <p:tag name="NUM" val="16"/>
</p:tagLst>
</file>

<file path=ppt/tags/tag53.xml><?xml version="1.0" encoding="utf-8"?>
<p:tagLst xmlns:a="http://schemas.openxmlformats.org/drawingml/2006/main" xmlns:r="http://schemas.openxmlformats.org/officeDocument/2006/relationships" xmlns:p="http://schemas.openxmlformats.org/presentationml/2006/main">
  <p:tag name="NUM" val="1"/>
</p:tagLst>
</file>

<file path=ppt/tags/tag54.xml><?xml version="1.0" encoding="utf-8"?>
<p:tagLst xmlns:a="http://schemas.openxmlformats.org/drawingml/2006/main" xmlns:r="http://schemas.openxmlformats.org/officeDocument/2006/relationships" xmlns:p="http://schemas.openxmlformats.org/presentationml/2006/main">
  <p:tag name="NUM" val="2"/>
</p:tagLst>
</file>

<file path=ppt/tags/tag55.xml><?xml version="1.0" encoding="utf-8"?>
<p:tagLst xmlns:a="http://schemas.openxmlformats.org/drawingml/2006/main" xmlns:r="http://schemas.openxmlformats.org/officeDocument/2006/relationships" xmlns:p="http://schemas.openxmlformats.org/presentationml/2006/main">
  <p:tag name="NUM" val="3"/>
</p:tagLst>
</file>

<file path=ppt/tags/tag56.xml><?xml version="1.0" encoding="utf-8"?>
<p:tagLst xmlns:a="http://schemas.openxmlformats.org/drawingml/2006/main" xmlns:r="http://schemas.openxmlformats.org/officeDocument/2006/relationships" xmlns:p="http://schemas.openxmlformats.org/presentationml/2006/main">
  <p:tag name="NUM" val="4"/>
</p:tagLst>
</file>

<file path=ppt/tags/tag57.xml><?xml version="1.0" encoding="utf-8"?>
<p:tagLst xmlns:a="http://schemas.openxmlformats.org/drawingml/2006/main" xmlns:r="http://schemas.openxmlformats.org/officeDocument/2006/relationships" xmlns:p="http://schemas.openxmlformats.org/presentationml/2006/main">
  <p:tag name="NUM" val="5"/>
</p:tagLst>
</file>

<file path=ppt/tags/tag58.xml><?xml version="1.0" encoding="utf-8"?>
<p:tagLst xmlns:a="http://schemas.openxmlformats.org/drawingml/2006/main" xmlns:r="http://schemas.openxmlformats.org/officeDocument/2006/relationships" xmlns:p="http://schemas.openxmlformats.org/presentationml/2006/main">
  <p:tag name="NUM" val="1"/>
</p:tagLst>
</file>

<file path=ppt/tags/tag59.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3"/>
</p:tagLst>
</file>

<file path=ppt/tags/tag60.xml><?xml version="1.0" encoding="utf-8"?>
<p:tagLst xmlns:a="http://schemas.openxmlformats.org/drawingml/2006/main" xmlns:r="http://schemas.openxmlformats.org/officeDocument/2006/relationships" xmlns:p="http://schemas.openxmlformats.org/presentationml/2006/main">
  <p:tag name="NUM" val="3"/>
</p:tagLst>
</file>

<file path=ppt/tags/tag61.xml><?xml version="1.0" encoding="utf-8"?>
<p:tagLst xmlns:a="http://schemas.openxmlformats.org/drawingml/2006/main" xmlns:r="http://schemas.openxmlformats.org/officeDocument/2006/relationships" xmlns:p="http://schemas.openxmlformats.org/presentationml/2006/main">
  <p:tag name="NUM" val="1"/>
</p:tagLst>
</file>

<file path=ppt/tags/tag62.xml><?xml version="1.0" encoding="utf-8"?>
<p:tagLst xmlns:a="http://schemas.openxmlformats.org/drawingml/2006/main" xmlns:r="http://schemas.openxmlformats.org/officeDocument/2006/relationships" xmlns:p="http://schemas.openxmlformats.org/presentationml/2006/main">
  <p:tag name="NUM" val="2"/>
</p:tagLst>
</file>

<file path=ppt/tags/tag63.xml><?xml version="1.0" encoding="utf-8"?>
<p:tagLst xmlns:a="http://schemas.openxmlformats.org/drawingml/2006/main" xmlns:r="http://schemas.openxmlformats.org/officeDocument/2006/relationships" xmlns:p="http://schemas.openxmlformats.org/presentationml/2006/main">
  <p:tag name="NUM" val="3"/>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2"/>
</p:tagLst>
</file>

<file path=ppt/tags/tag66.xml><?xml version="1.0" encoding="utf-8"?>
<p:tagLst xmlns:a="http://schemas.openxmlformats.org/drawingml/2006/main" xmlns:r="http://schemas.openxmlformats.org/officeDocument/2006/relationships" xmlns:p="http://schemas.openxmlformats.org/presentationml/2006/main">
  <p:tag name="NUM" val="3"/>
</p:tagLst>
</file>

<file path=ppt/tags/tag67.xml><?xml version="1.0" encoding="utf-8"?>
<p:tagLst xmlns:a="http://schemas.openxmlformats.org/drawingml/2006/main" xmlns:r="http://schemas.openxmlformats.org/officeDocument/2006/relationships" xmlns:p="http://schemas.openxmlformats.org/presentationml/2006/main">
  <p:tag name="NUM" val="1"/>
</p:tagLst>
</file>

<file path=ppt/tags/tag68.xml><?xml version="1.0" encoding="utf-8"?>
<p:tagLst xmlns:a="http://schemas.openxmlformats.org/drawingml/2006/main" xmlns:r="http://schemas.openxmlformats.org/officeDocument/2006/relationships" xmlns:p="http://schemas.openxmlformats.org/presentationml/2006/main">
  <p:tag name="NUM" val="2"/>
</p:tagLst>
</file>

<file path=ppt/tags/tag69.xml><?xml version="1.0" encoding="utf-8"?>
<p:tagLst xmlns:a="http://schemas.openxmlformats.org/drawingml/2006/main" xmlns:r="http://schemas.openxmlformats.org/officeDocument/2006/relationships" xmlns:p="http://schemas.openxmlformats.org/presentationml/2006/main">
  <p:tag name="NUM" val="3"/>
</p:tagLst>
</file>

<file path=ppt/tags/tag7.xml><?xml version="1.0" encoding="utf-8"?>
<p:tagLst xmlns:a="http://schemas.openxmlformats.org/drawingml/2006/main" xmlns:r="http://schemas.openxmlformats.org/officeDocument/2006/relationships" xmlns:p="http://schemas.openxmlformats.org/presentationml/2006/main">
  <p:tag name="NUM" val="4"/>
</p:tagLst>
</file>

<file path=ppt/tags/tag70.xml><?xml version="1.0" encoding="utf-8"?>
<p:tagLst xmlns:a="http://schemas.openxmlformats.org/drawingml/2006/main" xmlns:r="http://schemas.openxmlformats.org/officeDocument/2006/relationships" xmlns:p="http://schemas.openxmlformats.org/presentationml/2006/main">
  <p:tag name="NUM" val="4"/>
</p:tagLst>
</file>

<file path=ppt/tags/tag71.xml><?xml version="1.0" encoding="utf-8"?>
<p:tagLst xmlns:a="http://schemas.openxmlformats.org/drawingml/2006/main" xmlns:r="http://schemas.openxmlformats.org/officeDocument/2006/relationships" xmlns:p="http://schemas.openxmlformats.org/presentationml/2006/main">
  <p:tag name="NUM" val="5"/>
</p:tagLst>
</file>

<file path=ppt/tags/tag72.xml><?xml version="1.0" encoding="utf-8"?>
<p:tagLst xmlns:a="http://schemas.openxmlformats.org/drawingml/2006/main" xmlns:r="http://schemas.openxmlformats.org/officeDocument/2006/relationships" xmlns:p="http://schemas.openxmlformats.org/presentationml/2006/main">
  <p:tag name="NUM" val="6"/>
</p:tagLst>
</file>

<file path=ppt/tags/tag73.xml><?xml version="1.0" encoding="utf-8"?>
<p:tagLst xmlns:a="http://schemas.openxmlformats.org/drawingml/2006/main" xmlns:r="http://schemas.openxmlformats.org/officeDocument/2006/relationships" xmlns:p="http://schemas.openxmlformats.org/presentationml/2006/main">
  <p:tag name="NUM" val="7"/>
</p:tagLst>
</file>

<file path=ppt/tags/tag74.xml><?xml version="1.0" encoding="utf-8"?>
<p:tagLst xmlns:a="http://schemas.openxmlformats.org/drawingml/2006/main" xmlns:r="http://schemas.openxmlformats.org/officeDocument/2006/relationships" xmlns:p="http://schemas.openxmlformats.org/presentationml/2006/main">
  <p:tag name="NUM" val="8"/>
</p:tagLst>
</file>

<file path=ppt/tags/tag75.xml><?xml version="1.0" encoding="utf-8"?>
<p:tagLst xmlns:a="http://schemas.openxmlformats.org/drawingml/2006/main" xmlns:r="http://schemas.openxmlformats.org/officeDocument/2006/relationships" xmlns:p="http://schemas.openxmlformats.org/presentationml/2006/main">
  <p:tag name="NUM" val="9"/>
</p:tagLst>
</file>

<file path=ppt/tags/tag76.xml><?xml version="1.0" encoding="utf-8"?>
<p:tagLst xmlns:a="http://schemas.openxmlformats.org/drawingml/2006/main" xmlns:r="http://schemas.openxmlformats.org/officeDocument/2006/relationships" xmlns:p="http://schemas.openxmlformats.org/presentationml/2006/main">
  <p:tag name="NUM" val="10"/>
</p:tagLst>
</file>

<file path=ppt/tags/tag77.xml><?xml version="1.0" encoding="utf-8"?>
<p:tagLst xmlns:a="http://schemas.openxmlformats.org/drawingml/2006/main" xmlns:r="http://schemas.openxmlformats.org/officeDocument/2006/relationships" xmlns:p="http://schemas.openxmlformats.org/presentationml/2006/main">
  <p:tag name="NUM" val="11"/>
</p:tagLst>
</file>

<file path=ppt/tags/tag78.xml><?xml version="1.0" encoding="utf-8"?>
<p:tagLst xmlns:a="http://schemas.openxmlformats.org/drawingml/2006/main" xmlns:r="http://schemas.openxmlformats.org/officeDocument/2006/relationships" xmlns:p="http://schemas.openxmlformats.org/presentationml/2006/main">
  <p:tag name="NUM" val="12"/>
</p:tagLst>
</file>

<file path=ppt/tags/tag79.xml><?xml version="1.0" encoding="utf-8"?>
<p:tagLst xmlns:a="http://schemas.openxmlformats.org/drawingml/2006/main" xmlns:r="http://schemas.openxmlformats.org/officeDocument/2006/relationships" xmlns:p="http://schemas.openxmlformats.org/presentationml/2006/main">
  <p:tag name="NUM" val="1"/>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80.xml><?xml version="1.0" encoding="utf-8"?>
<p:tagLst xmlns:a="http://schemas.openxmlformats.org/drawingml/2006/main" xmlns:r="http://schemas.openxmlformats.org/officeDocument/2006/relationships" xmlns:p="http://schemas.openxmlformats.org/presentationml/2006/main">
  <p:tag name="NUM" val="2"/>
</p:tagLst>
</file>

<file path=ppt/tags/tag81.xml><?xml version="1.0" encoding="utf-8"?>
<p:tagLst xmlns:a="http://schemas.openxmlformats.org/drawingml/2006/main" xmlns:r="http://schemas.openxmlformats.org/officeDocument/2006/relationships" xmlns:p="http://schemas.openxmlformats.org/presentationml/2006/main">
  <p:tag name="NUM" val="3"/>
</p:tagLst>
</file>

<file path=ppt/tags/tag82.xml><?xml version="1.0" encoding="utf-8"?>
<p:tagLst xmlns:a="http://schemas.openxmlformats.org/drawingml/2006/main" xmlns:r="http://schemas.openxmlformats.org/officeDocument/2006/relationships" xmlns:p="http://schemas.openxmlformats.org/presentationml/2006/main">
  <p:tag name="NUM" val="4"/>
</p:tagLst>
</file>

<file path=ppt/tags/tag83.xml><?xml version="1.0" encoding="utf-8"?>
<p:tagLst xmlns:a="http://schemas.openxmlformats.org/drawingml/2006/main" xmlns:r="http://schemas.openxmlformats.org/officeDocument/2006/relationships" xmlns:p="http://schemas.openxmlformats.org/presentationml/2006/main">
  <p:tag name="NUM" val="1"/>
</p:tagLst>
</file>

<file path=ppt/tags/tag84.xml><?xml version="1.0" encoding="utf-8"?>
<p:tagLst xmlns:a="http://schemas.openxmlformats.org/drawingml/2006/main" xmlns:r="http://schemas.openxmlformats.org/officeDocument/2006/relationships" xmlns:p="http://schemas.openxmlformats.org/presentationml/2006/main">
  <p:tag name="NUM" val="2"/>
</p:tagLst>
</file>

<file path=ppt/tags/tag85.xml><?xml version="1.0" encoding="utf-8"?>
<p:tagLst xmlns:a="http://schemas.openxmlformats.org/drawingml/2006/main" xmlns:r="http://schemas.openxmlformats.org/officeDocument/2006/relationships" xmlns:p="http://schemas.openxmlformats.org/presentationml/2006/main">
  <p:tag name="NUM" val="3"/>
</p:tagLst>
</file>

<file path=ppt/tags/tag86.xml><?xml version="1.0" encoding="utf-8"?>
<p:tagLst xmlns:a="http://schemas.openxmlformats.org/drawingml/2006/main" xmlns:r="http://schemas.openxmlformats.org/officeDocument/2006/relationships" xmlns:p="http://schemas.openxmlformats.org/presentationml/2006/main">
  <p:tag name="NUM" val="4"/>
</p:tagLst>
</file>

<file path=ppt/tags/tag87.xml><?xml version="1.0" encoding="utf-8"?>
<p:tagLst xmlns:a="http://schemas.openxmlformats.org/drawingml/2006/main" xmlns:r="http://schemas.openxmlformats.org/officeDocument/2006/relationships" xmlns:p="http://schemas.openxmlformats.org/presentationml/2006/main">
  <p:tag name="NUM" val="1"/>
</p:tagLst>
</file>

<file path=ppt/tags/tag88.xml><?xml version="1.0" encoding="utf-8"?>
<p:tagLst xmlns:a="http://schemas.openxmlformats.org/drawingml/2006/main" xmlns:r="http://schemas.openxmlformats.org/officeDocument/2006/relationships" xmlns:p="http://schemas.openxmlformats.org/presentationml/2006/main">
  <p:tag name="NUM" val="2"/>
</p:tagLst>
</file>

<file path=ppt/tags/tag89.xml><?xml version="1.0" encoding="utf-8"?>
<p:tagLst xmlns:a="http://schemas.openxmlformats.org/drawingml/2006/main" xmlns:r="http://schemas.openxmlformats.org/officeDocument/2006/relationships" xmlns:p="http://schemas.openxmlformats.org/presentationml/2006/main">
  <p:tag name="NUM" val="3"/>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ags/tag90.xml><?xml version="1.0" encoding="utf-8"?>
<p:tagLst xmlns:a="http://schemas.openxmlformats.org/drawingml/2006/main" xmlns:r="http://schemas.openxmlformats.org/officeDocument/2006/relationships" xmlns:p="http://schemas.openxmlformats.org/presentationml/2006/main">
  <p:tag name="NUM" val="1"/>
</p:tagLst>
</file>

<file path=ppt/tags/tag91.xml><?xml version="1.0" encoding="utf-8"?>
<p:tagLst xmlns:a="http://schemas.openxmlformats.org/drawingml/2006/main" xmlns:r="http://schemas.openxmlformats.org/officeDocument/2006/relationships" xmlns:p="http://schemas.openxmlformats.org/presentationml/2006/main">
  <p:tag name="NUM" val="2"/>
</p:tagLst>
</file>

<file path=ppt/tags/tag92.xml><?xml version="1.0" encoding="utf-8"?>
<p:tagLst xmlns:a="http://schemas.openxmlformats.org/drawingml/2006/main" xmlns:r="http://schemas.openxmlformats.org/officeDocument/2006/relationships" xmlns:p="http://schemas.openxmlformats.org/presentationml/2006/main">
  <p:tag name="NUM" val="3"/>
</p:tagLst>
</file>

<file path=ppt/tags/tag93.xml><?xml version="1.0" encoding="utf-8"?>
<p:tagLst xmlns:a="http://schemas.openxmlformats.org/drawingml/2006/main" xmlns:r="http://schemas.openxmlformats.org/officeDocument/2006/relationships" xmlns:p="http://schemas.openxmlformats.org/presentationml/2006/main">
  <p:tag name="NUM" val="1"/>
</p:tagLst>
</file>

<file path=ppt/tags/tag94.xml><?xml version="1.0" encoding="utf-8"?>
<p:tagLst xmlns:a="http://schemas.openxmlformats.org/drawingml/2006/main" xmlns:r="http://schemas.openxmlformats.org/officeDocument/2006/relationships" xmlns:p="http://schemas.openxmlformats.org/presentationml/2006/main">
  <p:tag name="NUM" val="2"/>
</p:tagLst>
</file>

<file path=ppt/tags/tag95.xml><?xml version="1.0" encoding="utf-8"?>
<p:tagLst xmlns:a="http://schemas.openxmlformats.org/drawingml/2006/main" xmlns:r="http://schemas.openxmlformats.org/officeDocument/2006/relationships" xmlns:p="http://schemas.openxmlformats.org/presentationml/2006/main">
  <p:tag name="NUM" val="3"/>
</p:tagLst>
</file>

<file path=ppt/tags/tag96.xml><?xml version="1.0" encoding="utf-8"?>
<p:tagLst xmlns:a="http://schemas.openxmlformats.org/drawingml/2006/main" xmlns:r="http://schemas.openxmlformats.org/officeDocument/2006/relationships" xmlns:p="http://schemas.openxmlformats.org/presentationml/2006/main">
  <p:tag name="NUM" val="4"/>
</p:tagLst>
</file>

<file path=ppt/tags/tag97.xml><?xml version="1.0" encoding="utf-8"?>
<p:tagLst xmlns:a="http://schemas.openxmlformats.org/drawingml/2006/main" xmlns:r="http://schemas.openxmlformats.org/officeDocument/2006/relationships" xmlns:p="http://schemas.openxmlformats.org/presentationml/2006/main">
  <p:tag name="NUM" val="5"/>
</p:tagLst>
</file>

<file path=ppt/tags/tag98.xml><?xml version="1.0" encoding="utf-8"?>
<p:tagLst xmlns:a="http://schemas.openxmlformats.org/drawingml/2006/main" xmlns:r="http://schemas.openxmlformats.org/officeDocument/2006/relationships" xmlns:p="http://schemas.openxmlformats.org/presentationml/2006/main">
  <p:tag name="NUM" val="1"/>
</p:tagLst>
</file>

<file path=ppt/tags/tag9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Thème Office">
  <a:themeElements>
    <a:clrScheme name="Custom 32">
      <a:dk1>
        <a:srgbClr val="454547"/>
      </a:dk1>
      <a:lt1>
        <a:srgbClr val="FFFFFF"/>
      </a:lt1>
      <a:dk2>
        <a:srgbClr val="3863AC"/>
      </a:dk2>
      <a:lt2>
        <a:srgbClr val="E5EEF5"/>
      </a:lt2>
      <a:accent1>
        <a:srgbClr val="00A8EC"/>
      </a:accent1>
      <a:accent2>
        <a:srgbClr val="8ECB1B"/>
      </a:accent2>
      <a:accent3>
        <a:srgbClr val="00AF3F"/>
      </a:accent3>
      <a:accent4>
        <a:srgbClr val="F0AB00"/>
      </a:accent4>
      <a:accent5>
        <a:srgbClr val="CB0073"/>
      </a:accent5>
      <a:accent6>
        <a:srgbClr val="711564"/>
      </a:accent6>
      <a:hlink>
        <a:srgbClr val="3863AC"/>
      </a:hlink>
      <a:folHlink>
        <a:srgbClr val="3863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6332_AQPP_Modele" id="{DD713D63-4E8C-544E-B231-943394AE1952}" vid="{5B6DC833-F359-704D-93D0-46A6DFE32E6F}"/>
    </a:ext>
  </a:extLst>
</a:theme>
</file>

<file path=ppt/theme/theme2.xml><?xml version="1.0" encoding="utf-8"?>
<a:theme xmlns:a="http://schemas.openxmlformats.org/drawingml/2006/main" name="1_Thème Office">
  <a:themeElements>
    <a:clrScheme name="Custom 32">
      <a:dk1>
        <a:srgbClr val="454547"/>
      </a:dk1>
      <a:lt1>
        <a:srgbClr val="FFFFFF"/>
      </a:lt1>
      <a:dk2>
        <a:srgbClr val="3863AC"/>
      </a:dk2>
      <a:lt2>
        <a:srgbClr val="E5EEF5"/>
      </a:lt2>
      <a:accent1>
        <a:srgbClr val="00A8EC"/>
      </a:accent1>
      <a:accent2>
        <a:srgbClr val="8ECB1B"/>
      </a:accent2>
      <a:accent3>
        <a:srgbClr val="00AF3F"/>
      </a:accent3>
      <a:accent4>
        <a:srgbClr val="F0AB00"/>
      </a:accent4>
      <a:accent5>
        <a:srgbClr val="CB0073"/>
      </a:accent5>
      <a:accent6>
        <a:srgbClr val="711564"/>
      </a:accent6>
      <a:hlink>
        <a:srgbClr val="3863AC"/>
      </a:hlink>
      <a:folHlink>
        <a:srgbClr val="3863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6332_AQPP_Modele" id="{DD713D63-4E8C-544E-B231-943394AE1952}" vid="{5B6DC833-F359-704D-93D0-46A6DFE32E6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99d5dbc-b9db-4780-963d-0ecebc0d4942">
      <Terms xmlns="http://schemas.microsoft.com/office/infopath/2007/PartnerControls"/>
    </lcf76f155ced4ddcb4097134ff3c332f>
    <TaxCatchAll xmlns="93e34a75-a83e-44b1-873c-65e6f8abd61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1EFCF6776D392488AC0D739F50C2F43" ma:contentTypeVersion="13" ma:contentTypeDescription="Crée un document." ma:contentTypeScope="" ma:versionID="3feccadbd1e58c23d8005a3b8b659c54">
  <xsd:schema xmlns:xsd="http://www.w3.org/2001/XMLSchema" xmlns:xs="http://www.w3.org/2001/XMLSchema" xmlns:p="http://schemas.microsoft.com/office/2006/metadata/properties" xmlns:ns2="999d5dbc-b9db-4780-963d-0ecebc0d4942" xmlns:ns3="93e34a75-a83e-44b1-873c-65e6f8abd618" targetNamespace="http://schemas.microsoft.com/office/2006/metadata/properties" ma:root="true" ma:fieldsID="59cdf6e3b6ef07ddfd2f2fa373d50a71" ns2:_="" ns3:_="">
    <xsd:import namespace="999d5dbc-b9db-4780-963d-0ecebc0d4942"/>
    <xsd:import namespace="93e34a75-a83e-44b1-873c-65e6f8abd61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9d5dbc-b9db-4780-963d-0ecebc0d49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Balises d’images" ma:readOnly="false" ma:fieldId="{5cf76f15-5ced-4ddc-b409-7134ff3c332f}" ma:taxonomyMulti="true" ma:sspId="cf3d15dc-48b2-4873-84cb-86f3cf11addf"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e34a75-a83e-44b1-873c-65e6f8abd618"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634a3fe0-5254-4caf-9bc6-72836bb6387a}" ma:internalName="TaxCatchAll" ma:showField="CatchAllData" ma:web="93e34a75-a83e-44b1-873c-65e6f8abd6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F1502CB-9434-49C5-B84F-79CE91783F64}">
  <ds:schemaRefs>
    <ds:schemaRef ds:uri="http://schemas.microsoft.com/office/2006/metadata/properties"/>
    <ds:schemaRef ds:uri="http://www.w3.org/2000/xmlns/"/>
    <ds:schemaRef ds:uri="999d5dbc-b9db-4780-963d-0ecebc0d4942"/>
    <ds:schemaRef ds:uri="http://schemas.microsoft.com/office/infopath/2007/PartnerControls"/>
    <ds:schemaRef ds:uri="93e34a75-a83e-44b1-873c-65e6f8abd618"/>
    <ds:schemaRef ds:uri="http://www.w3.org/2001/XMLSchema-instance"/>
  </ds:schemaRefs>
</ds:datastoreItem>
</file>

<file path=customXml/itemProps2.xml><?xml version="1.0" encoding="utf-8"?>
<ds:datastoreItem xmlns:ds="http://schemas.openxmlformats.org/officeDocument/2006/customXml" ds:itemID="{D6DACEF3-4027-4531-9846-9F12238255B8}">
  <ds:schemaRefs>
    <ds:schemaRef ds:uri="http://schemas.microsoft.com/sharepoint/v3/contenttype/forms"/>
  </ds:schemaRefs>
</ds:datastoreItem>
</file>

<file path=customXml/itemProps3.xml><?xml version="1.0" encoding="utf-8"?>
<ds:datastoreItem xmlns:ds="http://schemas.openxmlformats.org/officeDocument/2006/customXml" ds:itemID="{F952D702-531C-49BC-AC73-41DD910333DC}">
  <ds:schemaRefs>
    <ds:schemaRef ds:uri="http://schemas.microsoft.com/office/2006/metadata/contentType"/>
    <ds:schemaRef ds:uri="http://schemas.microsoft.com/office/2006/metadata/properties/metaAttributes"/>
    <ds:schemaRef ds:uri="http://www.w3.org/2000/xmlns/"/>
    <ds:schemaRef ds:uri="http://www.w3.org/2001/XMLSchema"/>
    <ds:schemaRef ds:uri="999d5dbc-b9db-4780-963d-0ecebc0d4942"/>
    <ds:schemaRef ds:uri="93e34a75-a83e-44b1-873c-65e6f8abd618"/>
  </ds:schemaRefs>
</ds:datastoreItem>
</file>

<file path=docProps/app.xml><?xml version="1.0" encoding="utf-8"?>
<Properties xmlns="http://schemas.openxmlformats.org/officeDocument/2006/extended-properties" xmlns:vt="http://schemas.openxmlformats.org/officeDocument/2006/docPropsVTypes">
  <Template>6332_AQPP_Modele</Template>
  <TotalTime>3929</TotalTime>
  <Words>7055</Words>
  <Application>Microsoft Office PowerPoint</Application>
  <PresentationFormat>Grand écran</PresentationFormat>
  <Paragraphs>693</Paragraphs>
  <Slides>57</Slides>
  <Notes>49</Notes>
  <HiddenSlides>0</HiddenSlides>
  <MMClips>0</MMClips>
  <ScaleCrop>false</ScaleCrop>
  <HeadingPairs>
    <vt:vector size="4" baseType="variant">
      <vt:variant>
        <vt:lpstr>Thème</vt:lpstr>
      </vt:variant>
      <vt:variant>
        <vt:i4>2</vt:i4>
      </vt:variant>
      <vt:variant>
        <vt:lpstr>Titres des diapositives</vt:lpstr>
      </vt:variant>
      <vt:variant>
        <vt:i4>57</vt:i4>
      </vt:variant>
    </vt:vector>
  </HeadingPairs>
  <TitlesOfParts>
    <vt:vector size="59" baseType="lpstr">
      <vt:lpstr>Thème Office</vt:lpstr>
      <vt:lpstr>1_Thème Office</vt:lpstr>
      <vt:lpstr>Du patient à l’entente : comprendre les concepts de facturation</vt:lpstr>
      <vt:lpstr>Modalités</vt:lpstr>
      <vt:lpstr>Conflits d’intérêt</vt:lpstr>
      <vt:lpstr>Objectifs</vt:lpstr>
      <vt:lpstr>Plan de présentation</vt:lpstr>
      <vt:lpstr>Pourquoi parler de facturation aujourd’hui? </vt:lpstr>
      <vt:lpstr>Besoins des pharmaciens propriétaires pour l’élargissement du champ de pratique    </vt:lpstr>
      <vt:lpstr>Étapes clés du virage clinique</vt:lpstr>
      <vt:lpstr>Comprendre les fondements des ententes </vt:lpstr>
      <vt:lpstr>Ententes actuelles </vt:lpstr>
      <vt:lpstr>Présentation PowerPoint</vt:lpstr>
      <vt:lpstr>Arbre décisionnel - Du patient à l’entente </vt:lpstr>
      <vt:lpstr>Présentation PowerPoint</vt:lpstr>
      <vt:lpstr>Présentation PowerPoint</vt:lpstr>
      <vt:lpstr>Demande de consultation </vt:lpstr>
      <vt:lpstr>Demande de consultation </vt:lpstr>
      <vt:lpstr>Demande de consultation </vt:lpstr>
      <vt:lpstr>Présentation PowerPoint</vt:lpstr>
      <vt:lpstr>Présentation PowerPoint</vt:lpstr>
      <vt:lpstr>Prescrire pour les problèmes de santé courants </vt:lpstr>
      <vt:lpstr>Prescrire pour les problèmes de santé courants </vt:lpstr>
      <vt:lpstr>Présentation PowerPoint</vt:lpstr>
      <vt:lpstr>Traitement du trouble d’utilisation des opioïdes (TUO) </vt:lpstr>
      <vt:lpstr>Traitement du trouble d’utilisation des opioïdes (TUO) </vt:lpstr>
      <vt:lpstr>Traitement du trouble d’utilisation des opioïdes (TUO) </vt:lpstr>
      <vt:lpstr>Présentation PowerPoint</vt:lpstr>
      <vt:lpstr>Substitution thérapeutique  </vt:lpstr>
      <vt:lpstr>Substitution thérapeutique  </vt:lpstr>
      <vt:lpstr>Substitution thérapeutique  </vt:lpstr>
      <vt:lpstr>Substitution thérapeutique  </vt:lpstr>
      <vt:lpstr>Substitution thérapeutique  </vt:lpstr>
      <vt:lpstr>Substitution thérapeutique  </vt:lpstr>
      <vt:lpstr>Présentation PowerPoint</vt:lpstr>
      <vt:lpstr>Prolongation </vt:lpstr>
      <vt:lpstr>Prolongation  </vt:lpstr>
      <vt:lpstr>Présentation PowerPoint</vt:lpstr>
      <vt:lpstr>Révision de la pharmacothérapie </vt:lpstr>
      <vt:lpstr>Révision de la pharmacothérapie </vt:lpstr>
      <vt:lpstr>Présentation PowerPoint</vt:lpstr>
      <vt:lpstr>Naloxone : facturation et clientèle cible</vt:lpstr>
      <vt:lpstr>Naloxone : questions fréquentes</vt:lpstr>
      <vt:lpstr>Administration pour en démontrer l’usage</vt:lpstr>
      <vt:lpstr>Administration pour en démontrer l’usage</vt:lpstr>
      <vt:lpstr>Administration pour des fins thérapeutique</vt:lpstr>
      <vt:lpstr>Particularités : la facturation concomitante d’activités cliniques</vt:lpstr>
      <vt:lpstr>Particularités : la facturation concomitante d’activités cliniques</vt:lpstr>
      <vt:lpstr>Arbre décisionnel - Du patient à l’entente </vt:lpstr>
      <vt:lpstr>Prise en charge : MPOC</vt:lpstr>
      <vt:lpstr>Révision de la pharmacothérapie </vt:lpstr>
      <vt:lpstr>Révision de la pharmacothérapie </vt:lpstr>
      <vt:lpstr>Pistes d’optimisation</vt:lpstr>
      <vt:lpstr>En conclusion</vt:lpstr>
      <vt:lpstr>Outils sur monpharmacien.ca</vt:lpstr>
      <vt:lpstr>Abonnez-vous à nos infolettres!</vt:lpstr>
      <vt:lpstr>Références</vt:lpstr>
      <vt:lpstr>Références</vt:lpstr>
      <vt:lpstr>Merc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ana Lara</dc:creator>
  <cp:lastModifiedBy>Marie-Pascale Beaulieu</cp:lastModifiedBy>
  <cp:revision>20</cp:revision>
  <dcterms:created xsi:type="dcterms:W3CDTF">2023-08-10T15:35:38Z</dcterms:created>
  <dcterms:modified xsi:type="dcterms:W3CDTF">2025-10-15T02:1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3-12T00:00:00Z</vt:filetime>
  </property>
  <property fmtid="{D5CDD505-2E9C-101B-9397-08002B2CF9AE}" pid="3" name="Creator">
    <vt:lpwstr>Adobe InDesign 18.1 (Macintosh)</vt:lpwstr>
  </property>
  <property fmtid="{D5CDD505-2E9C-101B-9397-08002B2CF9AE}" pid="4" name="LastSaved">
    <vt:filetime>2023-03-12T00:00:00Z</vt:filetime>
  </property>
  <property fmtid="{D5CDD505-2E9C-101B-9397-08002B2CF9AE}" pid="5" name="Producer">
    <vt:lpwstr>Adobe PDF Library 17.0</vt:lpwstr>
  </property>
  <property fmtid="{D5CDD505-2E9C-101B-9397-08002B2CF9AE}" pid="6" name="ContentTypeId">
    <vt:lpwstr>0x01010041EFCF6776D392488AC0D739F50C2F43</vt:lpwstr>
  </property>
  <property fmtid="{D5CDD505-2E9C-101B-9397-08002B2CF9AE}" pid="7" name="MediaServiceImageTags">
    <vt:lpwstr/>
  </property>
</Properties>
</file>